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drawings/drawing1.xml" ContentType="application/vnd.openxmlformats-officedocument.drawingml.chartshapes+xml"/>
  <Override PartName="/ppt/charts/chart5.xml" ContentType="application/vnd.openxmlformats-officedocument.drawingml.chart+xml"/>
  <Override PartName="/ppt/drawings/drawing2.xml" ContentType="application/vnd.openxmlformats-officedocument.drawingml.chartshapes+xml"/>
  <Override PartName="/ppt/charts/chart6.xml" ContentType="application/vnd.openxmlformats-officedocument.drawingml.chart+xml"/>
  <Override PartName="/ppt/drawings/drawing3.xml" ContentType="application/vnd.openxmlformats-officedocument.drawingml.chartshape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7.xml" ContentType="application/vnd.openxmlformats-officedocument.drawingml.chart+xml"/>
  <Override PartName="/ppt/drawings/drawing4.xml" ContentType="application/vnd.openxmlformats-officedocument.drawingml.chartshapes+xml"/>
  <Override PartName="/ppt/charts/chart8.xml" ContentType="application/vnd.openxmlformats-officedocument.drawingml.chart+xml"/>
  <Override PartName="/ppt/drawings/drawing5.xml" ContentType="application/vnd.openxmlformats-officedocument.drawingml.chartshape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9.xml" ContentType="application/vnd.openxmlformats-officedocument.drawingml.chart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charts/chart10.xml" ContentType="application/vnd.openxmlformats-officedocument.drawingml.chart+xml"/>
  <Override PartName="/ppt/drawings/drawing6.xml" ContentType="application/vnd.openxmlformats-officedocument.drawingml.chartshape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charts/chart13.xml" ContentType="application/vnd.openxmlformats-officedocument.drawingml.chart+xml"/>
  <Override PartName="/ppt/drawings/drawing7.xml" ContentType="application/vnd.openxmlformats-officedocument.drawingml.chartshape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14.xml" ContentType="application/vnd.openxmlformats-officedocument.drawingml.chart+xml"/>
  <Override PartName="/ppt/drawings/drawing8.xml" ContentType="application/vnd.openxmlformats-officedocument.drawingml.chartshapes+xml"/>
  <Override PartName="/ppt/charts/chart15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charts/chart18.xml" ContentType="application/vnd.openxmlformats-officedocument.drawingml.chart+xml"/>
  <Override PartName="/ppt/drawings/drawing9.xml" ContentType="application/vnd.openxmlformats-officedocument.drawingml.chartshapes+xml"/>
  <Override PartName="/ppt/charts/chart19.xml" ContentType="application/vnd.openxmlformats-officedocument.drawingml.chart+xml"/>
  <Override PartName="/ppt/drawings/drawing10.xml" ContentType="application/vnd.openxmlformats-officedocument.drawingml.chartshapes+xml"/>
  <Override PartName="/ppt/charts/chart20.xml" ContentType="application/vnd.openxmlformats-officedocument.drawingml.chart+xml"/>
  <Override PartName="/ppt/drawings/drawing11.xml" ContentType="application/vnd.openxmlformats-officedocument.drawingml.chartshapes+xml"/>
  <Override PartName="/ppt/charts/chart21.xml" ContentType="application/vnd.openxmlformats-officedocument.drawingml.chart+xml"/>
  <Override PartName="/ppt/drawings/drawing12.xml" ContentType="application/vnd.openxmlformats-officedocument.drawingml.chartshape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drawings/drawing13.xml" ContentType="application/vnd.openxmlformats-officedocument.drawingml.chartshape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rts/chart24.xml" ContentType="application/vnd.openxmlformats-officedocument.drawingml.chart+xml"/>
  <Override PartName="/ppt/drawings/drawing14.xml" ContentType="application/vnd.openxmlformats-officedocument.drawingml.chartshapes+xml"/>
  <Override PartName="/ppt/charts/chart25.xml" ContentType="application/vnd.openxmlformats-officedocument.drawingml.chart+xml"/>
  <Override PartName="/ppt/drawings/drawing15.xml" ContentType="application/vnd.openxmlformats-officedocument.drawingml.chartshape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68" r:id="rId1"/>
  </p:sldMasterIdLst>
  <p:notesMasterIdLst>
    <p:notesMasterId r:id="rId24"/>
  </p:notesMasterIdLst>
  <p:handoutMasterIdLst>
    <p:handoutMasterId r:id="rId25"/>
  </p:handoutMasterIdLst>
  <p:sldIdLst>
    <p:sldId id="563" r:id="rId2"/>
    <p:sldId id="597" r:id="rId3"/>
    <p:sldId id="637" r:id="rId4"/>
    <p:sldId id="608" r:id="rId5"/>
    <p:sldId id="625" r:id="rId6"/>
    <p:sldId id="619" r:id="rId7"/>
    <p:sldId id="650" r:id="rId8"/>
    <p:sldId id="651" r:id="rId9"/>
    <p:sldId id="652" r:id="rId10"/>
    <p:sldId id="653" r:id="rId11"/>
    <p:sldId id="654" r:id="rId12"/>
    <p:sldId id="655" r:id="rId13"/>
    <p:sldId id="656" r:id="rId14"/>
    <p:sldId id="613" r:id="rId15"/>
    <p:sldId id="618" r:id="rId16"/>
    <p:sldId id="649" r:id="rId17"/>
    <p:sldId id="638" r:id="rId18"/>
    <p:sldId id="648" r:id="rId19"/>
    <p:sldId id="631" r:id="rId20"/>
    <p:sldId id="632" r:id="rId21"/>
    <p:sldId id="633" r:id="rId22"/>
    <p:sldId id="657" r:id="rId23"/>
  </p:sldIdLst>
  <p:sldSz cx="9144000" cy="6858000" type="screen4x3"/>
  <p:notesSz cx="6797675" cy="9928225"/>
  <p:custDataLst>
    <p:tags r:id="rId2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rgbClr val="009CDD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rgbClr val="009CDD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rgbClr val="009CDD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rgbClr val="009CDD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rgbClr val="009CDD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rgbClr val="009CDD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rgbClr val="009CDD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rgbClr val="009CDD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rgbClr val="009CDD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376092"/>
    <a:srgbClr val="009CDD"/>
    <a:srgbClr val="0066FF"/>
    <a:srgbClr val="FFFF00"/>
    <a:srgbClr val="FF9900"/>
    <a:srgbClr val="FF9933"/>
    <a:srgbClr val="800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830" autoAdjust="0"/>
    <p:restoredTop sz="98940" autoAdjust="0"/>
  </p:normalViewPr>
  <p:slideViewPr>
    <p:cSldViewPr snapToGrid="0">
      <p:cViewPr>
        <p:scale>
          <a:sx n="125" d="100"/>
          <a:sy n="125" d="100"/>
        </p:scale>
        <p:origin x="438" y="978"/>
      </p:cViewPr>
      <p:guideLst>
        <p:guide orient="horz" pos="945"/>
        <p:guide pos="33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-2262" y="-126"/>
      </p:cViewPr>
      <p:guideLst>
        <p:guide orient="horz" pos="3127"/>
        <p:guide pos="2140"/>
      </p:guideLst>
    </p:cSldViewPr>
  </p:notesViewPr>
  <p:gridSpacing cx="360045" cy="36004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ganimedes\pbi$\DFM\Makroekonomia\Paulina\Bazy%20danych\Makroekonomiczne.xlsm" TargetMode="Externa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oleObject" Target="file:///\\ganimedes\pbi$\DFM\Makroekonomia\Paulina\Bazy%20danych\Makroekonomiczne.xlsm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\\ganimedes\pbi$\DFM\Makroekonomia\Paulina\Bazy%20danych\Stopy.xlsm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\\ganimedes\pbi$\DFM\Makroekonomia\Paulina\Bazy%20danych\Stopy.xlsm" TargetMode="Externa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oleObject" Target="file:///\\ganimedes\pbi$\DFM\Makroekonomia\Paulina\Bazy%20danych\Waluty%20i%20gie&#322;dy.xlsm" TargetMode="Externa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oleObject" Target="file:///\\ganimedes\pbi$\DFM\Makroekonomia\Paulina\Bazy%20danych\Makroekonomiczne.xlsm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\\ganimedes\pbi$\DFM\Makroekonomia\Baza_Danych\Zatrudnienie\zatrudnienie.xls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\\ganimedes\pbi$\DFM\Makroekonomia\Paulina\Bazy%20danych\Makroekonomiczne.xlsm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\\ganimedes\pbi$\DFM\Makroekonomia\Paulina\Bazy%20danych\Makroekonomiczne.xlsm" TargetMode="Externa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oleObject" Target="file:///\\ganimedes\pbi$\DFM\Makroekonomia\Paulina\Bazy%20danych\Waluty%20i%20gie&#322;dy.xlsm" TargetMode="Externa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oleObject" Target="file:///\\ganimedes\pbi$\DFM\Makroekonomia\Paulina\Bazy%20danych\Waluty%20i%20gie&#322;dy.xlsm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ganimedes\pbi$\DFM\Makroekonomia\Paulina\Bazy%20danych\Makroekonomiczne.xlsm" TargetMode="Externa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1.xml"/><Relationship Id="rId1" Type="http://schemas.openxmlformats.org/officeDocument/2006/relationships/oleObject" Target="file:///\\ganimedes\pbi$\DFM\Makroekonomia\Paulina\Bazy%20danych\Waluty%20i%20gie&#322;dy.xlsm" TargetMode="Externa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oleObject" Target="file:///\\ganimedes\pbi$\DFM\Makroekonomia\Paulina\Bazy%20danych\Waluty%20i%20gie&#322;dy.xlsm" TargetMode="Externa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oleObject" Target="file:///\\ganimedes\pbi$\DFM\Makroekonomia\Paulina\Bazy%20danych\Stopy.xlsm" TargetMode="Externa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3.xml"/><Relationship Id="rId1" Type="http://schemas.openxmlformats.org/officeDocument/2006/relationships/oleObject" Target="file:///\\ganimedes\pbi$\DFM\Makroekonomia\Paulina\Bazy%20danych\Waluty%20i%20gie&#322;dy.xlsm" TargetMode="Externa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4.xml"/><Relationship Id="rId1" Type="http://schemas.openxmlformats.org/officeDocument/2006/relationships/oleObject" Target="file:///\\ganimedes\pbi$\DFM\Makroekonomia\Paulina\Bazy%20danych\Waluty%20i%20gie&#322;dy.xlsm" TargetMode="Externa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5.xml"/><Relationship Id="rId1" Type="http://schemas.openxmlformats.org/officeDocument/2006/relationships/oleObject" Target="file:///\\ganimedes\pbi$\DFM\Makroekonomia\Paulina\Bazy%20danych\Makroekonomiczne.xlsm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Zeszyt2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ganimedes\pbi$\DFM\Makroekonomia\Paulina\Bazy%20danych\INDEKSY_ZASKOCZEN.xlsm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\\ganimedes\pbi$\DFM\Makroekonomia\Paulina\Bazy%20danych\Makroekonomiczne.xlsm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\\ganimedes\pbi$\DFM\Makroekonomia\Paulina\Bazy%20danych\Makroekonomiczne.xlsm" TargetMode="Externa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oleObject" Target="file:///\\ganimedes\pbi$\DFM\Makroekonomia\Paulina\Bazy%20danych\Makroekonomiczne.xlsm" TargetMode="Externa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file:///\\ganimedes\pbi$\DFM\Makroekonomia\Paulina\Bazy%20danych\Makroekonomiczne.xlsm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\\ganimedes\pbi$\DFM\Makroekonomia\Paulina\Bazy%20danych\Stopy.xlsm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>
                <a:latin typeface="Tahoma" pitchFamily="34" charset="0"/>
                <a:cs typeface="Tahoma" pitchFamily="34" charset="0"/>
              </a:defRPr>
            </a:pPr>
            <a:r>
              <a:rPr lang="pl-PL" sz="1200">
                <a:latin typeface="Tahoma" pitchFamily="34" charset="0"/>
                <a:cs typeface="Tahoma" pitchFamily="34" charset="0"/>
              </a:rPr>
              <a:t>Japan Industrial output  YoY </a:t>
            </a:r>
            <a:r>
              <a:rPr lang="en-US" sz="1200">
                <a:latin typeface="Tahoma" pitchFamily="34" charset="0"/>
                <a:cs typeface="Tahoma" pitchFamily="34" charset="0"/>
              </a:rPr>
              <a:t>(%)</a:t>
            </a:r>
          </a:p>
        </c:rich>
      </c:tx>
      <c:layout>
        <c:manualLayout>
          <c:xMode val="edge"/>
          <c:yMode val="edge"/>
          <c:x val="0.21270144356955584"/>
          <c:y val="5.0925925925925944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75000"/>
              </a:schemeClr>
            </a:solidFill>
          </c:spPr>
          <c:invertIfNegative val="0"/>
          <c:cat>
            <c:numRef>
              <c:f>JAPONIA!$D$4:$D$100</c:f>
              <c:numCache>
                <c:formatCode>dd/mm/yy</c:formatCode>
                <c:ptCount val="97"/>
                <c:pt idx="0">
                  <c:v>38046</c:v>
                </c:pt>
                <c:pt idx="1">
                  <c:v>38077</c:v>
                </c:pt>
                <c:pt idx="2">
                  <c:v>38107</c:v>
                </c:pt>
                <c:pt idx="3">
                  <c:v>38138</c:v>
                </c:pt>
                <c:pt idx="4">
                  <c:v>38168</c:v>
                </c:pt>
                <c:pt idx="5">
                  <c:v>38199</c:v>
                </c:pt>
                <c:pt idx="6">
                  <c:v>38230</c:v>
                </c:pt>
                <c:pt idx="7">
                  <c:v>38260</c:v>
                </c:pt>
                <c:pt idx="8">
                  <c:v>38291</c:v>
                </c:pt>
                <c:pt idx="9">
                  <c:v>38321</c:v>
                </c:pt>
                <c:pt idx="10">
                  <c:v>38352</c:v>
                </c:pt>
                <c:pt idx="11">
                  <c:v>38383</c:v>
                </c:pt>
                <c:pt idx="12">
                  <c:v>38411</c:v>
                </c:pt>
                <c:pt idx="13">
                  <c:v>38442</c:v>
                </c:pt>
                <c:pt idx="14">
                  <c:v>38472</c:v>
                </c:pt>
                <c:pt idx="15">
                  <c:v>38503</c:v>
                </c:pt>
                <c:pt idx="16">
                  <c:v>38533</c:v>
                </c:pt>
                <c:pt idx="17">
                  <c:v>38564</c:v>
                </c:pt>
                <c:pt idx="18">
                  <c:v>38595</c:v>
                </c:pt>
                <c:pt idx="19">
                  <c:v>38625</c:v>
                </c:pt>
                <c:pt idx="20">
                  <c:v>38656</c:v>
                </c:pt>
                <c:pt idx="21">
                  <c:v>38686</c:v>
                </c:pt>
                <c:pt idx="22">
                  <c:v>38717</c:v>
                </c:pt>
                <c:pt idx="23">
                  <c:v>38748</c:v>
                </c:pt>
                <c:pt idx="24">
                  <c:v>38776</c:v>
                </c:pt>
                <c:pt idx="25">
                  <c:v>38807</c:v>
                </c:pt>
                <c:pt idx="26">
                  <c:v>38837</c:v>
                </c:pt>
                <c:pt idx="27">
                  <c:v>38868</c:v>
                </c:pt>
                <c:pt idx="28">
                  <c:v>38898</c:v>
                </c:pt>
                <c:pt idx="29">
                  <c:v>38929</c:v>
                </c:pt>
                <c:pt idx="30">
                  <c:v>38960</c:v>
                </c:pt>
                <c:pt idx="31">
                  <c:v>38990</c:v>
                </c:pt>
                <c:pt idx="32">
                  <c:v>39021</c:v>
                </c:pt>
                <c:pt idx="33">
                  <c:v>39051</c:v>
                </c:pt>
                <c:pt idx="34">
                  <c:v>39082</c:v>
                </c:pt>
                <c:pt idx="35">
                  <c:v>39113</c:v>
                </c:pt>
                <c:pt idx="36">
                  <c:v>39141</c:v>
                </c:pt>
                <c:pt idx="37">
                  <c:v>39172</c:v>
                </c:pt>
                <c:pt idx="38">
                  <c:v>39202</c:v>
                </c:pt>
                <c:pt idx="39">
                  <c:v>39233</c:v>
                </c:pt>
                <c:pt idx="40">
                  <c:v>39263</c:v>
                </c:pt>
                <c:pt idx="41">
                  <c:v>39294</c:v>
                </c:pt>
                <c:pt idx="42">
                  <c:v>39325</c:v>
                </c:pt>
                <c:pt idx="43">
                  <c:v>39355</c:v>
                </c:pt>
                <c:pt idx="44">
                  <c:v>39386</c:v>
                </c:pt>
                <c:pt idx="45">
                  <c:v>39416</c:v>
                </c:pt>
                <c:pt idx="46">
                  <c:v>39447</c:v>
                </c:pt>
                <c:pt idx="47">
                  <c:v>39478</c:v>
                </c:pt>
                <c:pt idx="48">
                  <c:v>39507</c:v>
                </c:pt>
                <c:pt idx="49">
                  <c:v>39538</c:v>
                </c:pt>
                <c:pt idx="50">
                  <c:v>39568</c:v>
                </c:pt>
                <c:pt idx="51">
                  <c:v>39599</c:v>
                </c:pt>
                <c:pt idx="52">
                  <c:v>39629</c:v>
                </c:pt>
                <c:pt idx="53">
                  <c:v>39660</c:v>
                </c:pt>
                <c:pt idx="54">
                  <c:v>39691</c:v>
                </c:pt>
                <c:pt idx="55">
                  <c:v>39721</c:v>
                </c:pt>
                <c:pt idx="56">
                  <c:v>39752</c:v>
                </c:pt>
                <c:pt idx="57">
                  <c:v>39782</c:v>
                </c:pt>
                <c:pt idx="58">
                  <c:v>39813</c:v>
                </c:pt>
                <c:pt idx="59">
                  <c:v>39844</c:v>
                </c:pt>
                <c:pt idx="60">
                  <c:v>39872</c:v>
                </c:pt>
                <c:pt idx="61">
                  <c:v>39903</c:v>
                </c:pt>
                <c:pt idx="62">
                  <c:v>39933</c:v>
                </c:pt>
                <c:pt idx="63">
                  <c:v>39964</c:v>
                </c:pt>
                <c:pt idx="64">
                  <c:v>39994</c:v>
                </c:pt>
                <c:pt idx="65">
                  <c:v>40025</c:v>
                </c:pt>
                <c:pt idx="66">
                  <c:v>40056</c:v>
                </c:pt>
                <c:pt idx="67">
                  <c:v>40086</c:v>
                </c:pt>
                <c:pt idx="68">
                  <c:v>40117</c:v>
                </c:pt>
                <c:pt idx="69">
                  <c:v>40147</c:v>
                </c:pt>
                <c:pt idx="70">
                  <c:v>40178</c:v>
                </c:pt>
                <c:pt idx="71">
                  <c:v>40209</c:v>
                </c:pt>
                <c:pt idx="72">
                  <c:v>40237</c:v>
                </c:pt>
                <c:pt idx="73">
                  <c:v>40268</c:v>
                </c:pt>
                <c:pt idx="74">
                  <c:v>40298</c:v>
                </c:pt>
                <c:pt idx="75">
                  <c:v>40329</c:v>
                </c:pt>
                <c:pt idx="76">
                  <c:v>40359</c:v>
                </c:pt>
                <c:pt idx="77">
                  <c:v>40390</c:v>
                </c:pt>
                <c:pt idx="78">
                  <c:v>40421</c:v>
                </c:pt>
                <c:pt idx="79">
                  <c:v>40451</c:v>
                </c:pt>
                <c:pt idx="80">
                  <c:v>40482</c:v>
                </c:pt>
                <c:pt idx="81">
                  <c:v>40512</c:v>
                </c:pt>
                <c:pt idx="82">
                  <c:v>40543</c:v>
                </c:pt>
                <c:pt idx="83">
                  <c:v>40574</c:v>
                </c:pt>
                <c:pt idx="84">
                  <c:v>40602</c:v>
                </c:pt>
                <c:pt idx="85">
                  <c:v>40633</c:v>
                </c:pt>
                <c:pt idx="86">
                  <c:v>40663</c:v>
                </c:pt>
                <c:pt idx="87">
                  <c:v>40694</c:v>
                </c:pt>
                <c:pt idx="88">
                  <c:v>40724</c:v>
                </c:pt>
                <c:pt idx="89">
                  <c:v>40755</c:v>
                </c:pt>
              </c:numCache>
            </c:numRef>
          </c:cat>
          <c:val>
            <c:numRef>
              <c:f>JAPONIA!$E$4:$E$100</c:f>
              <c:numCache>
                <c:formatCode>General</c:formatCode>
                <c:ptCount val="97"/>
                <c:pt idx="0">
                  <c:v>4.9000000000000004</c:v>
                </c:pt>
                <c:pt idx="1">
                  <c:v>7.2</c:v>
                </c:pt>
                <c:pt idx="2">
                  <c:v>7.2</c:v>
                </c:pt>
                <c:pt idx="3">
                  <c:v>1.9</c:v>
                </c:pt>
                <c:pt idx="4">
                  <c:v>8</c:v>
                </c:pt>
                <c:pt idx="5">
                  <c:v>5.7</c:v>
                </c:pt>
                <c:pt idx="6">
                  <c:v>8.8000000000000007</c:v>
                </c:pt>
                <c:pt idx="7">
                  <c:v>4.5</c:v>
                </c:pt>
                <c:pt idx="8">
                  <c:v>-1.1000000000000001</c:v>
                </c:pt>
                <c:pt idx="9">
                  <c:v>5.4</c:v>
                </c:pt>
                <c:pt idx="10">
                  <c:v>1.7000000000000006</c:v>
                </c:pt>
                <c:pt idx="11">
                  <c:v>2</c:v>
                </c:pt>
                <c:pt idx="12">
                  <c:v>2</c:v>
                </c:pt>
                <c:pt idx="13">
                  <c:v>1.4</c:v>
                </c:pt>
                <c:pt idx="14">
                  <c:v>0.4</c:v>
                </c:pt>
                <c:pt idx="15">
                  <c:v>1.9</c:v>
                </c:pt>
                <c:pt idx="16">
                  <c:v>1</c:v>
                </c:pt>
                <c:pt idx="17">
                  <c:v>-2.5</c:v>
                </c:pt>
                <c:pt idx="18">
                  <c:v>1.4</c:v>
                </c:pt>
                <c:pt idx="19">
                  <c:v>0.70000000000000062</c:v>
                </c:pt>
                <c:pt idx="20">
                  <c:v>1.9</c:v>
                </c:pt>
                <c:pt idx="21">
                  <c:v>2.9</c:v>
                </c:pt>
                <c:pt idx="22">
                  <c:v>3.5</c:v>
                </c:pt>
                <c:pt idx="23">
                  <c:v>2.2000000000000002</c:v>
                </c:pt>
                <c:pt idx="24">
                  <c:v>3.3</c:v>
                </c:pt>
                <c:pt idx="25">
                  <c:v>2.2999999999999998</c:v>
                </c:pt>
                <c:pt idx="26">
                  <c:v>4</c:v>
                </c:pt>
                <c:pt idx="27">
                  <c:v>4.2</c:v>
                </c:pt>
                <c:pt idx="28">
                  <c:v>4.3</c:v>
                </c:pt>
                <c:pt idx="29">
                  <c:v>5.0999999999999996</c:v>
                </c:pt>
                <c:pt idx="30">
                  <c:v>5.8</c:v>
                </c:pt>
                <c:pt idx="31">
                  <c:v>4.5999999999999996</c:v>
                </c:pt>
                <c:pt idx="32">
                  <c:v>7.5</c:v>
                </c:pt>
                <c:pt idx="33">
                  <c:v>5.0999999999999996</c:v>
                </c:pt>
                <c:pt idx="34">
                  <c:v>5.4</c:v>
                </c:pt>
                <c:pt idx="35">
                  <c:v>4.5</c:v>
                </c:pt>
                <c:pt idx="36">
                  <c:v>2.9</c:v>
                </c:pt>
                <c:pt idx="37">
                  <c:v>2</c:v>
                </c:pt>
                <c:pt idx="38">
                  <c:v>1</c:v>
                </c:pt>
                <c:pt idx="39">
                  <c:v>4.8</c:v>
                </c:pt>
                <c:pt idx="40">
                  <c:v>1.3</c:v>
                </c:pt>
                <c:pt idx="41">
                  <c:v>3.1</c:v>
                </c:pt>
                <c:pt idx="42">
                  <c:v>4.5999999999999996</c:v>
                </c:pt>
                <c:pt idx="43">
                  <c:v>0.2</c:v>
                </c:pt>
                <c:pt idx="44">
                  <c:v>5.3</c:v>
                </c:pt>
                <c:pt idx="45">
                  <c:v>3.2</c:v>
                </c:pt>
                <c:pt idx="46">
                  <c:v>1.5</c:v>
                </c:pt>
                <c:pt idx="47">
                  <c:v>3.1</c:v>
                </c:pt>
                <c:pt idx="48">
                  <c:v>5.3</c:v>
                </c:pt>
                <c:pt idx="49">
                  <c:v>-0.70000000000000062</c:v>
                </c:pt>
                <c:pt idx="50">
                  <c:v>1.8</c:v>
                </c:pt>
                <c:pt idx="51">
                  <c:v>0.9</c:v>
                </c:pt>
                <c:pt idx="52">
                  <c:v>-0.2</c:v>
                </c:pt>
                <c:pt idx="53">
                  <c:v>2.2999999999999998</c:v>
                </c:pt>
                <c:pt idx="54">
                  <c:v>-7.2</c:v>
                </c:pt>
                <c:pt idx="55">
                  <c:v>0.4</c:v>
                </c:pt>
                <c:pt idx="56">
                  <c:v>-6.6</c:v>
                </c:pt>
                <c:pt idx="57">
                  <c:v>-16.5</c:v>
                </c:pt>
                <c:pt idx="58">
                  <c:v>-20.7</c:v>
                </c:pt>
                <c:pt idx="59">
                  <c:v>-30.9</c:v>
                </c:pt>
                <c:pt idx="60">
                  <c:v>-38.6</c:v>
                </c:pt>
                <c:pt idx="61">
                  <c:v>-33.800000000000004</c:v>
                </c:pt>
                <c:pt idx="62">
                  <c:v>-31</c:v>
                </c:pt>
                <c:pt idx="63">
                  <c:v>-29</c:v>
                </c:pt>
                <c:pt idx="64">
                  <c:v>-22.5</c:v>
                </c:pt>
                <c:pt idx="65">
                  <c:v>-22.3</c:v>
                </c:pt>
                <c:pt idx="66">
                  <c:v>-18.3</c:v>
                </c:pt>
                <c:pt idx="67">
                  <c:v>-17.5</c:v>
                </c:pt>
                <c:pt idx="68">
                  <c:v>-14.4</c:v>
                </c:pt>
                <c:pt idx="69">
                  <c:v>-2.9</c:v>
                </c:pt>
                <c:pt idx="70">
                  <c:v>6.4</c:v>
                </c:pt>
                <c:pt idx="71">
                  <c:v>18.2</c:v>
                </c:pt>
                <c:pt idx="72">
                  <c:v>33.1</c:v>
                </c:pt>
                <c:pt idx="73">
                  <c:v>32.4</c:v>
                </c:pt>
                <c:pt idx="74">
                  <c:v>27</c:v>
                </c:pt>
                <c:pt idx="75">
                  <c:v>20.7</c:v>
                </c:pt>
                <c:pt idx="76">
                  <c:v>16.600000000000001</c:v>
                </c:pt>
                <c:pt idx="77">
                  <c:v>14.6</c:v>
                </c:pt>
                <c:pt idx="78">
                  <c:v>15.5</c:v>
                </c:pt>
                <c:pt idx="79">
                  <c:v>12.1</c:v>
                </c:pt>
                <c:pt idx="80">
                  <c:v>5</c:v>
                </c:pt>
                <c:pt idx="81">
                  <c:v>7</c:v>
                </c:pt>
                <c:pt idx="82">
                  <c:v>5.9</c:v>
                </c:pt>
                <c:pt idx="83">
                  <c:v>4.5999999999999996</c:v>
                </c:pt>
                <c:pt idx="84">
                  <c:v>2.9</c:v>
                </c:pt>
                <c:pt idx="85">
                  <c:v>-13.1</c:v>
                </c:pt>
                <c:pt idx="86">
                  <c:v>-13.6</c:v>
                </c:pt>
                <c:pt idx="87">
                  <c:v>-5.5</c:v>
                </c:pt>
                <c:pt idx="88">
                  <c:v>-1.7000000000000006</c:v>
                </c:pt>
                <c:pt idx="89">
                  <c:v>-2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3"/>
        <c:axId val="40579456"/>
        <c:axId val="40580992"/>
      </c:barChart>
      <c:dateAx>
        <c:axId val="40579456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low"/>
        <c:txPr>
          <a:bodyPr rot="0"/>
          <a:lstStyle/>
          <a:p>
            <a:pPr>
              <a:defRPr sz="800">
                <a:latin typeface="Tahoma" pitchFamily="34" charset="0"/>
                <a:cs typeface="Tahoma" pitchFamily="34" charset="0"/>
              </a:defRPr>
            </a:pPr>
            <a:endParaRPr lang="pl-PL"/>
          </a:p>
        </c:txPr>
        <c:crossAx val="40580992"/>
        <c:crosses val="autoZero"/>
        <c:auto val="1"/>
        <c:lblOffset val="100"/>
        <c:baseTimeUnit val="months"/>
      </c:dateAx>
      <c:valAx>
        <c:axId val="40580992"/>
        <c:scaling>
          <c:orientation val="minMax"/>
          <c:max val="4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>
                <a:latin typeface="Tahoma" pitchFamily="34" charset="0"/>
                <a:cs typeface="Tahoma" pitchFamily="34" charset="0"/>
              </a:defRPr>
            </a:pPr>
            <a:endParaRPr lang="pl-PL"/>
          </a:p>
        </c:txPr>
        <c:crossAx val="40579456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spPr>
            <a:ln w="38100">
              <a:solidFill>
                <a:srgbClr val="0096EF"/>
              </a:solidFill>
              <a:prstDash val="solid"/>
            </a:ln>
          </c:spPr>
          <c:marker>
            <c:symbol val="none"/>
          </c:marker>
          <c:cat>
            <c:numRef>
              <c:f>Arkusz1!$A$2:$A$138</c:f>
              <c:numCache>
                <c:formatCode>dd/mm/yy</c:formatCode>
                <c:ptCount val="137"/>
                <c:pt idx="0">
                  <c:v>40811</c:v>
                </c:pt>
                <c:pt idx="1">
                  <c:v>40786</c:v>
                </c:pt>
                <c:pt idx="2">
                  <c:v>40785</c:v>
                </c:pt>
                <c:pt idx="3">
                  <c:v>40755</c:v>
                </c:pt>
                <c:pt idx="4">
                  <c:v>40754</c:v>
                </c:pt>
                <c:pt idx="5">
                  <c:v>40724</c:v>
                </c:pt>
                <c:pt idx="6">
                  <c:v>40723</c:v>
                </c:pt>
                <c:pt idx="7">
                  <c:v>40694</c:v>
                </c:pt>
                <c:pt idx="8">
                  <c:v>40693</c:v>
                </c:pt>
                <c:pt idx="9">
                  <c:v>40663</c:v>
                </c:pt>
                <c:pt idx="10">
                  <c:v>40662</c:v>
                </c:pt>
                <c:pt idx="11">
                  <c:v>40633</c:v>
                </c:pt>
                <c:pt idx="12">
                  <c:v>40632</c:v>
                </c:pt>
                <c:pt idx="13">
                  <c:v>40602</c:v>
                </c:pt>
                <c:pt idx="14">
                  <c:v>40601</c:v>
                </c:pt>
                <c:pt idx="15">
                  <c:v>40574</c:v>
                </c:pt>
                <c:pt idx="16">
                  <c:v>40573</c:v>
                </c:pt>
                <c:pt idx="17">
                  <c:v>40543</c:v>
                </c:pt>
                <c:pt idx="18">
                  <c:v>40542</c:v>
                </c:pt>
                <c:pt idx="19">
                  <c:v>40512</c:v>
                </c:pt>
                <c:pt idx="20">
                  <c:v>40511</c:v>
                </c:pt>
                <c:pt idx="21">
                  <c:v>40482</c:v>
                </c:pt>
                <c:pt idx="22">
                  <c:v>40481</c:v>
                </c:pt>
                <c:pt idx="23">
                  <c:v>40451</c:v>
                </c:pt>
                <c:pt idx="24">
                  <c:v>40450</c:v>
                </c:pt>
                <c:pt idx="25">
                  <c:v>40421</c:v>
                </c:pt>
                <c:pt idx="26">
                  <c:v>40420</c:v>
                </c:pt>
                <c:pt idx="27">
                  <c:v>40390</c:v>
                </c:pt>
                <c:pt idx="28">
                  <c:v>40389</c:v>
                </c:pt>
                <c:pt idx="29">
                  <c:v>40359</c:v>
                </c:pt>
                <c:pt idx="30">
                  <c:v>40358</c:v>
                </c:pt>
                <c:pt idx="31">
                  <c:v>40329</c:v>
                </c:pt>
                <c:pt idx="32">
                  <c:v>40328</c:v>
                </c:pt>
                <c:pt idx="33">
                  <c:v>40298</c:v>
                </c:pt>
                <c:pt idx="34">
                  <c:v>40297</c:v>
                </c:pt>
                <c:pt idx="35">
                  <c:v>40268</c:v>
                </c:pt>
                <c:pt idx="36">
                  <c:v>40267</c:v>
                </c:pt>
                <c:pt idx="37">
                  <c:v>40237</c:v>
                </c:pt>
                <c:pt idx="38">
                  <c:v>40236</c:v>
                </c:pt>
                <c:pt idx="39">
                  <c:v>40209</c:v>
                </c:pt>
                <c:pt idx="40">
                  <c:v>40208</c:v>
                </c:pt>
                <c:pt idx="41">
                  <c:v>40178</c:v>
                </c:pt>
                <c:pt idx="42">
                  <c:v>40177</c:v>
                </c:pt>
                <c:pt idx="43">
                  <c:v>40147</c:v>
                </c:pt>
                <c:pt idx="44">
                  <c:v>40146</c:v>
                </c:pt>
                <c:pt idx="45">
                  <c:v>40117</c:v>
                </c:pt>
                <c:pt idx="46">
                  <c:v>40116</c:v>
                </c:pt>
                <c:pt idx="47">
                  <c:v>40086</c:v>
                </c:pt>
                <c:pt idx="48">
                  <c:v>40085</c:v>
                </c:pt>
                <c:pt idx="49">
                  <c:v>40056</c:v>
                </c:pt>
                <c:pt idx="50">
                  <c:v>40055</c:v>
                </c:pt>
                <c:pt idx="51">
                  <c:v>40025</c:v>
                </c:pt>
                <c:pt idx="52">
                  <c:v>40024</c:v>
                </c:pt>
                <c:pt idx="53">
                  <c:v>39994</c:v>
                </c:pt>
                <c:pt idx="54">
                  <c:v>39993</c:v>
                </c:pt>
                <c:pt idx="55">
                  <c:v>39964</c:v>
                </c:pt>
                <c:pt idx="56">
                  <c:v>39963</c:v>
                </c:pt>
                <c:pt idx="57">
                  <c:v>39933</c:v>
                </c:pt>
                <c:pt idx="58">
                  <c:v>39932</c:v>
                </c:pt>
                <c:pt idx="59">
                  <c:v>39903</c:v>
                </c:pt>
                <c:pt idx="60">
                  <c:v>39902</c:v>
                </c:pt>
                <c:pt idx="61">
                  <c:v>39872</c:v>
                </c:pt>
                <c:pt idx="62">
                  <c:v>39871</c:v>
                </c:pt>
                <c:pt idx="63">
                  <c:v>39844</c:v>
                </c:pt>
                <c:pt idx="64">
                  <c:v>39843</c:v>
                </c:pt>
                <c:pt idx="65">
                  <c:v>39813</c:v>
                </c:pt>
                <c:pt idx="66">
                  <c:v>39812</c:v>
                </c:pt>
                <c:pt idx="67">
                  <c:v>39782</c:v>
                </c:pt>
                <c:pt idx="68">
                  <c:v>39781</c:v>
                </c:pt>
                <c:pt idx="69">
                  <c:v>39752</c:v>
                </c:pt>
                <c:pt idx="70">
                  <c:v>39751</c:v>
                </c:pt>
                <c:pt idx="71">
                  <c:v>39721</c:v>
                </c:pt>
                <c:pt idx="72">
                  <c:v>39720</c:v>
                </c:pt>
                <c:pt idx="73">
                  <c:v>39691</c:v>
                </c:pt>
                <c:pt idx="74">
                  <c:v>39690</c:v>
                </c:pt>
                <c:pt idx="75">
                  <c:v>39660</c:v>
                </c:pt>
                <c:pt idx="76">
                  <c:v>39659</c:v>
                </c:pt>
                <c:pt idx="77">
                  <c:v>39629</c:v>
                </c:pt>
                <c:pt idx="78">
                  <c:v>39628</c:v>
                </c:pt>
                <c:pt idx="79">
                  <c:v>39599</c:v>
                </c:pt>
                <c:pt idx="80">
                  <c:v>39598</c:v>
                </c:pt>
                <c:pt idx="81">
                  <c:v>39568</c:v>
                </c:pt>
                <c:pt idx="82">
                  <c:v>39567</c:v>
                </c:pt>
                <c:pt idx="83">
                  <c:v>39538</c:v>
                </c:pt>
                <c:pt idx="84">
                  <c:v>39537</c:v>
                </c:pt>
                <c:pt idx="85">
                  <c:v>39507</c:v>
                </c:pt>
                <c:pt idx="86">
                  <c:v>39506</c:v>
                </c:pt>
                <c:pt idx="87">
                  <c:v>39478</c:v>
                </c:pt>
                <c:pt idx="88">
                  <c:v>39477</c:v>
                </c:pt>
                <c:pt idx="89">
                  <c:v>39447</c:v>
                </c:pt>
                <c:pt idx="90">
                  <c:v>39446</c:v>
                </c:pt>
                <c:pt idx="91">
                  <c:v>39416</c:v>
                </c:pt>
                <c:pt idx="92">
                  <c:v>39415</c:v>
                </c:pt>
                <c:pt idx="93">
                  <c:v>39386</c:v>
                </c:pt>
                <c:pt idx="94">
                  <c:v>39385</c:v>
                </c:pt>
                <c:pt idx="95">
                  <c:v>39355</c:v>
                </c:pt>
                <c:pt idx="96">
                  <c:v>39354</c:v>
                </c:pt>
                <c:pt idx="97">
                  <c:v>39325</c:v>
                </c:pt>
                <c:pt idx="98">
                  <c:v>39324</c:v>
                </c:pt>
                <c:pt idx="99">
                  <c:v>39294</c:v>
                </c:pt>
                <c:pt idx="100">
                  <c:v>39293</c:v>
                </c:pt>
                <c:pt idx="101">
                  <c:v>39263</c:v>
                </c:pt>
                <c:pt idx="102">
                  <c:v>39262</c:v>
                </c:pt>
                <c:pt idx="103">
                  <c:v>39233</c:v>
                </c:pt>
                <c:pt idx="104">
                  <c:v>39232</c:v>
                </c:pt>
                <c:pt idx="105">
                  <c:v>39202</c:v>
                </c:pt>
                <c:pt idx="106">
                  <c:v>39201</c:v>
                </c:pt>
                <c:pt idx="107">
                  <c:v>39172</c:v>
                </c:pt>
                <c:pt idx="108">
                  <c:v>39171</c:v>
                </c:pt>
                <c:pt idx="109">
                  <c:v>39141</c:v>
                </c:pt>
                <c:pt idx="110">
                  <c:v>39140</c:v>
                </c:pt>
                <c:pt idx="111">
                  <c:v>39113</c:v>
                </c:pt>
                <c:pt idx="112">
                  <c:v>39112</c:v>
                </c:pt>
                <c:pt idx="113">
                  <c:v>39082</c:v>
                </c:pt>
                <c:pt idx="114">
                  <c:v>39081</c:v>
                </c:pt>
                <c:pt idx="115">
                  <c:v>39051</c:v>
                </c:pt>
                <c:pt idx="116">
                  <c:v>39050</c:v>
                </c:pt>
                <c:pt idx="117">
                  <c:v>39021</c:v>
                </c:pt>
                <c:pt idx="118">
                  <c:v>39020</c:v>
                </c:pt>
                <c:pt idx="119">
                  <c:v>38990</c:v>
                </c:pt>
                <c:pt idx="120">
                  <c:v>38989</c:v>
                </c:pt>
                <c:pt idx="121">
                  <c:v>38960</c:v>
                </c:pt>
                <c:pt idx="122">
                  <c:v>38959</c:v>
                </c:pt>
                <c:pt idx="123">
                  <c:v>38929</c:v>
                </c:pt>
                <c:pt idx="124">
                  <c:v>38928</c:v>
                </c:pt>
                <c:pt idx="125">
                  <c:v>38898</c:v>
                </c:pt>
                <c:pt idx="126">
                  <c:v>38897</c:v>
                </c:pt>
                <c:pt idx="127">
                  <c:v>38868</c:v>
                </c:pt>
                <c:pt idx="128">
                  <c:v>38867</c:v>
                </c:pt>
                <c:pt idx="129">
                  <c:v>38837</c:v>
                </c:pt>
                <c:pt idx="130">
                  <c:v>38836</c:v>
                </c:pt>
                <c:pt idx="131">
                  <c:v>38807</c:v>
                </c:pt>
                <c:pt idx="132">
                  <c:v>38806</c:v>
                </c:pt>
                <c:pt idx="133">
                  <c:v>38776</c:v>
                </c:pt>
                <c:pt idx="134">
                  <c:v>38775</c:v>
                </c:pt>
                <c:pt idx="135">
                  <c:v>38748</c:v>
                </c:pt>
                <c:pt idx="136">
                  <c:v>38747</c:v>
                </c:pt>
              </c:numCache>
            </c:numRef>
          </c:cat>
          <c:val>
            <c:numRef>
              <c:f>Arkusz1!$B$2:$B$138</c:f>
              <c:numCache>
                <c:formatCode>General</c:formatCode>
                <c:ptCount val="137"/>
                <c:pt idx="0">
                  <c:v>0.25</c:v>
                </c:pt>
                <c:pt idx="1">
                  <c:v>0.25</c:v>
                </c:pt>
                <c:pt idx="2">
                  <c:v>0.25</c:v>
                </c:pt>
                <c:pt idx="3">
                  <c:v>0.25</c:v>
                </c:pt>
                <c:pt idx="4">
                  <c:v>0.25</c:v>
                </c:pt>
                <c:pt idx="5">
                  <c:v>0.25</c:v>
                </c:pt>
                <c:pt idx="6">
                  <c:v>0.25</c:v>
                </c:pt>
                <c:pt idx="7">
                  <c:v>0.25</c:v>
                </c:pt>
                <c:pt idx="8">
                  <c:v>0.25</c:v>
                </c:pt>
                <c:pt idx="9">
                  <c:v>0.25</c:v>
                </c:pt>
                <c:pt idx="10">
                  <c:v>0.25</c:v>
                </c:pt>
                <c:pt idx="11">
                  <c:v>0.25</c:v>
                </c:pt>
                <c:pt idx="12">
                  <c:v>0.25</c:v>
                </c:pt>
                <c:pt idx="13">
                  <c:v>0.25</c:v>
                </c:pt>
                <c:pt idx="14">
                  <c:v>0.25</c:v>
                </c:pt>
                <c:pt idx="15">
                  <c:v>0.25</c:v>
                </c:pt>
                <c:pt idx="16">
                  <c:v>0.25</c:v>
                </c:pt>
                <c:pt idx="17">
                  <c:v>0.25</c:v>
                </c:pt>
                <c:pt idx="18">
                  <c:v>0.25</c:v>
                </c:pt>
                <c:pt idx="19">
                  <c:v>0.25</c:v>
                </c:pt>
                <c:pt idx="20">
                  <c:v>0.25</c:v>
                </c:pt>
                <c:pt idx="21">
                  <c:v>0.25</c:v>
                </c:pt>
                <c:pt idx="22">
                  <c:v>0.25</c:v>
                </c:pt>
                <c:pt idx="23">
                  <c:v>0.25</c:v>
                </c:pt>
                <c:pt idx="24">
                  <c:v>0.25</c:v>
                </c:pt>
                <c:pt idx="25">
                  <c:v>0.25</c:v>
                </c:pt>
                <c:pt idx="26">
                  <c:v>0.25</c:v>
                </c:pt>
                <c:pt idx="27">
                  <c:v>0.25</c:v>
                </c:pt>
                <c:pt idx="28">
                  <c:v>0.25</c:v>
                </c:pt>
                <c:pt idx="29">
                  <c:v>0.25</c:v>
                </c:pt>
                <c:pt idx="30">
                  <c:v>0.25</c:v>
                </c:pt>
                <c:pt idx="31">
                  <c:v>0.25</c:v>
                </c:pt>
                <c:pt idx="32">
                  <c:v>0.25</c:v>
                </c:pt>
                <c:pt idx="33">
                  <c:v>0.25</c:v>
                </c:pt>
                <c:pt idx="34">
                  <c:v>0.25</c:v>
                </c:pt>
                <c:pt idx="35">
                  <c:v>0.25</c:v>
                </c:pt>
                <c:pt idx="36">
                  <c:v>0.25</c:v>
                </c:pt>
                <c:pt idx="37">
                  <c:v>0.25</c:v>
                </c:pt>
                <c:pt idx="38">
                  <c:v>0.25</c:v>
                </c:pt>
                <c:pt idx="39">
                  <c:v>0.25</c:v>
                </c:pt>
                <c:pt idx="40">
                  <c:v>0.25</c:v>
                </c:pt>
                <c:pt idx="41">
                  <c:v>0.25</c:v>
                </c:pt>
                <c:pt idx="42">
                  <c:v>0.25</c:v>
                </c:pt>
                <c:pt idx="43">
                  <c:v>0.25</c:v>
                </c:pt>
                <c:pt idx="44">
                  <c:v>0.25</c:v>
                </c:pt>
                <c:pt idx="45">
                  <c:v>0.25</c:v>
                </c:pt>
                <c:pt idx="46">
                  <c:v>0.25</c:v>
                </c:pt>
                <c:pt idx="47">
                  <c:v>0.25</c:v>
                </c:pt>
                <c:pt idx="48">
                  <c:v>0.25</c:v>
                </c:pt>
                <c:pt idx="49">
                  <c:v>0.25</c:v>
                </c:pt>
                <c:pt idx="50">
                  <c:v>0.25</c:v>
                </c:pt>
                <c:pt idx="51">
                  <c:v>0.25</c:v>
                </c:pt>
                <c:pt idx="52">
                  <c:v>0.25</c:v>
                </c:pt>
                <c:pt idx="53">
                  <c:v>0.25</c:v>
                </c:pt>
                <c:pt idx="54">
                  <c:v>0.25</c:v>
                </c:pt>
                <c:pt idx="55">
                  <c:v>0.25</c:v>
                </c:pt>
                <c:pt idx="56">
                  <c:v>0.25</c:v>
                </c:pt>
                <c:pt idx="57">
                  <c:v>0.25</c:v>
                </c:pt>
                <c:pt idx="58">
                  <c:v>0.25</c:v>
                </c:pt>
                <c:pt idx="59">
                  <c:v>0.25</c:v>
                </c:pt>
                <c:pt idx="60">
                  <c:v>0.25</c:v>
                </c:pt>
                <c:pt idx="61">
                  <c:v>0.25</c:v>
                </c:pt>
                <c:pt idx="62">
                  <c:v>0.25</c:v>
                </c:pt>
                <c:pt idx="63">
                  <c:v>0.25</c:v>
                </c:pt>
                <c:pt idx="64">
                  <c:v>0.25</c:v>
                </c:pt>
                <c:pt idx="65">
                  <c:v>0.25</c:v>
                </c:pt>
                <c:pt idx="66">
                  <c:v>1</c:v>
                </c:pt>
                <c:pt idx="67">
                  <c:v>1</c:v>
                </c:pt>
                <c:pt idx="68">
                  <c:v>1</c:v>
                </c:pt>
                <c:pt idx="69">
                  <c:v>1</c:v>
                </c:pt>
                <c:pt idx="70">
                  <c:v>2</c:v>
                </c:pt>
                <c:pt idx="71">
                  <c:v>2</c:v>
                </c:pt>
                <c:pt idx="72">
                  <c:v>2</c:v>
                </c:pt>
                <c:pt idx="73">
                  <c:v>2</c:v>
                </c:pt>
                <c:pt idx="74">
                  <c:v>2</c:v>
                </c:pt>
                <c:pt idx="75">
                  <c:v>2</c:v>
                </c:pt>
                <c:pt idx="76">
                  <c:v>2</c:v>
                </c:pt>
                <c:pt idx="77">
                  <c:v>2</c:v>
                </c:pt>
                <c:pt idx="78">
                  <c:v>2</c:v>
                </c:pt>
                <c:pt idx="79">
                  <c:v>2</c:v>
                </c:pt>
                <c:pt idx="80">
                  <c:v>2</c:v>
                </c:pt>
                <c:pt idx="81">
                  <c:v>2</c:v>
                </c:pt>
                <c:pt idx="82">
                  <c:v>2.25</c:v>
                </c:pt>
                <c:pt idx="83">
                  <c:v>2.25</c:v>
                </c:pt>
                <c:pt idx="84">
                  <c:v>3</c:v>
                </c:pt>
                <c:pt idx="85">
                  <c:v>3</c:v>
                </c:pt>
                <c:pt idx="86">
                  <c:v>3</c:v>
                </c:pt>
                <c:pt idx="87">
                  <c:v>3</c:v>
                </c:pt>
                <c:pt idx="88">
                  <c:v>4.25</c:v>
                </c:pt>
                <c:pt idx="89">
                  <c:v>4.25</c:v>
                </c:pt>
                <c:pt idx="90">
                  <c:v>4.5</c:v>
                </c:pt>
                <c:pt idx="91">
                  <c:v>4.5</c:v>
                </c:pt>
                <c:pt idx="92">
                  <c:v>4.5</c:v>
                </c:pt>
                <c:pt idx="93">
                  <c:v>4.5</c:v>
                </c:pt>
                <c:pt idx="94">
                  <c:v>4.75</c:v>
                </c:pt>
                <c:pt idx="95">
                  <c:v>4.75</c:v>
                </c:pt>
                <c:pt idx="96">
                  <c:v>5.25</c:v>
                </c:pt>
                <c:pt idx="97">
                  <c:v>5.25</c:v>
                </c:pt>
                <c:pt idx="98">
                  <c:v>5.25</c:v>
                </c:pt>
                <c:pt idx="99">
                  <c:v>5.25</c:v>
                </c:pt>
                <c:pt idx="100">
                  <c:v>5.25</c:v>
                </c:pt>
                <c:pt idx="101">
                  <c:v>5.25</c:v>
                </c:pt>
                <c:pt idx="102">
                  <c:v>5.25</c:v>
                </c:pt>
                <c:pt idx="103">
                  <c:v>5.25</c:v>
                </c:pt>
                <c:pt idx="104">
                  <c:v>5.25</c:v>
                </c:pt>
                <c:pt idx="105">
                  <c:v>5.25</c:v>
                </c:pt>
                <c:pt idx="106">
                  <c:v>5.25</c:v>
                </c:pt>
                <c:pt idx="107">
                  <c:v>5.25</c:v>
                </c:pt>
                <c:pt idx="108">
                  <c:v>5.25</c:v>
                </c:pt>
                <c:pt idx="109">
                  <c:v>5.25</c:v>
                </c:pt>
                <c:pt idx="110">
                  <c:v>5.25</c:v>
                </c:pt>
                <c:pt idx="111">
                  <c:v>5.25</c:v>
                </c:pt>
                <c:pt idx="112">
                  <c:v>5.25</c:v>
                </c:pt>
                <c:pt idx="113">
                  <c:v>5.25</c:v>
                </c:pt>
                <c:pt idx="114">
                  <c:v>5.25</c:v>
                </c:pt>
                <c:pt idx="115">
                  <c:v>5.25</c:v>
                </c:pt>
                <c:pt idx="116">
                  <c:v>5.25</c:v>
                </c:pt>
                <c:pt idx="117">
                  <c:v>5.25</c:v>
                </c:pt>
                <c:pt idx="118">
                  <c:v>5.25</c:v>
                </c:pt>
                <c:pt idx="119">
                  <c:v>5.25</c:v>
                </c:pt>
                <c:pt idx="120">
                  <c:v>5.25</c:v>
                </c:pt>
                <c:pt idx="121">
                  <c:v>5.25</c:v>
                </c:pt>
                <c:pt idx="122">
                  <c:v>5.25</c:v>
                </c:pt>
                <c:pt idx="123">
                  <c:v>5.25</c:v>
                </c:pt>
                <c:pt idx="124">
                  <c:v>5.25</c:v>
                </c:pt>
                <c:pt idx="125">
                  <c:v>5.25</c:v>
                </c:pt>
                <c:pt idx="126">
                  <c:v>5</c:v>
                </c:pt>
                <c:pt idx="127">
                  <c:v>5</c:v>
                </c:pt>
                <c:pt idx="128">
                  <c:v>4.75</c:v>
                </c:pt>
                <c:pt idx="129">
                  <c:v>4.75</c:v>
                </c:pt>
                <c:pt idx="130">
                  <c:v>4.75</c:v>
                </c:pt>
                <c:pt idx="131">
                  <c:v>4.75</c:v>
                </c:pt>
                <c:pt idx="132">
                  <c:v>4.5</c:v>
                </c:pt>
                <c:pt idx="133">
                  <c:v>4.5</c:v>
                </c:pt>
                <c:pt idx="134">
                  <c:v>4.5</c:v>
                </c:pt>
                <c:pt idx="135">
                  <c:v>4.5</c:v>
                </c:pt>
                <c:pt idx="136">
                  <c:v>4.25</c:v>
                </c:pt>
              </c:numCache>
            </c:numRef>
          </c:val>
          <c:smooth val="0"/>
        </c:ser>
        <c:ser>
          <c:idx val="1"/>
          <c:order val="1"/>
          <c:spPr>
            <a:ln w="38100">
              <a:solidFill>
                <a:srgbClr val="DC1D1D"/>
              </a:solidFill>
              <a:prstDash val="solid"/>
            </a:ln>
          </c:spPr>
          <c:marker>
            <c:symbol val="none"/>
          </c:marker>
          <c:cat>
            <c:numRef>
              <c:f>Arkusz1!$A$2:$A$138</c:f>
              <c:numCache>
                <c:formatCode>dd/mm/yy</c:formatCode>
                <c:ptCount val="137"/>
                <c:pt idx="0">
                  <c:v>40811</c:v>
                </c:pt>
                <c:pt idx="1">
                  <c:v>40786</c:v>
                </c:pt>
                <c:pt idx="2">
                  <c:v>40785</c:v>
                </c:pt>
                <c:pt idx="3">
                  <c:v>40755</c:v>
                </c:pt>
                <c:pt idx="4">
                  <c:v>40754</c:v>
                </c:pt>
                <c:pt idx="5">
                  <c:v>40724</c:v>
                </c:pt>
                <c:pt idx="6">
                  <c:v>40723</c:v>
                </c:pt>
                <c:pt idx="7">
                  <c:v>40694</c:v>
                </c:pt>
                <c:pt idx="8">
                  <c:v>40693</c:v>
                </c:pt>
                <c:pt idx="9">
                  <c:v>40663</c:v>
                </c:pt>
                <c:pt idx="10">
                  <c:v>40662</c:v>
                </c:pt>
                <c:pt idx="11">
                  <c:v>40633</c:v>
                </c:pt>
                <c:pt idx="12">
                  <c:v>40632</c:v>
                </c:pt>
                <c:pt idx="13">
                  <c:v>40602</c:v>
                </c:pt>
                <c:pt idx="14">
                  <c:v>40601</c:v>
                </c:pt>
                <c:pt idx="15">
                  <c:v>40574</c:v>
                </c:pt>
                <c:pt idx="16">
                  <c:v>40573</c:v>
                </c:pt>
                <c:pt idx="17">
                  <c:v>40543</c:v>
                </c:pt>
                <c:pt idx="18">
                  <c:v>40542</c:v>
                </c:pt>
                <c:pt idx="19">
                  <c:v>40512</c:v>
                </c:pt>
                <c:pt idx="20">
                  <c:v>40511</c:v>
                </c:pt>
                <c:pt idx="21">
                  <c:v>40482</c:v>
                </c:pt>
                <c:pt idx="22">
                  <c:v>40481</c:v>
                </c:pt>
                <c:pt idx="23">
                  <c:v>40451</c:v>
                </c:pt>
                <c:pt idx="24">
                  <c:v>40450</c:v>
                </c:pt>
                <c:pt idx="25">
                  <c:v>40421</c:v>
                </c:pt>
                <c:pt idx="26">
                  <c:v>40420</c:v>
                </c:pt>
                <c:pt idx="27">
                  <c:v>40390</c:v>
                </c:pt>
                <c:pt idx="28">
                  <c:v>40389</c:v>
                </c:pt>
                <c:pt idx="29">
                  <c:v>40359</c:v>
                </c:pt>
                <c:pt idx="30">
                  <c:v>40358</c:v>
                </c:pt>
                <c:pt idx="31">
                  <c:v>40329</c:v>
                </c:pt>
                <c:pt idx="32">
                  <c:v>40328</c:v>
                </c:pt>
                <c:pt idx="33">
                  <c:v>40298</c:v>
                </c:pt>
                <c:pt idx="34">
                  <c:v>40297</c:v>
                </c:pt>
                <c:pt idx="35">
                  <c:v>40268</c:v>
                </c:pt>
                <c:pt idx="36">
                  <c:v>40267</c:v>
                </c:pt>
                <c:pt idx="37">
                  <c:v>40237</c:v>
                </c:pt>
                <c:pt idx="38">
                  <c:v>40236</c:v>
                </c:pt>
                <c:pt idx="39">
                  <c:v>40209</c:v>
                </c:pt>
                <c:pt idx="40">
                  <c:v>40208</c:v>
                </c:pt>
                <c:pt idx="41">
                  <c:v>40178</c:v>
                </c:pt>
                <c:pt idx="42">
                  <c:v>40177</c:v>
                </c:pt>
                <c:pt idx="43">
                  <c:v>40147</c:v>
                </c:pt>
                <c:pt idx="44">
                  <c:v>40146</c:v>
                </c:pt>
                <c:pt idx="45">
                  <c:v>40117</c:v>
                </c:pt>
                <c:pt idx="46">
                  <c:v>40116</c:v>
                </c:pt>
                <c:pt idx="47">
                  <c:v>40086</c:v>
                </c:pt>
                <c:pt idx="48">
                  <c:v>40085</c:v>
                </c:pt>
                <c:pt idx="49">
                  <c:v>40056</c:v>
                </c:pt>
                <c:pt idx="50">
                  <c:v>40055</c:v>
                </c:pt>
                <c:pt idx="51">
                  <c:v>40025</c:v>
                </c:pt>
                <c:pt idx="52">
                  <c:v>40024</c:v>
                </c:pt>
                <c:pt idx="53">
                  <c:v>39994</c:v>
                </c:pt>
                <c:pt idx="54">
                  <c:v>39993</c:v>
                </c:pt>
                <c:pt idx="55">
                  <c:v>39964</c:v>
                </c:pt>
                <c:pt idx="56">
                  <c:v>39963</c:v>
                </c:pt>
                <c:pt idx="57">
                  <c:v>39933</c:v>
                </c:pt>
                <c:pt idx="58">
                  <c:v>39932</c:v>
                </c:pt>
                <c:pt idx="59">
                  <c:v>39903</c:v>
                </c:pt>
                <c:pt idx="60">
                  <c:v>39902</c:v>
                </c:pt>
                <c:pt idx="61">
                  <c:v>39872</c:v>
                </c:pt>
                <c:pt idx="62">
                  <c:v>39871</c:v>
                </c:pt>
                <c:pt idx="63">
                  <c:v>39844</c:v>
                </c:pt>
                <c:pt idx="64">
                  <c:v>39843</c:v>
                </c:pt>
                <c:pt idx="65">
                  <c:v>39813</c:v>
                </c:pt>
                <c:pt idx="66">
                  <c:v>39812</c:v>
                </c:pt>
                <c:pt idx="67">
                  <c:v>39782</c:v>
                </c:pt>
                <c:pt idx="68">
                  <c:v>39781</c:v>
                </c:pt>
                <c:pt idx="69">
                  <c:v>39752</c:v>
                </c:pt>
                <c:pt idx="70">
                  <c:v>39751</c:v>
                </c:pt>
                <c:pt idx="71">
                  <c:v>39721</c:v>
                </c:pt>
                <c:pt idx="72">
                  <c:v>39720</c:v>
                </c:pt>
                <c:pt idx="73">
                  <c:v>39691</c:v>
                </c:pt>
                <c:pt idx="74">
                  <c:v>39690</c:v>
                </c:pt>
                <c:pt idx="75">
                  <c:v>39660</c:v>
                </c:pt>
                <c:pt idx="76">
                  <c:v>39659</c:v>
                </c:pt>
                <c:pt idx="77">
                  <c:v>39629</c:v>
                </c:pt>
                <c:pt idx="78">
                  <c:v>39628</c:v>
                </c:pt>
                <c:pt idx="79">
                  <c:v>39599</c:v>
                </c:pt>
                <c:pt idx="80">
                  <c:v>39598</c:v>
                </c:pt>
                <c:pt idx="81">
                  <c:v>39568</c:v>
                </c:pt>
                <c:pt idx="82">
                  <c:v>39567</c:v>
                </c:pt>
                <c:pt idx="83">
                  <c:v>39538</c:v>
                </c:pt>
                <c:pt idx="84">
                  <c:v>39537</c:v>
                </c:pt>
                <c:pt idx="85">
                  <c:v>39507</c:v>
                </c:pt>
                <c:pt idx="86">
                  <c:v>39506</c:v>
                </c:pt>
                <c:pt idx="87">
                  <c:v>39478</c:v>
                </c:pt>
                <c:pt idx="88">
                  <c:v>39477</c:v>
                </c:pt>
                <c:pt idx="89">
                  <c:v>39447</c:v>
                </c:pt>
                <c:pt idx="90">
                  <c:v>39446</c:v>
                </c:pt>
                <c:pt idx="91">
                  <c:v>39416</c:v>
                </c:pt>
                <c:pt idx="92">
                  <c:v>39415</c:v>
                </c:pt>
                <c:pt idx="93">
                  <c:v>39386</c:v>
                </c:pt>
                <c:pt idx="94">
                  <c:v>39385</c:v>
                </c:pt>
                <c:pt idx="95">
                  <c:v>39355</c:v>
                </c:pt>
                <c:pt idx="96">
                  <c:v>39354</c:v>
                </c:pt>
                <c:pt idx="97">
                  <c:v>39325</c:v>
                </c:pt>
                <c:pt idx="98">
                  <c:v>39324</c:v>
                </c:pt>
                <c:pt idx="99">
                  <c:v>39294</c:v>
                </c:pt>
                <c:pt idx="100">
                  <c:v>39293</c:v>
                </c:pt>
                <c:pt idx="101">
                  <c:v>39263</c:v>
                </c:pt>
                <c:pt idx="102">
                  <c:v>39262</c:v>
                </c:pt>
                <c:pt idx="103">
                  <c:v>39233</c:v>
                </c:pt>
                <c:pt idx="104">
                  <c:v>39232</c:v>
                </c:pt>
                <c:pt idx="105">
                  <c:v>39202</c:v>
                </c:pt>
                <c:pt idx="106">
                  <c:v>39201</c:v>
                </c:pt>
                <c:pt idx="107">
                  <c:v>39172</c:v>
                </c:pt>
                <c:pt idx="108">
                  <c:v>39171</c:v>
                </c:pt>
                <c:pt idx="109">
                  <c:v>39141</c:v>
                </c:pt>
                <c:pt idx="110">
                  <c:v>39140</c:v>
                </c:pt>
                <c:pt idx="111">
                  <c:v>39113</c:v>
                </c:pt>
                <c:pt idx="112">
                  <c:v>39112</c:v>
                </c:pt>
                <c:pt idx="113">
                  <c:v>39082</c:v>
                </c:pt>
                <c:pt idx="114">
                  <c:v>39081</c:v>
                </c:pt>
                <c:pt idx="115">
                  <c:v>39051</c:v>
                </c:pt>
                <c:pt idx="116">
                  <c:v>39050</c:v>
                </c:pt>
                <c:pt idx="117">
                  <c:v>39021</c:v>
                </c:pt>
                <c:pt idx="118">
                  <c:v>39020</c:v>
                </c:pt>
                <c:pt idx="119">
                  <c:v>38990</c:v>
                </c:pt>
                <c:pt idx="120">
                  <c:v>38989</c:v>
                </c:pt>
                <c:pt idx="121">
                  <c:v>38960</c:v>
                </c:pt>
                <c:pt idx="122">
                  <c:v>38959</c:v>
                </c:pt>
                <c:pt idx="123">
                  <c:v>38929</c:v>
                </c:pt>
                <c:pt idx="124">
                  <c:v>38928</c:v>
                </c:pt>
                <c:pt idx="125">
                  <c:v>38898</c:v>
                </c:pt>
                <c:pt idx="126">
                  <c:v>38897</c:v>
                </c:pt>
                <c:pt idx="127">
                  <c:v>38868</c:v>
                </c:pt>
                <c:pt idx="128">
                  <c:v>38867</c:v>
                </c:pt>
                <c:pt idx="129">
                  <c:v>38837</c:v>
                </c:pt>
                <c:pt idx="130">
                  <c:v>38836</c:v>
                </c:pt>
                <c:pt idx="131">
                  <c:v>38807</c:v>
                </c:pt>
                <c:pt idx="132">
                  <c:v>38806</c:v>
                </c:pt>
                <c:pt idx="133">
                  <c:v>38776</c:v>
                </c:pt>
                <c:pt idx="134">
                  <c:v>38775</c:v>
                </c:pt>
                <c:pt idx="135">
                  <c:v>38748</c:v>
                </c:pt>
                <c:pt idx="136">
                  <c:v>38747</c:v>
                </c:pt>
              </c:numCache>
            </c:numRef>
          </c:cat>
          <c:val>
            <c:numRef>
              <c:f>Arkusz1!$C$2:$C$138</c:f>
              <c:numCache>
                <c:formatCode>General</c:formatCode>
                <c:ptCount val="137"/>
                <c:pt idx="0">
                  <c:v>-0.70000000000000062</c:v>
                </c:pt>
                <c:pt idx="1">
                  <c:v>-0.70000000000000062</c:v>
                </c:pt>
                <c:pt idx="2">
                  <c:v>-0.70000000000000062</c:v>
                </c:pt>
                <c:pt idx="3">
                  <c:v>-0.70000000000000062</c:v>
                </c:pt>
                <c:pt idx="4">
                  <c:v>-1.1100000000000001</c:v>
                </c:pt>
                <c:pt idx="5">
                  <c:v>-1.1100000000000001</c:v>
                </c:pt>
                <c:pt idx="6">
                  <c:v>-1.1700000000000017</c:v>
                </c:pt>
                <c:pt idx="7">
                  <c:v>-1.1700000000000017</c:v>
                </c:pt>
                <c:pt idx="8">
                  <c:v>-1.26</c:v>
                </c:pt>
                <c:pt idx="9">
                  <c:v>-1.26</c:v>
                </c:pt>
                <c:pt idx="10">
                  <c:v>-1.24</c:v>
                </c:pt>
                <c:pt idx="11">
                  <c:v>-1.24</c:v>
                </c:pt>
                <c:pt idx="12">
                  <c:v>-1.24</c:v>
                </c:pt>
                <c:pt idx="13">
                  <c:v>-1.24</c:v>
                </c:pt>
                <c:pt idx="14">
                  <c:v>-1.44</c:v>
                </c:pt>
                <c:pt idx="15">
                  <c:v>-1.44</c:v>
                </c:pt>
                <c:pt idx="16">
                  <c:v>-2</c:v>
                </c:pt>
                <c:pt idx="17">
                  <c:v>-2</c:v>
                </c:pt>
                <c:pt idx="18">
                  <c:v>-2.3499999999999988</c:v>
                </c:pt>
                <c:pt idx="19">
                  <c:v>-2.3499999999999988</c:v>
                </c:pt>
                <c:pt idx="20">
                  <c:v>-2.2400000000000002</c:v>
                </c:pt>
                <c:pt idx="21">
                  <c:v>-2.2400000000000002</c:v>
                </c:pt>
                <c:pt idx="22">
                  <c:v>-1.75</c:v>
                </c:pt>
                <c:pt idx="23">
                  <c:v>-1.75</c:v>
                </c:pt>
                <c:pt idx="24">
                  <c:v>-1.55</c:v>
                </c:pt>
                <c:pt idx="25">
                  <c:v>-1.55</c:v>
                </c:pt>
                <c:pt idx="26">
                  <c:v>-1.34</c:v>
                </c:pt>
                <c:pt idx="27">
                  <c:v>-1.34</c:v>
                </c:pt>
                <c:pt idx="28">
                  <c:v>-1.3</c:v>
                </c:pt>
                <c:pt idx="29">
                  <c:v>-1.3</c:v>
                </c:pt>
                <c:pt idx="30">
                  <c:v>-1.24</c:v>
                </c:pt>
                <c:pt idx="31">
                  <c:v>-1.24</c:v>
                </c:pt>
                <c:pt idx="32">
                  <c:v>-1.43</c:v>
                </c:pt>
                <c:pt idx="33">
                  <c:v>-1.43</c:v>
                </c:pt>
                <c:pt idx="34">
                  <c:v>-1.03</c:v>
                </c:pt>
                <c:pt idx="35">
                  <c:v>-1.03</c:v>
                </c:pt>
                <c:pt idx="36">
                  <c:v>-1.1399999999999979</c:v>
                </c:pt>
                <c:pt idx="37">
                  <c:v>-1.1399999999999979</c:v>
                </c:pt>
                <c:pt idx="38">
                  <c:v>-1.08</c:v>
                </c:pt>
                <c:pt idx="39">
                  <c:v>-1.08</c:v>
                </c:pt>
                <c:pt idx="40">
                  <c:v>-1.28</c:v>
                </c:pt>
                <c:pt idx="41">
                  <c:v>-1.28</c:v>
                </c:pt>
                <c:pt idx="42">
                  <c:v>-1.32</c:v>
                </c:pt>
                <c:pt idx="43">
                  <c:v>-1.32</c:v>
                </c:pt>
                <c:pt idx="44">
                  <c:v>-1.6</c:v>
                </c:pt>
                <c:pt idx="45">
                  <c:v>-1.6</c:v>
                </c:pt>
                <c:pt idx="46">
                  <c:v>-1.6900000000000017</c:v>
                </c:pt>
                <c:pt idx="47">
                  <c:v>-1.6900000000000017</c:v>
                </c:pt>
                <c:pt idx="48">
                  <c:v>-1.6</c:v>
                </c:pt>
                <c:pt idx="49">
                  <c:v>-1.6</c:v>
                </c:pt>
                <c:pt idx="50">
                  <c:v>-1.41</c:v>
                </c:pt>
                <c:pt idx="51">
                  <c:v>-1.41</c:v>
                </c:pt>
                <c:pt idx="52">
                  <c:v>-1.29</c:v>
                </c:pt>
                <c:pt idx="53">
                  <c:v>-1.29</c:v>
                </c:pt>
                <c:pt idx="54">
                  <c:v>-1.1299999999999979</c:v>
                </c:pt>
                <c:pt idx="55">
                  <c:v>-1.1299999999999979</c:v>
                </c:pt>
                <c:pt idx="56">
                  <c:v>-0.51</c:v>
                </c:pt>
                <c:pt idx="57">
                  <c:v>-0.51</c:v>
                </c:pt>
                <c:pt idx="58">
                  <c:v>-0.33000000000000057</c:v>
                </c:pt>
                <c:pt idx="59">
                  <c:v>-0.33000000000000057</c:v>
                </c:pt>
                <c:pt idx="60">
                  <c:v>0.28000000000000008</c:v>
                </c:pt>
                <c:pt idx="61">
                  <c:v>0.28000000000000008</c:v>
                </c:pt>
                <c:pt idx="62">
                  <c:v>0.67000000000000115</c:v>
                </c:pt>
                <c:pt idx="63">
                  <c:v>0.67000000000000115</c:v>
                </c:pt>
                <c:pt idx="64">
                  <c:v>1.36</c:v>
                </c:pt>
                <c:pt idx="65">
                  <c:v>1.36</c:v>
                </c:pt>
                <c:pt idx="66">
                  <c:v>2.2200000000000002</c:v>
                </c:pt>
                <c:pt idx="67">
                  <c:v>2.2200000000000002</c:v>
                </c:pt>
                <c:pt idx="68">
                  <c:v>2.64</c:v>
                </c:pt>
                <c:pt idx="69">
                  <c:v>2.64</c:v>
                </c:pt>
                <c:pt idx="70">
                  <c:v>3.3299999999999987</c:v>
                </c:pt>
                <c:pt idx="71">
                  <c:v>3.3299999999999987</c:v>
                </c:pt>
                <c:pt idx="72">
                  <c:v>3.6</c:v>
                </c:pt>
                <c:pt idx="73">
                  <c:v>3.6</c:v>
                </c:pt>
                <c:pt idx="74">
                  <c:v>3.96</c:v>
                </c:pt>
                <c:pt idx="75">
                  <c:v>3.96</c:v>
                </c:pt>
                <c:pt idx="76">
                  <c:v>4.18</c:v>
                </c:pt>
                <c:pt idx="77">
                  <c:v>4.18</c:v>
                </c:pt>
                <c:pt idx="78">
                  <c:v>4.3</c:v>
                </c:pt>
                <c:pt idx="79">
                  <c:v>4.3</c:v>
                </c:pt>
                <c:pt idx="80">
                  <c:v>4.6499999999999995</c:v>
                </c:pt>
                <c:pt idx="81">
                  <c:v>4.6499999999999995</c:v>
                </c:pt>
                <c:pt idx="82">
                  <c:v>4.38</c:v>
                </c:pt>
                <c:pt idx="83">
                  <c:v>4.38</c:v>
                </c:pt>
                <c:pt idx="84">
                  <c:v>4.4700000000000024</c:v>
                </c:pt>
                <c:pt idx="85">
                  <c:v>4.4700000000000024</c:v>
                </c:pt>
                <c:pt idx="86">
                  <c:v>4.4300000000000024</c:v>
                </c:pt>
                <c:pt idx="87">
                  <c:v>4.4300000000000024</c:v>
                </c:pt>
                <c:pt idx="88">
                  <c:v>4.6899999999999995</c:v>
                </c:pt>
                <c:pt idx="89">
                  <c:v>4.6899999999999995</c:v>
                </c:pt>
                <c:pt idx="90">
                  <c:v>4.87</c:v>
                </c:pt>
                <c:pt idx="91">
                  <c:v>4.87</c:v>
                </c:pt>
                <c:pt idx="92">
                  <c:v>4.68</c:v>
                </c:pt>
                <c:pt idx="93">
                  <c:v>4.68</c:v>
                </c:pt>
                <c:pt idx="94">
                  <c:v>4.6099999999999985</c:v>
                </c:pt>
                <c:pt idx="95">
                  <c:v>4.6099999999999985</c:v>
                </c:pt>
                <c:pt idx="96">
                  <c:v>4.57</c:v>
                </c:pt>
                <c:pt idx="97">
                  <c:v>4.57</c:v>
                </c:pt>
                <c:pt idx="98">
                  <c:v>4.5999999999999996</c:v>
                </c:pt>
                <c:pt idx="99">
                  <c:v>4.5999999999999996</c:v>
                </c:pt>
                <c:pt idx="100">
                  <c:v>4.6099999999999985</c:v>
                </c:pt>
                <c:pt idx="101">
                  <c:v>4.6099999999999985</c:v>
                </c:pt>
                <c:pt idx="102">
                  <c:v>4.88</c:v>
                </c:pt>
                <c:pt idx="103">
                  <c:v>4.88</c:v>
                </c:pt>
                <c:pt idx="104">
                  <c:v>4.95</c:v>
                </c:pt>
                <c:pt idx="105">
                  <c:v>4.95</c:v>
                </c:pt>
                <c:pt idx="106">
                  <c:v>5.26</c:v>
                </c:pt>
                <c:pt idx="107">
                  <c:v>5.26</c:v>
                </c:pt>
                <c:pt idx="108">
                  <c:v>5.38</c:v>
                </c:pt>
                <c:pt idx="109">
                  <c:v>5.38</c:v>
                </c:pt>
                <c:pt idx="110">
                  <c:v>5.1599999999999975</c:v>
                </c:pt>
                <c:pt idx="111">
                  <c:v>5.1599999999999975</c:v>
                </c:pt>
                <c:pt idx="112">
                  <c:v>5</c:v>
                </c:pt>
                <c:pt idx="113">
                  <c:v>5</c:v>
                </c:pt>
                <c:pt idx="114">
                  <c:v>4.8099999999999996</c:v>
                </c:pt>
                <c:pt idx="115">
                  <c:v>4.8099999999999996</c:v>
                </c:pt>
                <c:pt idx="116">
                  <c:v>5.0999999999999996</c:v>
                </c:pt>
                <c:pt idx="117">
                  <c:v>5.0999999999999996</c:v>
                </c:pt>
                <c:pt idx="118">
                  <c:v>5.0999999999999996</c:v>
                </c:pt>
                <c:pt idx="119">
                  <c:v>5.0999999999999996</c:v>
                </c:pt>
                <c:pt idx="120">
                  <c:v>5.0599999999999996</c:v>
                </c:pt>
                <c:pt idx="121">
                  <c:v>5.0599999999999996</c:v>
                </c:pt>
                <c:pt idx="122">
                  <c:v>4.84</c:v>
                </c:pt>
                <c:pt idx="123">
                  <c:v>4.84</c:v>
                </c:pt>
                <c:pt idx="124">
                  <c:v>4.96</c:v>
                </c:pt>
                <c:pt idx="125">
                  <c:v>4.96</c:v>
                </c:pt>
                <c:pt idx="126">
                  <c:v>4.76</c:v>
                </c:pt>
                <c:pt idx="127">
                  <c:v>4.76</c:v>
                </c:pt>
                <c:pt idx="128">
                  <c:v>4.6099999999999985</c:v>
                </c:pt>
                <c:pt idx="129">
                  <c:v>4.6099999999999985</c:v>
                </c:pt>
                <c:pt idx="130">
                  <c:v>4.3899999999999997</c:v>
                </c:pt>
                <c:pt idx="131">
                  <c:v>4.3899999999999997</c:v>
                </c:pt>
                <c:pt idx="132">
                  <c:v>4.3</c:v>
                </c:pt>
                <c:pt idx="133">
                  <c:v>4.3</c:v>
                </c:pt>
                <c:pt idx="134">
                  <c:v>4.53</c:v>
                </c:pt>
                <c:pt idx="135">
                  <c:v>4.53</c:v>
                </c:pt>
                <c:pt idx="136">
                  <c:v>4.5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253696"/>
        <c:axId val="100255232"/>
      </c:lineChart>
      <c:dateAx>
        <c:axId val="100253696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low"/>
        <c:spPr>
          <a:effectLst/>
        </c:spPr>
        <c:txPr>
          <a:bodyPr rot="0"/>
          <a:lstStyle/>
          <a:p>
            <a:pPr rtl="0">
              <a:defRPr sz="1050" b="0" i="0" u="none" strike="noStrike" baseline="0"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0255232"/>
        <c:crosses val="autoZero"/>
        <c:auto val="1"/>
        <c:lblOffset val="100"/>
        <c:baseTimeUnit val="days"/>
      </c:dateAx>
      <c:valAx>
        <c:axId val="100255232"/>
        <c:scaling>
          <c:orientation val="minMax"/>
        </c:scaling>
        <c:delete val="0"/>
        <c:axPos val="l"/>
        <c:majorGridlines>
          <c:spPr>
            <a:ln w="3175">
              <a:solidFill>
                <a:srgbClr val="C0C0C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effectLst/>
        </c:spPr>
        <c:txPr>
          <a:bodyPr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0253696"/>
        <c:crosses val="autoZero"/>
        <c:crossBetween val="between"/>
      </c:valAx>
      <c:spPr>
        <a:solidFill>
          <a:srgbClr val="FFFFFF"/>
        </a:solidFill>
        <a:ln w="25400">
          <a:noFill/>
        </a:ln>
      </c:spPr>
    </c:plotArea>
    <c:plotVisOnly val="1"/>
    <c:dispBlanksAs val="gap"/>
    <c:showDLblsOverMax val="0"/>
  </c:chart>
  <c:spPr>
    <a:ln w="25400">
      <a:noFill/>
    </a:ln>
  </c:spPr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en-US" sz="1200"/>
              <a:t>ECB reference rate (%)</a:t>
            </a:r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34925">
              <a:solidFill>
                <a:srgbClr val="953235"/>
              </a:solidFill>
            </a:ln>
          </c:spPr>
          <c:marker>
            <c:symbol val="none"/>
          </c:marker>
          <c:dLbls>
            <c:dLbl>
              <c:idx val="51"/>
              <c:layout>
                <c:manualLayout>
                  <c:x val="-2.1673872306586395E-2"/>
                  <c:y val="-9.0320097888119857E-2"/>
                </c:manualLayout>
              </c:layout>
              <c:tx>
                <c:rich>
                  <a:bodyPr/>
                  <a:lstStyle/>
                  <a:p>
                    <a:r>
                      <a:rPr lang="en-US" b="1"/>
                      <a:t>1.</a:t>
                    </a:r>
                    <a:r>
                      <a:rPr lang="pl-PL" b="1"/>
                      <a:t>5</a:t>
                    </a:r>
                    <a:endParaRPr lang="en-US" b="1"/>
                  </a:p>
                </c:rich>
              </c:tx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stopy ref'!$P$207:$P$280</c:f>
              <c:numCache>
                <c:formatCode>dd/mm/yy</c:formatCode>
                <c:ptCount val="74"/>
                <c:pt idx="0">
                  <c:v>39113</c:v>
                </c:pt>
                <c:pt idx="1">
                  <c:v>39141</c:v>
                </c:pt>
                <c:pt idx="2">
                  <c:v>39171</c:v>
                </c:pt>
                <c:pt idx="3">
                  <c:v>39202</c:v>
                </c:pt>
                <c:pt idx="4">
                  <c:v>39233</c:v>
                </c:pt>
                <c:pt idx="5">
                  <c:v>39262</c:v>
                </c:pt>
                <c:pt idx="6">
                  <c:v>39294</c:v>
                </c:pt>
                <c:pt idx="7">
                  <c:v>39325</c:v>
                </c:pt>
                <c:pt idx="8">
                  <c:v>39353</c:v>
                </c:pt>
                <c:pt idx="9">
                  <c:v>39386</c:v>
                </c:pt>
                <c:pt idx="10">
                  <c:v>39416</c:v>
                </c:pt>
                <c:pt idx="11">
                  <c:v>39447</c:v>
                </c:pt>
                <c:pt idx="12">
                  <c:v>39478</c:v>
                </c:pt>
                <c:pt idx="13">
                  <c:v>39507</c:v>
                </c:pt>
                <c:pt idx="14">
                  <c:v>39538</c:v>
                </c:pt>
                <c:pt idx="15">
                  <c:v>39568</c:v>
                </c:pt>
                <c:pt idx="16">
                  <c:v>39598</c:v>
                </c:pt>
                <c:pt idx="17">
                  <c:v>39629</c:v>
                </c:pt>
                <c:pt idx="18">
                  <c:v>39660</c:v>
                </c:pt>
                <c:pt idx="19">
                  <c:v>39689</c:v>
                </c:pt>
                <c:pt idx="20">
                  <c:v>39721</c:v>
                </c:pt>
                <c:pt idx="21">
                  <c:v>39752</c:v>
                </c:pt>
                <c:pt idx="22">
                  <c:v>39780</c:v>
                </c:pt>
                <c:pt idx="23">
                  <c:v>39813</c:v>
                </c:pt>
                <c:pt idx="24">
                  <c:v>39843</c:v>
                </c:pt>
                <c:pt idx="25">
                  <c:v>39871</c:v>
                </c:pt>
                <c:pt idx="26">
                  <c:v>39903</c:v>
                </c:pt>
                <c:pt idx="27">
                  <c:v>39933</c:v>
                </c:pt>
                <c:pt idx="28">
                  <c:v>39962</c:v>
                </c:pt>
                <c:pt idx="29">
                  <c:v>39994</c:v>
                </c:pt>
                <c:pt idx="30">
                  <c:v>40025</c:v>
                </c:pt>
                <c:pt idx="31">
                  <c:v>40056</c:v>
                </c:pt>
                <c:pt idx="32">
                  <c:v>40086</c:v>
                </c:pt>
                <c:pt idx="33">
                  <c:v>40116</c:v>
                </c:pt>
                <c:pt idx="34">
                  <c:v>40147</c:v>
                </c:pt>
                <c:pt idx="35">
                  <c:v>40178</c:v>
                </c:pt>
                <c:pt idx="36">
                  <c:v>40207</c:v>
                </c:pt>
                <c:pt idx="37">
                  <c:v>40235</c:v>
                </c:pt>
                <c:pt idx="38">
                  <c:v>40268</c:v>
                </c:pt>
                <c:pt idx="39">
                  <c:v>40298</c:v>
                </c:pt>
                <c:pt idx="40">
                  <c:v>40329</c:v>
                </c:pt>
                <c:pt idx="41">
                  <c:v>40359</c:v>
                </c:pt>
                <c:pt idx="42">
                  <c:v>40389</c:v>
                </c:pt>
                <c:pt idx="43">
                  <c:v>40421</c:v>
                </c:pt>
                <c:pt idx="44">
                  <c:v>40451</c:v>
                </c:pt>
                <c:pt idx="45">
                  <c:v>40480</c:v>
                </c:pt>
                <c:pt idx="46">
                  <c:v>40512</c:v>
                </c:pt>
                <c:pt idx="47">
                  <c:v>40543</c:v>
                </c:pt>
                <c:pt idx="48">
                  <c:v>40574</c:v>
                </c:pt>
                <c:pt idx="49">
                  <c:v>40602</c:v>
                </c:pt>
                <c:pt idx="50">
                  <c:v>40633</c:v>
                </c:pt>
                <c:pt idx="51">
                  <c:v>40662</c:v>
                </c:pt>
                <c:pt idx="52">
                  <c:v>40694</c:v>
                </c:pt>
                <c:pt idx="53">
                  <c:v>40724</c:v>
                </c:pt>
                <c:pt idx="54">
                  <c:v>40753</c:v>
                </c:pt>
                <c:pt idx="55">
                  <c:v>40786</c:v>
                </c:pt>
              </c:numCache>
            </c:numRef>
          </c:cat>
          <c:val>
            <c:numRef>
              <c:f>'stopy ref'!$Q$207:$Q$280</c:f>
              <c:numCache>
                <c:formatCode>General</c:formatCode>
                <c:ptCount val="74"/>
                <c:pt idx="0">
                  <c:v>3.5</c:v>
                </c:pt>
                <c:pt idx="1">
                  <c:v>3.5</c:v>
                </c:pt>
                <c:pt idx="2">
                  <c:v>3.75</c:v>
                </c:pt>
                <c:pt idx="3">
                  <c:v>3.75</c:v>
                </c:pt>
                <c:pt idx="4">
                  <c:v>3.75</c:v>
                </c:pt>
                <c:pt idx="5">
                  <c:v>4</c:v>
                </c:pt>
                <c:pt idx="6">
                  <c:v>4</c:v>
                </c:pt>
                <c:pt idx="7">
                  <c:v>4</c:v>
                </c:pt>
                <c:pt idx="8">
                  <c:v>4</c:v>
                </c:pt>
                <c:pt idx="9">
                  <c:v>4</c:v>
                </c:pt>
                <c:pt idx="10">
                  <c:v>4</c:v>
                </c:pt>
                <c:pt idx="11">
                  <c:v>4</c:v>
                </c:pt>
                <c:pt idx="12">
                  <c:v>4</c:v>
                </c:pt>
                <c:pt idx="13">
                  <c:v>4</c:v>
                </c:pt>
                <c:pt idx="14">
                  <c:v>4</c:v>
                </c:pt>
                <c:pt idx="15">
                  <c:v>4</c:v>
                </c:pt>
                <c:pt idx="16">
                  <c:v>4</c:v>
                </c:pt>
                <c:pt idx="17">
                  <c:v>4</c:v>
                </c:pt>
                <c:pt idx="18">
                  <c:v>4.25</c:v>
                </c:pt>
                <c:pt idx="19">
                  <c:v>4.25</c:v>
                </c:pt>
                <c:pt idx="20">
                  <c:v>4.25</c:v>
                </c:pt>
                <c:pt idx="21">
                  <c:v>3.75</c:v>
                </c:pt>
                <c:pt idx="22">
                  <c:v>3.25</c:v>
                </c:pt>
                <c:pt idx="23">
                  <c:v>2.5</c:v>
                </c:pt>
                <c:pt idx="24">
                  <c:v>2</c:v>
                </c:pt>
                <c:pt idx="25">
                  <c:v>2</c:v>
                </c:pt>
                <c:pt idx="26">
                  <c:v>1.5</c:v>
                </c:pt>
                <c:pt idx="27">
                  <c:v>1.25</c:v>
                </c:pt>
                <c:pt idx="28">
                  <c:v>1</c:v>
                </c:pt>
                <c:pt idx="29">
                  <c:v>1</c:v>
                </c:pt>
                <c:pt idx="30">
                  <c:v>1</c:v>
                </c:pt>
                <c:pt idx="31">
                  <c:v>1</c:v>
                </c:pt>
                <c:pt idx="32">
                  <c:v>1</c:v>
                </c:pt>
                <c:pt idx="33">
                  <c:v>1</c:v>
                </c:pt>
                <c:pt idx="34">
                  <c:v>1</c:v>
                </c:pt>
                <c:pt idx="35">
                  <c:v>1</c:v>
                </c:pt>
                <c:pt idx="36">
                  <c:v>1</c:v>
                </c:pt>
                <c:pt idx="37">
                  <c:v>1</c:v>
                </c:pt>
                <c:pt idx="38">
                  <c:v>1</c:v>
                </c:pt>
                <c:pt idx="39">
                  <c:v>1</c:v>
                </c:pt>
                <c:pt idx="40">
                  <c:v>1</c:v>
                </c:pt>
                <c:pt idx="41">
                  <c:v>1</c:v>
                </c:pt>
                <c:pt idx="42">
                  <c:v>1</c:v>
                </c:pt>
                <c:pt idx="43">
                  <c:v>1</c:v>
                </c:pt>
                <c:pt idx="44">
                  <c:v>1</c:v>
                </c:pt>
                <c:pt idx="45">
                  <c:v>1</c:v>
                </c:pt>
                <c:pt idx="46">
                  <c:v>1</c:v>
                </c:pt>
                <c:pt idx="47">
                  <c:v>1</c:v>
                </c:pt>
                <c:pt idx="48">
                  <c:v>1</c:v>
                </c:pt>
                <c:pt idx="49">
                  <c:v>1</c:v>
                </c:pt>
                <c:pt idx="50">
                  <c:v>1</c:v>
                </c:pt>
                <c:pt idx="51">
                  <c:v>1.25</c:v>
                </c:pt>
                <c:pt idx="52">
                  <c:v>1.25</c:v>
                </c:pt>
                <c:pt idx="53">
                  <c:v>1.25</c:v>
                </c:pt>
                <c:pt idx="54">
                  <c:v>1.5</c:v>
                </c:pt>
                <c:pt idx="55">
                  <c:v>1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2745728"/>
        <c:axId val="72747264"/>
      </c:lineChart>
      <c:dateAx>
        <c:axId val="72745728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nextTo"/>
        <c:txPr>
          <a:bodyPr rot="0"/>
          <a:lstStyle/>
          <a:p>
            <a:pPr>
              <a:defRPr sz="800"/>
            </a:pPr>
            <a:endParaRPr lang="pl-PL"/>
          </a:p>
        </c:txPr>
        <c:crossAx val="72747264"/>
        <c:crosses val="autoZero"/>
        <c:auto val="1"/>
        <c:lblOffset val="100"/>
        <c:baseTimeUnit val="months"/>
      </c:dateAx>
      <c:valAx>
        <c:axId val="72747264"/>
        <c:scaling>
          <c:orientation val="minMax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/>
            </a:pPr>
            <a:endParaRPr lang="pl-PL"/>
          </a:p>
        </c:txPr>
        <c:crossAx val="72745728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>
          <a:latin typeface="Tahoma" pitchFamily="34" charset="0"/>
          <a:cs typeface="Tahoma" pitchFamily="34" charset="0"/>
        </a:defRPr>
      </a:pPr>
      <a:endParaRPr lang="pl-PL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>
                <a:latin typeface="Tahoma" pitchFamily="34" charset="0"/>
                <a:cs typeface="Tahoma" pitchFamily="34" charset="0"/>
              </a:defRPr>
            </a:pPr>
            <a:r>
              <a:rPr lang="en-US" sz="1200">
                <a:latin typeface="Tahoma" pitchFamily="34" charset="0"/>
                <a:cs typeface="Tahoma" pitchFamily="34" charset="0"/>
              </a:rPr>
              <a:t>Euribor 3M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10550218722659672"/>
          <c:y val="0.12593759113444244"/>
          <c:w val="0.86394225721785745"/>
          <c:h val="0.72368802857976966"/>
        </c:manualLayout>
      </c:layout>
      <c:lineChart>
        <c:grouping val="standard"/>
        <c:varyColors val="0"/>
        <c:ser>
          <c:idx val="0"/>
          <c:order val="0"/>
          <c:spPr>
            <a:ln>
              <a:solidFill>
                <a:schemeClr val="accent1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libory!$BG$2612:$BG$3100</c:f>
              <c:numCache>
                <c:formatCode>dd/mm/yy</c:formatCode>
                <c:ptCount val="489"/>
                <c:pt idx="0">
                  <c:v>40179</c:v>
                </c:pt>
                <c:pt idx="1">
                  <c:v>40182</c:v>
                </c:pt>
                <c:pt idx="2">
                  <c:v>40183</c:v>
                </c:pt>
                <c:pt idx="3">
                  <c:v>40184</c:v>
                </c:pt>
                <c:pt idx="4">
                  <c:v>40185</c:v>
                </c:pt>
                <c:pt idx="5">
                  <c:v>40186</c:v>
                </c:pt>
                <c:pt idx="6">
                  <c:v>40189</c:v>
                </c:pt>
                <c:pt idx="7">
                  <c:v>40190</c:v>
                </c:pt>
                <c:pt idx="8">
                  <c:v>40191</c:v>
                </c:pt>
                <c:pt idx="9">
                  <c:v>40192</c:v>
                </c:pt>
                <c:pt idx="10">
                  <c:v>40193</c:v>
                </c:pt>
                <c:pt idx="11">
                  <c:v>40196</c:v>
                </c:pt>
                <c:pt idx="12">
                  <c:v>40197</c:v>
                </c:pt>
                <c:pt idx="13">
                  <c:v>40198</c:v>
                </c:pt>
                <c:pt idx="14">
                  <c:v>40199</c:v>
                </c:pt>
                <c:pt idx="15">
                  <c:v>40200</c:v>
                </c:pt>
                <c:pt idx="16">
                  <c:v>40203</c:v>
                </c:pt>
                <c:pt idx="17">
                  <c:v>40204</c:v>
                </c:pt>
                <c:pt idx="18">
                  <c:v>40205</c:v>
                </c:pt>
                <c:pt idx="19">
                  <c:v>40206</c:v>
                </c:pt>
                <c:pt idx="20">
                  <c:v>40207</c:v>
                </c:pt>
                <c:pt idx="21">
                  <c:v>40210</c:v>
                </c:pt>
                <c:pt idx="22">
                  <c:v>40211</c:v>
                </c:pt>
                <c:pt idx="23">
                  <c:v>40212</c:v>
                </c:pt>
                <c:pt idx="24">
                  <c:v>40213</c:v>
                </c:pt>
                <c:pt idx="25">
                  <c:v>40214</c:v>
                </c:pt>
                <c:pt idx="26">
                  <c:v>40217</c:v>
                </c:pt>
                <c:pt idx="27">
                  <c:v>40218</c:v>
                </c:pt>
                <c:pt idx="28">
                  <c:v>40219</c:v>
                </c:pt>
                <c:pt idx="29">
                  <c:v>40220</c:v>
                </c:pt>
                <c:pt idx="30">
                  <c:v>40221</c:v>
                </c:pt>
                <c:pt idx="31">
                  <c:v>40224</c:v>
                </c:pt>
                <c:pt idx="32">
                  <c:v>40225</c:v>
                </c:pt>
                <c:pt idx="33">
                  <c:v>40226</c:v>
                </c:pt>
                <c:pt idx="34">
                  <c:v>40227</c:v>
                </c:pt>
                <c:pt idx="35">
                  <c:v>40228</c:v>
                </c:pt>
                <c:pt idx="36">
                  <c:v>40231</c:v>
                </c:pt>
                <c:pt idx="37">
                  <c:v>40232</c:v>
                </c:pt>
                <c:pt idx="38">
                  <c:v>40233</c:v>
                </c:pt>
                <c:pt idx="39">
                  <c:v>40234</c:v>
                </c:pt>
                <c:pt idx="40">
                  <c:v>40235</c:v>
                </c:pt>
                <c:pt idx="41">
                  <c:v>40238</c:v>
                </c:pt>
                <c:pt idx="42">
                  <c:v>40239</c:v>
                </c:pt>
                <c:pt idx="43">
                  <c:v>40240</c:v>
                </c:pt>
                <c:pt idx="44">
                  <c:v>40241</c:v>
                </c:pt>
                <c:pt idx="45">
                  <c:v>40242</c:v>
                </c:pt>
                <c:pt idx="46">
                  <c:v>40245</c:v>
                </c:pt>
                <c:pt idx="47">
                  <c:v>40246</c:v>
                </c:pt>
                <c:pt idx="48">
                  <c:v>40247</c:v>
                </c:pt>
                <c:pt idx="49">
                  <c:v>40248</c:v>
                </c:pt>
                <c:pt idx="50">
                  <c:v>40249</c:v>
                </c:pt>
                <c:pt idx="51">
                  <c:v>40252</c:v>
                </c:pt>
                <c:pt idx="52">
                  <c:v>40253</c:v>
                </c:pt>
                <c:pt idx="53">
                  <c:v>40254</c:v>
                </c:pt>
                <c:pt idx="54">
                  <c:v>40255</c:v>
                </c:pt>
                <c:pt idx="55">
                  <c:v>40256</c:v>
                </c:pt>
                <c:pt idx="56">
                  <c:v>40259</c:v>
                </c:pt>
                <c:pt idx="57">
                  <c:v>40260</c:v>
                </c:pt>
                <c:pt idx="58">
                  <c:v>40261</c:v>
                </c:pt>
                <c:pt idx="59">
                  <c:v>40262</c:v>
                </c:pt>
                <c:pt idx="60">
                  <c:v>40263</c:v>
                </c:pt>
                <c:pt idx="61">
                  <c:v>40266</c:v>
                </c:pt>
                <c:pt idx="62">
                  <c:v>40267</c:v>
                </c:pt>
                <c:pt idx="63">
                  <c:v>40268</c:v>
                </c:pt>
                <c:pt idx="64">
                  <c:v>40269</c:v>
                </c:pt>
                <c:pt idx="65">
                  <c:v>40270</c:v>
                </c:pt>
                <c:pt idx="66">
                  <c:v>40273</c:v>
                </c:pt>
                <c:pt idx="67">
                  <c:v>40274</c:v>
                </c:pt>
                <c:pt idx="68">
                  <c:v>40275</c:v>
                </c:pt>
                <c:pt idx="69">
                  <c:v>40276</c:v>
                </c:pt>
                <c:pt idx="70">
                  <c:v>40277</c:v>
                </c:pt>
                <c:pt idx="71">
                  <c:v>40280</c:v>
                </c:pt>
                <c:pt idx="72">
                  <c:v>40281</c:v>
                </c:pt>
                <c:pt idx="73">
                  <c:v>40282</c:v>
                </c:pt>
                <c:pt idx="74">
                  <c:v>40283</c:v>
                </c:pt>
                <c:pt idx="75">
                  <c:v>40284</c:v>
                </c:pt>
                <c:pt idx="76">
                  <c:v>40287</c:v>
                </c:pt>
                <c:pt idx="77">
                  <c:v>40288</c:v>
                </c:pt>
                <c:pt idx="78">
                  <c:v>40289</c:v>
                </c:pt>
                <c:pt idx="79">
                  <c:v>40290</c:v>
                </c:pt>
                <c:pt idx="80">
                  <c:v>40291</c:v>
                </c:pt>
                <c:pt idx="81">
                  <c:v>40294</c:v>
                </c:pt>
                <c:pt idx="82">
                  <c:v>40295</c:v>
                </c:pt>
                <c:pt idx="83">
                  <c:v>40296</c:v>
                </c:pt>
                <c:pt idx="84">
                  <c:v>40297</c:v>
                </c:pt>
                <c:pt idx="85">
                  <c:v>40298</c:v>
                </c:pt>
                <c:pt idx="86">
                  <c:v>40301</c:v>
                </c:pt>
                <c:pt idx="87">
                  <c:v>40302</c:v>
                </c:pt>
                <c:pt idx="88">
                  <c:v>40303</c:v>
                </c:pt>
                <c:pt idx="89">
                  <c:v>40304</c:v>
                </c:pt>
                <c:pt idx="90">
                  <c:v>40305</c:v>
                </c:pt>
                <c:pt idx="91">
                  <c:v>40308</c:v>
                </c:pt>
                <c:pt idx="92">
                  <c:v>40309</c:v>
                </c:pt>
                <c:pt idx="93">
                  <c:v>40310</c:v>
                </c:pt>
                <c:pt idx="94">
                  <c:v>40311</c:v>
                </c:pt>
                <c:pt idx="95">
                  <c:v>40312</c:v>
                </c:pt>
                <c:pt idx="96">
                  <c:v>40315</c:v>
                </c:pt>
                <c:pt idx="97">
                  <c:v>40316</c:v>
                </c:pt>
                <c:pt idx="98">
                  <c:v>40317</c:v>
                </c:pt>
                <c:pt idx="99">
                  <c:v>40318</c:v>
                </c:pt>
                <c:pt idx="100">
                  <c:v>40319</c:v>
                </c:pt>
                <c:pt idx="101">
                  <c:v>40322</c:v>
                </c:pt>
                <c:pt idx="102">
                  <c:v>40323</c:v>
                </c:pt>
                <c:pt idx="103">
                  <c:v>40324</c:v>
                </c:pt>
                <c:pt idx="104">
                  <c:v>40325</c:v>
                </c:pt>
                <c:pt idx="105">
                  <c:v>40326</c:v>
                </c:pt>
                <c:pt idx="106">
                  <c:v>40329</c:v>
                </c:pt>
                <c:pt idx="107">
                  <c:v>40330</c:v>
                </c:pt>
                <c:pt idx="108">
                  <c:v>40331</c:v>
                </c:pt>
                <c:pt idx="109">
                  <c:v>40332</c:v>
                </c:pt>
                <c:pt idx="110">
                  <c:v>40333</c:v>
                </c:pt>
                <c:pt idx="111">
                  <c:v>40336</c:v>
                </c:pt>
                <c:pt idx="112">
                  <c:v>40337</c:v>
                </c:pt>
                <c:pt idx="113">
                  <c:v>40338</c:v>
                </c:pt>
                <c:pt idx="114">
                  <c:v>40339</c:v>
                </c:pt>
                <c:pt idx="115">
                  <c:v>40340</c:v>
                </c:pt>
                <c:pt idx="116">
                  <c:v>40343</c:v>
                </c:pt>
                <c:pt idx="117">
                  <c:v>40344</c:v>
                </c:pt>
                <c:pt idx="118">
                  <c:v>40345</c:v>
                </c:pt>
                <c:pt idx="119">
                  <c:v>40346</c:v>
                </c:pt>
                <c:pt idx="120">
                  <c:v>40347</c:v>
                </c:pt>
                <c:pt idx="121">
                  <c:v>40350</c:v>
                </c:pt>
                <c:pt idx="122">
                  <c:v>40351</c:v>
                </c:pt>
                <c:pt idx="123">
                  <c:v>40352</c:v>
                </c:pt>
                <c:pt idx="124">
                  <c:v>40353</c:v>
                </c:pt>
                <c:pt idx="125">
                  <c:v>40354</c:v>
                </c:pt>
                <c:pt idx="126">
                  <c:v>40357</c:v>
                </c:pt>
                <c:pt idx="127">
                  <c:v>40358</c:v>
                </c:pt>
                <c:pt idx="128">
                  <c:v>40359</c:v>
                </c:pt>
                <c:pt idx="129">
                  <c:v>40360</c:v>
                </c:pt>
                <c:pt idx="130">
                  <c:v>40361</c:v>
                </c:pt>
                <c:pt idx="131">
                  <c:v>40364</c:v>
                </c:pt>
                <c:pt idx="132">
                  <c:v>40365</c:v>
                </c:pt>
                <c:pt idx="133">
                  <c:v>40366</c:v>
                </c:pt>
                <c:pt idx="134">
                  <c:v>40367</c:v>
                </c:pt>
                <c:pt idx="135">
                  <c:v>40368</c:v>
                </c:pt>
                <c:pt idx="136">
                  <c:v>40371</c:v>
                </c:pt>
                <c:pt idx="137">
                  <c:v>40372</c:v>
                </c:pt>
                <c:pt idx="138">
                  <c:v>40373</c:v>
                </c:pt>
                <c:pt idx="139">
                  <c:v>40374</c:v>
                </c:pt>
                <c:pt idx="140">
                  <c:v>40375</c:v>
                </c:pt>
                <c:pt idx="141">
                  <c:v>40378</c:v>
                </c:pt>
                <c:pt idx="142">
                  <c:v>40379</c:v>
                </c:pt>
                <c:pt idx="143">
                  <c:v>40380</c:v>
                </c:pt>
                <c:pt idx="144">
                  <c:v>40381</c:v>
                </c:pt>
                <c:pt idx="145">
                  <c:v>40382</c:v>
                </c:pt>
                <c:pt idx="146">
                  <c:v>40385</c:v>
                </c:pt>
                <c:pt idx="147">
                  <c:v>40386</c:v>
                </c:pt>
                <c:pt idx="148">
                  <c:v>40387</c:v>
                </c:pt>
                <c:pt idx="149">
                  <c:v>40388</c:v>
                </c:pt>
                <c:pt idx="150">
                  <c:v>40389</c:v>
                </c:pt>
                <c:pt idx="151">
                  <c:v>40392</c:v>
                </c:pt>
                <c:pt idx="152">
                  <c:v>40393</c:v>
                </c:pt>
                <c:pt idx="153">
                  <c:v>40394</c:v>
                </c:pt>
                <c:pt idx="154">
                  <c:v>40395</c:v>
                </c:pt>
                <c:pt idx="155">
                  <c:v>40396</c:v>
                </c:pt>
                <c:pt idx="156">
                  <c:v>40399</c:v>
                </c:pt>
                <c:pt idx="157">
                  <c:v>40400</c:v>
                </c:pt>
                <c:pt idx="158">
                  <c:v>40401</c:v>
                </c:pt>
                <c:pt idx="159">
                  <c:v>40402</c:v>
                </c:pt>
                <c:pt idx="160">
                  <c:v>40403</c:v>
                </c:pt>
                <c:pt idx="161">
                  <c:v>40406</c:v>
                </c:pt>
                <c:pt idx="162">
                  <c:v>40407</c:v>
                </c:pt>
                <c:pt idx="163">
                  <c:v>40408</c:v>
                </c:pt>
                <c:pt idx="164">
                  <c:v>40409</c:v>
                </c:pt>
                <c:pt idx="165">
                  <c:v>40410</c:v>
                </c:pt>
                <c:pt idx="166">
                  <c:v>40413</c:v>
                </c:pt>
                <c:pt idx="167">
                  <c:v>40414</c:v>
                </c:pt>
                <c:pt idx="168">
                  <c:v>40415</c:v>
                </c:pt>
                <c:pt idx="169">
                  <c:v>40416</c:v>
                </c:pt>
                <c:pt idx="170">
                  <c:v>40417</c:v>
                </c:pt>
                <c:pt idx="171">
                  <c:v>40420</c:v>
                </c:pt>
                <c:pt idx="172">
                  <c:v>40421</c:v>
                </c:pt>
                <c:pt idx="173">
                  <c:v>40422</c:v>
                </c:pt>
                <c:pt idx="174">
                  <c:v>40423</c:v>
                </c:pt>
                <c:pt idx="175">
                  <c:v>40424</c:v>
                </c:pt>
                <c:pt idx="176">
                  <c:v>40427</c:v>
                </c:pt>
                <c:pt idx="177">
                  <c:v>40428</c:v>
                </c:pt>
                <c:pt idx="178">
                  <c:v>40429</c:v>
                </c:pt>
                <c:pt idx="179">
                  <c:v>40430</c:v>
                </c:pt>
                <c:pt idx="180">
                  <c:v>40431</c:v>
                </c:pt>
                <c:pt idx="181">
                  <c:v>40434</c:v>
                </c:pt>
                <c:pt idx="182">
                  <c:v>40435</c:v>
                </c:pt>
                <c:pt idx="183">
                  <c:v>40436</c:v>
                </c:pt>
                <c:pt idx="184">
                  <c:v>40437</c:v>
                </c:pt>
                <c:pt idx="185">
                  <c:v>40438</c:v>
                </c:pt>
                <c:pt idx="186">
                  <c:v>40441</c:v>
                </c:pt>
                <c:pt idx="187">
                  <c:v>40442</c:v>
                </c:pt>
                <c:pt idx="188">
                  <c:v>40443</c:v>
                </c:pt>
                <c:pt idx="189">
                  <c:v>40444</c:v>
                </c:pt>
                <c:pt idx="190">
                  <c:v>40445</c:v>
                </c:pt>
                <c:pt idx="191">
                  <c:v>40448</c:v>
                </c:pt>
                <c:pt idx="192">
                  <c:v>40449</c:v>
                </c:pt>
                <c:pt idx="193">
                  <c:v>40450</c:v>
                </c:pt>
                <c:pt idx="194">
                  <c:v>40451</c:v>
                </c:pt>
                <c:pt idx="195">
                  <c:v>40452</c:v>
                </c:pt>
                <c:pt idx="196">
                  <c:v>40455</c:v>
                </c:pt>
                <c:pt idx="197">
                  <c:v>40456</c:v>
                </c:pt>
                <c:pt idx="198">
                  <c:v>40457</c:v>
                </c:pt>
                <c:pt idx="199">
                  <c:v>40458</c:v>
                </c:pt>
                <c:pt idx="200">
                  <c:v>40459</c:v>
                </c:pt>
                <c:pt idx="201">
                  <c:v>40462</c:v>
                </c:pt>
                <c:pt idx="202">
                  <c:v>40463</c:v>
                </c:pt>
                <c:pt idx="203">
                  <c:v>40464</c:v>
                </c:pt>
                <c:pt idx="204">
                  <c:v>40465</c:v>
                </c:pt>
                <c:pt idx="205">
                  <c:v>40466</c:v>
                </c:pt>
                <c:pt idx="206">
                  <c:v>40469</c:v>
                </c:pt>
                <c:pt idx="207">
                  <c:v>40470</c:v>
                </c:pt>
                <c:pt idx="208">
                  <c:v>40471</c:v>
                </c:pt>
                <c:pt idx="209">
                  <c:v>40472</c:v>
                </c:pt>
                <c:pt idx="210">
                  <c:v>40473</c:v>
                </c:pt>
                <c:pt idx="211">
                  <c:v>40476</c:v>
                </c:pt>
                <c:pt idx="212">
                  <c:v>40477</c:v>
                </c:pt>
                <c:pt idx="213">
                  <c:v>40478</c:v>
                </c:pt>
                <c:pt idx="214">
                  <c:v>40479</c:v>
                </c:pt>
                <c:pt idx="215">
                  <c:v>40480</c:v>
                </c:pt>
                <c:pt idx="216">
                  <c:v>40483</c:v>
                </c:pt>
                <c:pt idx="217">
                  <c:v>40484</c:v>
                </c:pt>
                <c:pt idx="218">
                  <c:v>40485</c:v>
                </c:pt>
                <c:pt idx="219">
                  <c:v>40486</c:v>
                </c:pt>
                <c:pt idx="220">
                  <c:v>40487</c:v>
                </c:pt>
                <c:pt idx="221">
                  <c:v>40490</c:v>
                </c:pt>
                <c:pt idx="222">
                  <c:v>40491</c:v>
                </c:pt>
                <c:pt idx="223">
                  <c:v>40492</c:v>
                </c:pt>
                <c:pt idx="224">
                  <c:v>40493</c:v>
                </c:pt>
                <c:pt idx="225">
                  <c:v>40494</c:v>
                </c:pt>
                <c:pt idx="226">
                  <c:v>40497</c:v>
                </c:pt>
                <c:pt idx="227">
                  <c:v>40498</c:v>
                </c:pt>
                <c:pt idx="228">
                  <c:v>40499</c:v>
                </c:pt>
                <c:pt idx="229">
                  <c:v>40500</c:v>
                </c:pt>
                <c:pt idx="230">
                  <c:v>40501</c:v>
                </c:pt>
                <c:pt idx="231">
                  <c:v>40504</c:v>
                </c:pt>
                <c:pt idx="232">
                  <c:v>40505</c:v>
                </c:pt>
                <c:pt idx="233">
                  <c:v>40506</c:v>
                </c:pt>
                <c:pt idx="234">
                  <c:v>40507</c:v>
                </c:pt>
                <c:pt idx="235">
                  <c:v>40508</c:v>
                </c:pt>
                <c:pt idx="236">
                  <c:v>40511</c:v>
                </c:pt>
                <c:pt idx="237">
                  <c:v>40512</c:v>
                </c:pt>
                <c:pt idx="238">
                  <c:v>40513</c:v>
                </c:pt>
                <c:pt idx="239">
                  <c:v>40514</c:v>
                </c:pt>
                <c:pt idx="240">
                  <c:v>40515</c:v>
                </c:pt>
                <c:pt idx="241">
                  <c:v>40518</c:v>
                </c:pt>
                <c:pt idx="242">
                  <c:v>40519</c:v>
                </c:pt>
                <c:pt idx="243">
                  <c:v>40520</c:v>
                </c:pt>
                <c:pt idx="244">
                  <c:v>40521</c:v>
                </c:pt>
                <c:pt idx="245">
                  <c:v>40522</c:v>
                </c:pt>
                <c:pt idx="246">
                  <c:v>40525</c:v>
                </c:pt>
                <c:pt idx="247">
                  <c:v>40526</c:v>
                </c:pt>
                <c:pt idx="248">
                  <c:v>40527</c:v>
                </c:pt>
                <c:pt idx="249">
                  <c:v>40528</c:v>
                </c:pt>
                <c:pt idx="250">
                  <c:v>40529</c:v>
                </c:pt>
                <c:pt idx="251">
                  <c:v>40532</c:v>
                </c:pt>
                <c:pt idx="252">
                  <c:v>40533</c:v>
                </c:pt>
                <c:pt idx="253">
                  <c:v>40534</c:v>
                </c:pt>
                <c:pt idx="254">
                  <c:v>40535</c:v>
                </c:pt>
                <c:pt idx="255">
                  <c:v>40536</c:v>
                </c:pt>
                <c:pt idx="256">
                  <c:v>40539</c:v>
                </c:pt>
                <c:pt idx="257">
                  <c:v>40540</c:v>
                </c:pt>
                <c:pt idx="258">
                  <c:v>40541</c:v>
                </c:pt>
                <c:pt idx="259">
                  <c:v>40542</c:v>
                </c:pt>
                <c:pt idx="260">
                  <c:v>40543</c:v>
                </c:pt>
                <c:pt idx="261">
                  <c:v>40546</c:v>
                </c:pt>
                <c:pt idx="262">
                  <c:v>40547</c:v>
                </c:pt>
                <c:pt idx="263">
                  <c:v>40548</c:v>
                </c:pt>
                <c:pt idx="264">
                  <c:v>40549</c:v>
                </c:pt>
                <c:pt idx="265">
                  <c:v>40550</c:v>
                </c:pt>
                <c:pt idx="266">
                  <c:v>40553</c:v>
                </c:pt>
                <c:pt idx="267">
                  <c:v>40554</c:v>
                </c:pt>
                <c:pt idx="268">
                  <c:v>40555</c:v>
                </c:pt>
                <c:pt idx="269">
                  <c:v>40556</c:v>
                </c:pt>
                <c:pt idx="270">
                  <c:v>40557</c:v>
                </c:pt>
                <c:pt idx="271">
                  <c:v>40560</c:v>
                </c:pt>
                <c:pt idx="272">
                  <c:v>40561</c:v>
                </c:pt>
                <c:pt idx="273">
                  <c:v>40562</c:v>
                </c:pt>
                <c:pt idx="274">
                  <c:v>40563</c:v>
                </c:pt>
                <c:pt idx="275">
                  <c:v>40564</c:v>
                </c:pt>
                <c:pt idx="276">
                  <c:v>40567</c:v>
                </c:pt>
                <c:pt idx="277">
                  <c:v>40568</c:v>
                </c:pt>
                <c:pt idx="278">
                  <c:v>40569</c:v>
                </c:pt>
                <c:pt idx="279">
                  <c:v>40570</c:v>
                </c:pt>
                <c:pt idx="280">
                  <c:v>40571</c:v>
                </c:pt>
                <c:pt idx="281">
                  <c:v>40574</c:v>
                </c:pt>
                <c:pt idx="282">
                  <c:v>40575</c:v>
                </c:pt>
                <c:pt idx="283">
                  <c:v>40576</c:v>
                </c:pt>
                <c:pt idx="284">
                  <c:v>40577</c:v>
                </c:pt>
                <c:pt idx="285">
                  <c:v>40578</c:v>
                </c:pt>
                <c:pt idx="286">
                  <c:v>40581</c:v>
                </c:pt>
                <c:pt idx="287">
                  <c:v>40582</c:v>
                </c:pt>
                <c:pt idx="288">
                  <c:v>40583</c:v>
                </c:pt>
                <c:pt idx="289">
                  <c:v>40584</c:v>
                </c:pt>
                <c:pt idx="290">
                  <c:v>40585</c:v>
                </c:pt>
                <c:pt idx="291">
                  <c:v>40588</c:v>
                </c:pt>
                <c:pt idx="292">
                  <c:v>40589</c:v>
                </c:pt>
                <c:pt idx="293">
                  <c:v>40590</c:v>
                </c:pt>
                <c:pt idx="294">
                  <c:v>40591</c:v>
                </c:pt>
                <c:pt idx="295">
                  <c:v>40592</c:v>
                </c:pt>
                <c:pt idx="296">
                  <c:v>40595</c:v>
                </c:pt>
                <c:pt idx="297">
                  <c:v>40596</c:v>
                </c:pt>
                <c:pt idx="298">
                  <c:v>40597</c:v>
                </c:pt>
                <c:pt idx="299">
                  <c:v>40598</c:v>
                </c:pt>
                <c:pt idx="300">
                  <c:v>40599</c:v>
                </c:pt>
                <c:pt idx="301">
                  <c:v>40602</c:v>
                </c:pt>
                <c:pt idx="302">
                  <c:v>40603</c:v>
                </c:pt>
                <c:pt idx="303">
                  <c:v>40604</c:v>
                </c:pt>
                <c:pt idx="304">
                  <c:v>40605</c:v>
                </c:pt>
                <c:pt idx="305">
                  <c:v>40606</c:v>
                </c:pt>
                <c:pt idx="306">
                  <c:v>40609</c:v>
                </c:pt>
                <c:pt idx="307">
                  <c:v>40610</c:v>
                </c:pt>
                <c:pt idx="308">
                  <c:v>40611</c:v>
                </c:pt>
                <c:pt idx="309">
                  <c:v>40612</c:v>
                </c:pt>
                <c:pt idx="310">
                  <c:v>40613</c:v>
                </c:pt>
                <c:pt idx="311">
                  <c:v>40616</c:v>
                </c:pt>
                <c:pt idx="312">
                  <c:v>40617</c:v>
                </c:pt>
                <c:pt idx="313">
                  <c:v>40618</c:v>
                </c:pt>
                <c:pt idx="314">
                  <c:v>40619</c:v>
                </c:pt>
                <c:pt idx="315">
                  <c:v>40620</c:v>
                </c:pt>
                <c:pt idx="316">
                  <c:v>40623</c:v>
                </c:pt>
                <c:pt idx="317">
                  <c:v>40624</c:v>
                </c:pt>
                <c:pt idx="318">
                  <c:v>40625</c:v>
                </c:pt>
                <c:pt idx="319">
                  <c:v>40626</c:v>
                </c:pt>
                <c:pt idx="320">
                  <c:v>40627</c:v>
                </c:pt>
                <c:pt idx="321">
                  <c:v>40630</c:v>
                </c:pt>
                <c:pt idx="322">
                  <c:v>40631</c:v>
                </c:pt>
                <c:pt idx="323">
                  <c:v>40632</c:v>
                </c:pt>
                <c:pt idx="324">
                  <c:v>40633</c:v>
                </c:pt>
                <c:pt idx="325">
                  <c:v>40634</c:v>
                </c:pt>
                <c:pt idx="326">
                  <c:v>40637</c:v>
                </c:pt>
                <c:pt idx="327">
                  <c:v>40638</c:v>
                </c:pt>
                <c:pt idx="328">
                  <c:v>40639</c:v>
                </c:pt>
                <c:pt idx="329">
                  <c:v>40640</c:v>
                </c:pt>
                <c:pt idx="330">
                  <c:v>40641</c:v>
                </c:pt>
                <c:pt idx="331">
                  <c:v>40644</c:v>
                </c:pt>
                <c:pt idx="332">
                  <c:v>40645</c:v>
                </c:pt>
                <c:pt idx="333">
                  <c:v>40646</c:v>
                </c:pt>
                <c:pt idx="334">
                  <c:v>40647</c:v>
                </c:pt>
                <c:pt idx="335">
                  <c:v>40648</c:v>
                </c:pt>
                <c:pt idx="336">
                  <c:v>40651</c:v>
                </c:pt>
                <c:pt idx="337">
                  <c:v>40652</c:v>
                </c:pt>
                <c:pt idx="338">
                  <c:v>40653</c:v>
                </c:pt>
                <c:pt idx="339">
                  <c:v>40654</c:v>
                </c:pt>
                <c:pt idx="340">
                  <c:v>40655</c:v>
                </c:pt>
                <c:pt idx="341">
                  <c:v>40658</c:v>
                </c:pt>
                <c:pt idx="342">
                  <c:v>40659</c:v>
                </c:pt>
                <c:pt idx="343">
                  <c:v>40660</c:v>
                </c:pt>
                <c:pt idx="344">
                  <c:v>40661</c:v>
                </c:pt>
                <c:pt idx="345">
                  <c:v>40662</c:v>
                </c:pt>
                <c:pt idx="346">
                  <c:v>40665</c:v>
                </c:pt>
                <c:pt idx="347">
                  <c:v>40666</c:v>
                </c:pt>
                <c:pt idx="348">
                  <c:v>40667</c:v>
                </c:pt>
                <c:pt idx="349">
                  <c:v>40668</c:v>
                </c:pt>
                <c:pt idx="350">
                  <c:v>40669</c:v>
                </c:pt>
                <c:pt idx="351">
                  <c:v>40672</c:v>
                </c:pt>
                <c:pt idx="352">
                  <c:v>40673</c:v>
                </c:pt>
                <c:pt idx="353">
                  <c:v>40674</c:v>
                </c:pt>
                <c:pt idx="354">
                  <c:v>40675</c:v>
                </c:pt>
                <c:pt idx="355">
                  <c:v>40676</c:v>
                </c:pt>
                <c:pt idx="356">
                  <c:v>40679</c:v>
                </c:pt>
                <c:pt idx="357">
                  <c:v>40680</c:v>
                </c:pt>
                <c:pt idx="358">
                  <c:v>40681</c:v>
                </c:pt>
                <c:pt idx="359">
                  <c:v>40682</c:v>
                </c:pt>
                <c:pt idx="360">
                  <c:v>40683</c:v>
                </c:pt>
                <c:pt idx="361">
                  <c:v>40686</c:v>
                </c:pt>
                <c:pt idx="362">
                  <c:v>40687</c:v>
                </c:pt>
                <c:pt idx="363">
                  <c:v>40688</c:v>
                </c:pt>
                <c:pt idx="364">
                  <c:v>40689</c:v>
                </c:pt>
                <c:pt idx="365">
                  <c:v>40690</c:v>
                </c:pt>
                <c:pt idx="366">
                  <c:v>40693</c:v>
                </c:pt>
                <c:pt idx="367">
                  <c:v>40694</c:v>
                </c:pt>
                <c:pt idx="368">
                  <c:v>40695</c:v>
                </c:pt>
                <c:pt idx="369">
                  <c:v>40696</c:v>
                </c:pt>
                <c:pt idx="370">
                  <c:v>40697</c:v>
                </c:pt>
                <c:pt idx="371">
                  <c:v>40700</c:v>
                </c:pt>
                <c:pt idx="372">
                  <c:v>40701</c:v>
                </c:pt>
                <c:pt idx="373">
                  <c:v>40702</c:v>
                </c:pt>
                <c:pt idx="374">
                  <c:v>40703</c:v>
                </c:pt>
                <c:pt idx="375">
                  <c:v>40704</c:v>
                </c:pt>
                <c:pt idx="376">
                  <c:v>40707</c:v>
                </c:pt>
                <c:pt idx="377">
                  <c:v>40708</c:v>
                </c:pt>
                <c:pt idx="378">
                  <c:v>40709</c:v>
                </c:pt>
                <c:pt idx="379">
                  <c:v>40710</c:v>
                </c:pt>
                <c:pt idx="380">
                  <c:v>40711</c:v>
                </c:pt>
                <c:pt idx="381">
                  <c:v>40714</c:v>
                </c:pt>
                <c:pt idx="382">
                  <c:v>40715</c:v>
                </c:pt>
                <c:pt idx="383">
                  <c:v>40716</c:v>
                </c:pt>
                <c:pt idx="384">
                  <c:v>40717</c:v>
                </c:pt>
                <c:pt idx="385">
                  <c:v>40718</c:v>
                </c:pt>
                <c:pt idx="386">
                  <c:v>40721</c:v>
                </c:pt>
                <c:pt idx="387">
                  <c:v>40722</c:v>
                </c:pt>
                <c:pt idx="388">
                  <c:v>40723</c:v>
                </c:pt>
                <c:pt idx="389">
                  <c:v>40724</c:v>
                </c:pt>
                <c:pt idx="390">
                  <c:v>40725</c:v>
                </c:pt>
                <c:pt idx="391">
                  <c:v>40728</c:v>
                </c:pt>
                <c:pt idx="392">
                  <c:v>40729</c:v>
                </c:pt>
                <c:pt idx="393">
                  <c:v>40730</c:v>
                </c:pt>
                <c:pt idx="394">
                  <c:v>40731</c:v>
                </c:pt>
                <c:pt idx="395">
                  <c:v>40732</c:v>
                </c:pt>
                <c:pt idx="396">
                  <c:v>40735</c:v>
                </c:pt>
                <c:pt idx="397">
                  <c:v>40736</c:v>
                </c:pt>
                <c:pt idx="398">
                  <c:v>40737</c:v>
                </c:pt>
                <c:pt idx="399">
                  <c:v>40738</c:v>
                </c:pt>
                <c:pt idx="400">
                  <c:v>40739</c:v>
                </c:pt>
                <c:pt idx="401">
                  <c:v>40742</c:v>
                </c:pt>
                <c:pt idx="402">
                  <c:v>40743</c:v>
                </c:pt>
                <c:pt idx="403">
                  <c:v>40744</c:v>
                </c:pt>
                <c:pt idx="404">
                  <c:v>40745</c:v>
                </c:pt>
                <c:pt idx="405">
                  <c:v>40746</c:v>
                </c:pt>
                <c:pt idx="406">
                  <c:v>40749</c:v>
                </c:pt>
                <c:pt idx="407">
                  <c:v>40750</c:v>
                </c:pt>
                <c:pt idx="408">
                  <c:v>40751</c:v>
                </c:pt>
                <c:pt idx="409">
                  <c:v>40752</c:v>
                </c:pt>
                <c:pt idx="410">
                  <c:v>40753</c:v>
                </c:pt>
                <c:pt idx="411">
                  <c:v>40756</c:v>
                </c:pt>
                <c:pt idx="412">
                  <c:v>40757</c:v>
                </c:pt>
                <c:pt idx="413">
                  <c:v>40758</c:v>
                </c:pt>
                <c:pt idx="414">
                  <c:v>40759</c:v>
                </c:pt>
                <c:pt idx="415">
                  <c:v>40760</c:v>
                </c:pt>
                <c:pt idx="416">
                  <c:v>40763</c:v>
                </c:pt>
                <c:pt idx="417">
                  <c:v>40764</c:v>
                </c:pt>
                <c:pt idx="418">
                  <c:v>40765</c:v>
                </c:pt>
                <c:pt idx="419">
                  <c:v>40766</c:v>
                </c:pt>
                <c:pt idx="420">
                  <c:v>40767</c:v>
                </c:pt>
                <c:pt idx="421">
                  <c:v>40770</c:v>
                </c:pt>
                <c:pt idx="422">
                  <c:v>40771</c:v>
                </c:pt>
                <c:pt idx="423">
                  <c:v>40772</c:v>
                </c:pt>
                <c:pt idx="424">
                  <c:v>40773</c:v>
                </c:pt>
                <c:pt idx="425">
                  <c:v>40774</c:v>
                </c:pt>
                <c:pt idx="426">
                  <c:v>40777</c:v>
                </c:pt>
                <c:pt idx="427">
                  <c:v>40778</c:v>
                </c:pt>
                <c:pt idx="428">
                  <c:v>40779</c:v>
                </c:pt>
                <c:pt idx="429">
                  <c:v>40780</c:v>
                </c:pt>
                <c:pt idx="430">
                  <c:v>40781</c:v>
                </c:pt>
                <c:pt idx="431">
                  <c:v>40784</c:v>
                </c:pt>
                <c:pt idx="432">
                  <c:v>40785</c:v>
                </c:pt>
                <c:pt idx="433">
                  <c:v>40786</c:v>
                </c:pt>
                <c:pt idx="434">
                  <c:v>40787</c:v>
                </c:pt>
                <c:pt idx="435">
                  <c:v>40788</c:v>
                </c:pt>
                <c:pt idx="436">
                  <c:v>40791</c:v>
                </c:pt>
                <c:pt idx="437">
                  <c:v>40792</c:v>
                </c:pt>
                <c:pt idx="438">
                  <c:v>40793</c:v>
                </c:pt>
                <c:pt idx="439">
                  <c:v>40794</c:v>
                </c:pt>
                <c:pt idx="440">
                  <c:v>40795</c:v>
                </c:pt>
                <c:pt idx="441">
                  <c:v>40798</c:v>
                </c:pt>
                <c:pt idx="442">
                  <c:v>40799</c:v>
                </c:pt>
              </c:numCache>
            </c:numRef>
          </c:cat>
          <c:val>
            <c:numRef>
              <c:f>libory!$BH$2612:$BH$3100</c:f>
              <c:numCache>
                <c:formatCode>General</c:formatCode>
                <c:ptCount val="489"/>
                <c:pt idx="0">
                  <c:v>0.70000000000000062</c:v>
                </c:pt>
                <c:pt idx="1">
                  <c:v>0.70000000000000062</c:v>
                </c:pt>
                <c:pt idx="2">
                  <c:v>0.69899999999999995</c:v>
                </c:pt>
                <c:pt idx="3">
                  <c:v>0.69399999999999995</c:v>
                </c:pt>
                <c:pt idx="4">
                  <c:v>0.69199999999999995</c:v>
                </c:pt>
                <c:pt idx="5">
                  <c:v>0.69099999999999995</c:v>
                </c:pt>
                <c:pt idx="6">
                  <c:v>0.68899999999999995</c:v>
                </c:pt>
                <c:pt idx="7">
                  <c:v>0.68500000000000005</c:v>
                </c:pt>
                <c:pt idx="8">
                  <c:v>0.68400000000000005</c:v>
                </c:pt>
                <c:pt idx="9">
                  <c:v>0.68200000000000005</c:v>
                </c:pt>
                <c:pt idx="10">
                  <c:v>0.68</c:v>
                </c:pt>
                <c:pt idx="11">
                  <c:v>0.6770000000000016</c:v>
                </c:pt>
                <c:pt idx="12">
                  <c:v>0.67500000000000149</c:v>
                </c:pt>
                <c:pt idx="13">
                  <c:v>0.67400000000000149</c:v>
                </c:pt>
                <c:pt idx="14">
                  <c:v>0.67200000000000149</c:v>
                </c:pt>
                <c:pt idx="15">
                  <c:v>0.67000000000000148</c:v>
                </c:pt>
                <c:pt idx="16">
                  <c:v>0.66900000000000148</c:v>
                </c:pt>
                <c:pt idx="17">
                  <c:v>0.66700000000000148</c:v>
                </c:pt>
                <c:pt idx="18">
                  <c:v>0.66500000000000148</c:v>
                </c:pt>
                <c:pt idx="19">
                  <c:v>0.66500000000000148</c:v>
                </c:pt>
                <c:pt idx="20">
                  <c:v>0.66500000000000148</c:v>
                </c:pt>
                <c:pt idx="21">
                  <c:v>0.66500000000000148</c:v>
                </c:pt>
                <c:pt idx="22">
                  <c:v>0.66500000000000148</c:v>
                </c:pt>
                <c:pt idx="23">
                  <c:v>0.66500000000000148</c:v>
                </c:pt>
                <c:pt idx="24">
                  <c:v>0.66500000000000148</c:v>
                </c:pt>
                <c:pt idx="25">
                  <c:v>0.66300000000000137</c:v>
                </c:pt>
                <c:pt idx="26">
                  <c:v>0.66100000000000136</c:v>
                </c:pt>
                <c:pt idx="27">
                  <c:v>0.66100000000000136</c:v>
                </c:pt>
                <c:pt idx="28">
                  <c:v>0.66200000000000137</c:v>
                </c:pt>
                <c:pt idx="29">
                  <c:v>0.66200000000000137</c:v>
                </c:pt>
                <c:pt idx="30">
                  <c:v>0.66300000000000137</c:v>
                </c:pt>
                <c:pt idx="31">
                  <c:v>0.66100000000000136</c:v>
                </c:pt>
                <c:pt idx="32">
                  <c:v>0.66300000000000137</c:v>
                </c:pt>
                <c:pt idx="33">
                  <c:v>0.66200000000000137</c:v>
                </c:pt>
                <c:pt idx="34">
                  <c:v>0.66000000000000136</c:v>
                </c:pt>
                <c:pt idx="35">
                  <c:v>0.66100000000000136</c:v>
                </c:pt>
                <c:pt idx="36">
                  <c:v>0.66100000000000136</c:v>
                </c:pt>
                <c:pt idx="37">
                  <c:v>0.66100000000000136</c:v>
                </c:pt>
                <c:pt idx="38">
                  <c:v>0.65900000000000136</c:v>
                </c:pt>
                <c:pt idx="39">
                  <c:v>0.65800000000000136</c:v>
                </c:pt>
                <c:pt idx="40">
                  <c:v>0.65600000000000136</c:v>
                </c:pt>
                <c:pt idx="41">
                  <c:v>0.65500000000000136</c:v>
                </c:pt>
                <c:pt idx="42">
                  <c:v>0.65500000000000136</c:v>
                </c:pt>
                <c:pt idx="43">
                  <c:v>0.65500000000000136</c:v>
                </c:pt>
                <c:pt idx="44">
                  <c:v>0.65400000000000136</c:v>
                </c:pt>
                <c:pt idx="45">
                  <c:v>0.65300000000000136</c:v>
                </c:pt>
                <c:pt idx="46">
                  <c:v>0.65200000000000136</c:v>
                </c:pt>
                <c:pt idx="47">
                  <c:v>0.65200000000000136</c:v>
                </c:pt>
                <c:pt idx="48">
                  <c:v>0.65100000000000136</c:v>
                </c:pt>
                <c:pt idx="49">
                  <c:v>0.65000000000000135</c:v>
                </c:pt>
                <c:pt idx="50">
                  <c:v>0.64900000000000124</c:v>
                </c:pt>
                <c:pt idx="51">
                  <c:v>0.64600000000000124</c:v>
                </c:pt>
                <c:pt idx="52">
                  <c:v>0.64600000000000124</c:v>
                </c:pt>
                <c:pt idx="53">
                  <c:v>0.64400000000000124</c:v>
                </c:pt>
                <c:pt idx="54">
                  <c:v>0.64300000000000124</c:v>
                </c:pt>
                <c:pt idx="55">
                  <c:v>0.64200000000000124</c:v>
                </c:pt>
                <c:pt idx="56">
                  <c:v>0.63900000000000123</c:v>
                </c:pt>
                <c:pt idx="57">
                  <c:v>0.63700000000000123</c:v>
                </c:pt>
                <c:pt idx="58">
                  <c:v>0.63600000000000123</c:v>
                </c:pt>
                <c:pt idx="59">
                  <c:v>0.63500000000000123</c:v>
                </c:pt>
                <c:pt idx="60">
                  <c:v>0.63600000000000123</c:v>
                </c:pt>
                <c:pt idx="61">
                  <c:v>0.63500000000000123</c:v>
                </c:pt>
                <c:pt idx="62">
                  <c:v>0.63500000000000123</c:v>
                </c:pt>
                <c:pt idx="63">
                  <c:v>0.63400000000000123</c:v>
                </c:pt>
                <c:pt idx="64">
                  <c:v>0.63500000000000123</c:v>
                </c:pt>
                <c:pt idx="65">
                  <c:v>0.63500000000000123</c:v>
                </c:pt>
                <c:pt idx="66">
                  <c:v>0.63500000000000123</c:v>
                </c:pt>
                <c:pt idx="67">
                  <c:v>0.63800000000000123</c:v>
                </c:pt>
                <c:pt idx="68">
                  <c:v>0.63900000000000123</c:v>
                </c:pt>
                <c:pt idx="69">
                  <c:v>0.64000000000000123</c:v>
                </c:pt>
                <c:pt idx="70">
                  <c:v>0.64100000000000124</c:v>
                </c:pt>
                <c:pt idx="71">
                  <c:v>0.64200000000000124</c:v>
                </c:pt>
                <c:pt idx="72">
                  <c:v>0.64400000000000124</c:v>
                </c:pt>
                <c:pt idx="73">
                  <c:v>0.64400000000000124</c:v>
                </c:pt>
                <c:pt idx="74">
                  <c:v>0.64400000000000124</c:v>
                </c:pt>
                <c:pt idx="75">
                  <c:v>0.64400000000000124</c:v>
                </c:pt>
                <c:pt idx="76">
                  <c:v>0.64300000000000124</c:v>
                </c:pt>
                <c:pt idx="77">
                  <c:v>0.64200000000000124</c:v>
                </c:pt>
                <c:pt idx="78">
                  <c:v>0.64200000000000124</c:v>
                </c:pt>
                <c:pt idx="79">
                  <c:v>0.64400000000000124</c:v>
                </c:pt>
                <c:pt idx="80">
                  <c:v>0.64500000000000124</c:v>
                </c:pt>
                <c:pt idx="81">
                  <c:v>0.64500000000000124</c:v>
                </c:pt>
                <c:pt idx="82">
                  <c:v>0.64600000000000124</c:v>
                </c:pt>
                <c:pt idx="83">
                  <c:v>0.65400000000000136</c:v>
                </c:pt>
                <c:pt idx="84">
                  <c:v>0.65900000000000136</c:v>
                </c:pt>
                <c:pt idx="85">
                  <c:v>0.66300000000000137</c:v>
                </c:pt>
                <c:pt idx="86">
                  <c:v>0.66500000000000148</c:v>
                </c:pt>
                <c:pt idx="87">
                  <c:v>0.66800000000000148</c:v>
                </c:pt>
                <c:pt idx="88">
                  <c:v>0.67200000000000149</c:v>
                </c:pt>
                <c:pt idx="89">
                  <c:v>0.6770000000000016</c:v>
                </c:pt>
                <c:pt idx="90">
                  <c:v>0.68200000000000005</c:v>
                </c:pt>
                <c:pt idx="91">
                  <c:v>0.68200000000000005</c:v>
                </c:pt>
                <c:pt idx="92">
                  <c:v>0.68200000000000005</c:v>
                </c:pt>
                <c:pt idx="93">
                  <c:v>0.68200000000000005</c:v>
                </c:pt>
                <c:pt idx="94">
                  <c:v>0.68300000000000005</c:v>
                </c:pt>
                <c:pt idx="95">
                  <c:v>0.68400000000000005</c:v>
                </c:pt>
                <c:pt idx="96">
                  <c:v>0.68500000000000005</c:v>
                </c:pt>
                <c:pt idx="97">
                  <c:v>0.68799999999999994</c:v>
                </c:pt>
                <c:pt idx="98">
                  <c:v>0.69000000000000061</c:v>
                </c:pt>
                <c:pt idx="99">
                  <c:v>0.69199999999999995</c:v>
                </c:pt>
                <c:pt idx="100">
                  <c:v>0.69499999999999995</c:v>
                </c:pt>
                <c:pt idx="101">
                  <c:v>0.69699999999999995</c:v>
                </c:pt>
                <c:pt idx="102">
                  <c:v>0.69699999999999995</c:v>
                </c:pt>
                <c:pt idx="103">
                  <c:v>0.69699999999999995</c:v>
                </c:pt>
                <c:pt idx="104">
                  <c:v>0.69899999999999995</c:v>
                </c:pt>
                <c:pt idx="105">
                  <c:v>0.69899999999999995</c:v>
                </c:pt>
                <c:pt idx="106">
                  <c:v>0.70100000000000062</c:v>
                </c:pt>
                <c:pt idx="107">
                  <c:v>0.70200000000000062</c:v>
                </c:pt>
                <c:pt idx="108">
                  <c:v>0.70400000000000063</c:v>
                </c:pt>
                <c:pt idx="109">
                  <c:v>0.70600000000000063</c:v>
                </c:pt>
                <c:pt idx="110">
                  <c:v>0.70700000000000063</c:v>
                </c:pt>
                <c:pt idx="111">
                  <c:v>0.71100000000000063</c:v>
                </c:pt>
                <c:pt idx="112">
                  <c:v>0.71300000000000063</c:v>
                </c:pt>
                <c:pt idx="113">
                  <c:v>0.71500000000000064</c:v>
                </c:pt>
                <c:pt idx="114">
                  <c:v>0.71800000000000064</c:v>
                </c:pt>
                <c:pt idx="115">
                  <c:v>0.71900000000000064</c:v>
                </c:pt>
                <c:pt idx="116">
                  <c:v>0.72000000000000064</c:v>
                </c:pt>
                <c:pt idx="117">
                  <c:v>0.72300000000000064</c:v>
                </c:pt>
                <c:pt idx="118">
                  <c:v>0.72700000000000065</c:v>
                </c:pt>
                <c:pt idx="119">
                  <c:v>0.72900000000000065</c:v>
                </c:pt>
                <c:pt idx="120">
                  <c:v>0.73200000000000065</c:v>
                </c:pt>
                <c:pt idx="121">
                  <c:v>0.73300000000000065</c:v>
                </c:pt>
                <c:pt idx="122">
                  <c:v>0.73700000000000065</c:v>
                </c:pt>
                <c:pt idx="123">
                  <c:v>0.7390000000000011</c:v>
                </c:pt>
                <c:pt idx="124">
                  <c:v>0.7420000000000011</c:v>
                </c:pt>
                <c:pt idx="125">
                  <c:v>0.74800000000000111</c:v>
                </c:pt>
                <c:pt idx="126">
                  <c:v>0.75400000000000122</c:v>
                </c:pt>
                <c:pt idx="127">
                  <c:v>0.76100000000000123</c:v>
                </c:pt>
                <c:pt idx="128">
                  <c:v>0.76700000000000124</c:v>
                </c:pt>
                <c:pt idx="129">
                  <c:v>0.78200000000000003</c:v>
                </c:pt>
                <c:pt idx="130">
                  <c:v>0.79</c:v>
                </c:pt>
                <c:pt idx="131">
                  <c:v>0.79300000000000004</c:v>
                </c:pt>
                <c:pt idx="132">
                  <c:v>0.79700000000000004</c:v>
                </c:pt>
                <c:pt idx="133">
                  <c:v>0.80200000000000005</c:v>
                </c:pt>
                <c:pt idx="134">
                  <c:v>0.81</c:v>
                </c:pt>
                <c:pt idx="135">
                  <c:v>0.82199999999999995</c:v>
                </c:pt>
                <c:pt idx="136">
                  <c:v>0.82700000000000062</c:v>
                </c:pt>
                <c:pt idx="137">
                  <c:v>0.83500000000000063</c:v>
                </c:pt>
                <c:pt idx="138">
                  <c:v>0.84000000000000064</c:v>
                </c:pt>
                <c:pt idx="139">
                  <c:v>0.84600000000000064</c:v>
                </c:pt>
                <c:pt idx="140">
                  <c:v>0.86100000000000065</c:v>
                </c:pt>
                <c:pt idx="141">
                  <c:v>0.87000000000000111</c:v>
                </c:pt>
                <c:pt idx="142">
                  <c:v>0.87600000000000122</c:v>
                </c:pt>
                <c:pt idx="143">
                  <c:v>0.88100000000000001</c:v>
                </c:pt>
                <c:pt idx="144">
                  <c:v>0.88400000000000001</c:v>
                </c:pt>
                <c:pt idx="145">
                  <c:v>0.88500000000000001</c:v>
                </c:pt>
                <c:pt idx="146">
                  <c:v>0.88900000000000001</c:v>
                </c:pt>
                <c:pt idx="147">
                  <c:v>0.89300000000000002</c:v>
                </c:pt>
                <c:pt idx="148">
                  <c:v>0.89600000000000002</c:v>
                </c:pt>
                <c:pt idx="149">
                  <c:v>0.89900000000000002</c:v>
                </c:pt>
                <c:pt idx="150">
                  <c:v>0.89600000000000002</c:v>
                </c:pt>
                <c:pt idx="151">
                  <c:v>0.89800000000000002</c:v>
                </c:pt>
                <c:pt idx="152">
                  <c:v>0.89900000000000002</c:v>
                </c:pt>
                <c:pt idx="153">
                  <c:v>0.9</c:v>
                </c:pt>
                <c:pt idx="154">
                  <c:v>0.90400000000000003</c:v>
                </c:pt>
                <c:pt idx="155">
                  <c:v>0.90500000000000003</c:v>
                </c:pt>
                <c:pt idx="156">
                  <c:v>0.90400000000000003</c:v>
                </c:pt>
                <c:pt idx="157">
                  <c:v>0.90400000000000003</c:v>
                </c:pt>
                <c:pt idx="158">
                  <c:v>0.90300000000000002</c:v>
                </c:pt>
                <c:pt idx="159">
                  <c:v>0.89900000000000002</c:v>
                </c:pt>
                <c:pt idx="160">
                  <c:v>0.89800000000000002</c:v>
                </c:pt>
                <c:pt idx="161">
                  <c:v>0.89600000000000002</c:v>
                </c:pt>
                <c:pt idx="162">
                  <c:v>0.89500000000000002</c:v>
                </c:pt>
                <c:pt idx="163">
                  <c:v>0.89400000000000002</c:v>
                </c:pt>
                <c:pt idx="164">
                  <c:v>0.89100000000000001</c:v>
                </c:pt>
                <c:pt idx="165">
                  <c:v>0.89</c:v>
                </c:pt>
                <c:pt idx="166">
                  <c:v>0.89100000000000001</c:v>
                </c:pt>
                <c:pt idx="167">
                  <c:v>0.88900000000000001</c:v>
                </c:pt>
                <c:pt idx="168">
                  <c:v>0.89</c:v>
                </c:pt>
                <c:pt idx="169">
                  <c:v>0.88900000000000001</c:v>
                </c:pt>
                <c:pt idx="170">
                  <c:v>0.88800000000000001</c:v>
                </c:pt>
                <c:pt idx="171">
                  <c:v>0.88800000000000001</c:v>
                </c:pt>
                <c:pt idx="172">
                  <c:v>0.88600000000000001</c:v>
                </c:pt>
                <c:pt idx="173">
                  <c:v>0.88600000000000001</c:v>
                </c:pt>
                <c:pt idx="174">
                  <c:v>0.88400000000000001</c:v>
                </c:pt>
                <c:pt idx="175">
                  <c:v>0.88300000000000001</c:v>
                </c:pt>
                <c:pt idx="176">
                  <c:v>0.88200000000000001</c:v>
                </c:pt>
                <c:pt idx="177">
                  <c:v>0.88100000000000001</c:v>
                </c:pt>
                <c:pt idx="178">
                  <c:v>0.88</c:v>
                </c:pt>
                <c:pt idx="179">
                  <c:v>0.87900000000000122</c:v>
                </c:pt>
                <c:pt idx="180">
                  <c:v>0.87800000000000122</c:v>
                </c:pt>
                <c:pt idx="181">
                  <c:v>0.87900000000000122</c:v>
                </c:pt>
                <c:pt idx="182">
                  <c:v>0.87700000000000122</c:v>
                </c:pt>
                <c:pt idx="183">
                  <c:v>0.87600000000000122</c:v>
                </c:pt>
                <c:pt idx="184">
                  <c:v>0.87900000000000122</c:v>
                </c:pt>
                <c:pt idx="185">
                  <c:v>0.87900000000000122</c:v>
                </c:pt>
                <c:pt idx="186">
                  <c:v>0.87600000000000122</c:v>
                </c:pt>
                <c:pt idx="187">
                  <c:v>0.87900000000000122</c:v>
                </c:pt>
                <c:pt idx="188">
                  <c:v>0.87900000000000122</c:v>
                </c:pt>
                <c:pt idx="189">
                  <c:v>0.87800000000000122</c:v>
                </c:pt>
                <c:pt idx="190">
                  <c:v>0.87900000000000122</c:v>
                </c:pt>
                <c:pt idx="191">
                  <c:v>0.87900000000000122</c:v>
                </c:pt>
                <c:pt idx="192">
                  <c:v>0.88</c:v>
                </c:pt>
                <c:pt idx="193">
                  <c:v>0.88600000000000001</c:v>
                </c:pt>
                <c:pt idx="194">
                  <c:v>0.89200000000000002</c:v>
                </c:pt>
                <c:pt idx="195">
                  <c:v>0.94199999999999995</c:v>
                </c:pt>
                <c:pt idx="196">
                  <c:v>0.95300000000000062</c:v>
                </c:pt>
                <c:pt idx="197">
                  <c:v>0.95600000000000063</c:v>
                </c:pt>
                <c:pt idx="198">
                  <c:v>0.95900000000000063</c:v>
                </c:pt>
                <c:pt idx="199">
                  <c:v>0.96500000000000064</c:v>
                </c:pt>
                <c:pt idx="200">
                  <c:v>0.97200000000000064</c:v>
                </c:pt>
                <c:pt idx="201">
                  <c:v>0.97700000000000065</c:v>
                </c:pt>
                <c:pt idx="202">
                  <c:v>0.98199999999999998</c:v>
                </c:pt>
                <c:pt idx="203">
                  <c:v>0.98499999999999999</c:v>
                </c:pt>
                <c:pt idx="204">
                  <c:v>0.98699999999999999</c:v>
                </c:pt>
                <c:pt idx="205">
                  <c:v>0.99299999999999999</c:v>
                </c:pt>
                <c:pt idx="206">
                  <c:v>1</c:v>
                </c:pt>
                <c:pt idx="207">
                  <c:v>1.008</c:v>
                </c:pt>
                <c:pt idx="208">
                  <c:v>1.016</c:v>
                </c:pt>
                <c:pt idx="209">
                  <c:v>1.0249999999999975</c:v>
                </c:pt>
                <c:pt idx="210">
                  <c:v>1.0289999999999975</c:v>
                </c:pt>
                <c:pt idx="211">
                  <c:v>1.032</c:v>
                </c:pt>
                <c:pt idx="212">
                  <c:v>1.0369999999999975</c:v>
                </c:pt>
                <c:pt idx="213">
                  <c:v>1.0429999999999977</c:v>
                </c:pt>
                <c:pt idx="214">
                  <c:v>1.0449999999999977</c:v>
                </c:pt>
                <c:pt idx="215">
                  <c:v>1.0449999999999977</c:v>
                </c:pt>
                <c:pt idx="216">
                  <c:v>1.046</c:v>
                </c:pt>
                <c:pt idx="217">
                  <c:v>1.0469999999999977</c:v>
                </c:pt>
                <c:pt idx="218">
                  <c:v>1.0489999999999977</c:v>
                </c:pt>
                <c:pt idx="219">
                  <c:v>1.05</c:v>
                </c:pt>
                <c:pt idx="220">
                  <c:v>1.05</c:v>
                </c:pt>
                <c:pt idx="221">
                  <c:v>1.05</c:v>
                </c:pt>
                <c:pt idx="222">
                  <c:v>1.0489999999999977</c:v>
                </c:pt>
                <c:pt idx="223">
                  <c:v>1.048</c:v>
                </c:pt>
                <c:pt idx="224">
                  <c:v>1.05</c:v>
                </c:pt>
                <c:pt idx="225">
                  <c:v>1.0489999999999977</c:v>
                </c:pt>
                <c:pt idx="226">
                  <c:v>1.048</c:v>
                </c:pt>
                <c:pt idx="227">
                  <c:v>1.046</c:v>
                </c:pt>
                <c:pt idx="228">
                  <c:v>1.044</c:v>
                </c:pt>
                <c:pt idx="229">
                  <c:v>1.0409999999999975</c:v>
                </c:pt>
                <c:pt idx="230">
                  <c:v>1.04</c:v>
                </c:pt>
                <c:pt idx="231">
                  <c:v>1.0389999999999975</c:v>
                </c:pt>
                <c:pt idx="232">
                  <c:v>1.0349999999999975</c:v>
                </c:pt>
                <c:pt idx="233">
                  <c:v>1.03</c:v>
                </c:pt>
                <c:pt idx="234">
                  <c:v>1.0309999999999975</c:v>
                </c:pt>
                <c:pt idx="235">
                  <c:v>1.028</c:v>
                </c:pt>
                <c:pt idx="236">
                  <c:v>1.0269999999999975</c:v>
                </c:pt>
                <c:pt idx="237">
                  <c:v>1.028</c:v>
                </c:pt>
                <c:pt idx="238">
                  <c:v>1.026</c:v>
                </c:pt>
                <c:pt idx="239">
                  <c:v>1.0269999999999975</c:v>
                </c:pt>
                <c:pt idx="240">
                  <c:v>1.0269999999999975</c:v>
                </c:pt>
                <c:pt idx="241">
                  <c:v>1.028</c:v>
                </c:pt>
                <c:pt idx="242">
                  <c:v>1.0289999999999975</c:v>
                </c:pt>
                <c:pt idx="243">
                  <c:v>1.0289999999999975</c:v>
                </c:pt>
                <c:pt idx="244">
                  <c:v>1.0289999999999975</c:v>
                </c:pt>
                <c:pt idx="245">
                  <c:v>1.028</c:v>
                </c:pt>
                <c:pt idx="246">
                  <c:v>1.026</c:v>
                </c:pt>
                <c:pt idx="247">
                  <c:v>1.026</c:v>
                </c:pt>
                <c:pt idx="248">
                  <c:v>1.0249999999999975</c:v>
                </c:pt>
                <c:pt idx="249">
                  <c:v>1.024</c:v>
                </c:pt>
                <c:pt idx="250">
                  <c:v>1.0229999999999975</c:v>
                </c:pt>
                <c:pt idx="251">
                  <c:v>1.022</c:v>
                </c:pt>
                <c:pt idx="252">
                  <c:v>1.022</c:v>
                </c:pt>
                <c:pt idx="253">
                  <c:v>1.0209999999999975</c:v>
                </c:pt>
                <c:pt idx="254">
                  <c:v>1.0149999999999975</c:v>
                </c:pt>
                <c:pt idx="255">
                  <c:v>1.014</c:v>
                </c:pt>
                <c:pt idx="256">
                  <c:v>1.014</c:v>
                </c:pt>
                <c:pt idx="257">
                  <c:v>1.014</c:v>
                </c:pt>
                <c:pt idx="258">
                  <c:v>1.0129999999999975</c:v>
                </c:pt>
                <c:pt idx="259">
                  <c:v>1.01</c:v>
                </c:pt>
                <c:pt idx="260">
                  <c:v>1.006</c:v>
                </c:pt>
                <c:pt idx="261">
                  <c:v>1.0009999999999974</c:v>
                </c:pt>
                <c:pt idx="262">
                  <c:v>0.999</c:v>
                </c:pt>
                <c:pt idx="263">
                  <c:v>0.998</c:v>
                </c:pt>
                <c:pt idx="264">
                  <c:v>0.997</c:v>
                </c:pt>
                <c:pt idx="265">
                  <c:v>0.997</c:v>
                </c:pt>
                <c:pt idx="266">
                  <c:v>0.995</c:v>
                </c:pt>
                <c:pt idx="267">
                  <c:v>0.995</c:v>
                </c:pt>
                <c:pt idx="268">
                  <c:v>0.995</c:v>
                </c:pt>
                <c:pt idx="269">
                  <c:v>0.998</c:v>
                </c:pt>
                <c:pt idx="270">
                  <c:v>1.006</c:v>
                </c:pt>
                <c:pt idx="271">
                  <c:v>1.0089999999999975</c:v>
                </c:pt>
                <c:pt idx="272">
                  <c:v>1.012</c:v>
                </c:pt>
                <c:pt idx="273">
                  <c:v>1.014</c:v>
                </c:pt>
                <c:pt idx="274">
                  <c:v>1.016</c:v>
                </c:pt>
                <c:pt idx="275">
                  <c:v>1.0249999999999975</c:v>
                </c:pt>
                <c:pt idx="276">
                  <c:v>1.0289999999999975</c:v>
                </c:pt>
                <c:pt idx="277">
                  <c:v>1.0309999999999975</c:v>
                </c:pt>
                <c:pt idx="278">
                  <c:v>1.0509999999999977</c:v>
                </c:pt>
                <c:pt idx="279">
                  <c:v>1.0569999999999977</c:v>
                </c:pt>
                <c:pt idx="280">
                  <c:v>1.0629999999999977</c:v>
                </c:pt>
                <c:pt idx="281">
                  <c:v>1.0740000000000001</c:v>
                </c:pt>
                <c:pt idx="282">
                  <c:v>1.0820000000000001</c:v>
                </c:pt>
                <c:pt idx="283">
                  <c:v>1.083</c:v>
                </c:pt>
                <c:pt idx="284">
                  <c:v>1.087</c:v>
                </c:pt>
                <c:pt idx="285">
                  <c:v>1.0880000000000001</c:v>
                </c:pt>
                <c:pt idx="286">
                  <c:v>1.0840000000000001</c:v>
                </c:pt>
                <c:pt idx="287">
                  <c:v>1.079</c:v>
                </c:pt>
                <c:pt idx="288">
                  <c:v>1.089</c:v>
                </c:pt>
                <c:pt idx="289">
                  <c:v>1.0940000000000001</c:v>
                </c:pt>
                <c:pt idx="290">
                  <c:v>1.093</c:v>
                </c:pt>
                <c:pt idx="291">
                  <c:v>1.091</c:v>
                </c:pt>
                <c:pt idx="292">
                  <c:v>1.0900000000000001</c:v>
                </c:pt>
                <c:pt idx="293">
                  <c:v>1.089</c:v>
                </c:pt>
                <c:pt idx="294">
                  <c:v>1.0860000000000001</c:v>
                </c:pt>
                <c:pt idx="295">
                  <c:v>1.0780000000000001</c:v>
                </c:pt>
                <c:pt idx="296">
                  <c:v>1.079</c:v>
                </c:pt>
                <c:pt idx="297">
                  <c:v>1.0820000000000001</c:v>
                </c:pt>
                <c:pt idx="298">
                  <c:v>1.087</c:v>
                </c:pt>
                <c:pt idx="299">
                  <c:v>1.0880000000000001</c:v>
                </c:pt>
                <c:pt idx="300">
                  <c:v>1.0920000000000001</c:v>
                </c:pt>
                <c:pt idx="301">
                  <c:v>1.0940000000000001</c:v>
                </c:pt>
                <c:pt idx="302">
                  <c:v>1.0960000000000001</c:v>
                </c:pt>
                <c:pt idx="303">
                  <c:v>1.095</c:v>
                </c:pt>
                <c:pt idx="304">
                  <c:v>1.0980000000000001</c:v>
                </c:pt>
                <c:pt idx="305">
                  <c:v>1.1619999999999975</c:v>
                </c:pt>
                <c:pt idx="306">
                  <c:v>1.1719999999999977</c:v>
                </c:pt>
                <c:pt idx="307">
                  <c:v>1.1800000000000022</c:v>
                </c:pt>
                <c:pt idx="308">
                  <c:v>1.179</c:v>
                </c:pt>
                <c:pt idx="309">
                  <c:v>1.175</c:v>
                </c:pt>
                <c:pt idx="310">
                  <c:v>1.173</c:v>
                </c:pt>
                <c:pt idx="311">
                  <c:v>1.1739999999999977</c:v>
                </c:pt>
                <c:pt idx="312">
                  <c:v>1.167</c:v>
                </c:pt>
                <c:pt idx="313">
                  <c:v>1.1700000000000021</c:v>
                </c:pt>
                <c:pt idx="314">
                  <c:v>1.1700000000000021</c:v>
                </c:pt>
                <c:pt idx="315">
                  <c:v>1.1719999999999977</c:v>
                </c:pt>
                <c:pt idx="316">
                  <c:v>1.179</c:v>
                </c:pt>
                <c:pt idx="317">
                  <c:v>1.1850000000000001</c:v>
                </c:pt>
                <c:pt idx="318">
                  <c:v>1.1910000000000001</c:v>
                </c:pt>
                <c:pt idx="319">
                  <c:v>1.1970000000000001</c:v>
                </c:pt>
                <c:pt idx="320">
                  <c:v>1.2029999999999974</c:v>
                </c:pt>
                <c:pt idx="321">
                  <c:v>1.21</c:v>
                </c:pt>
                <c:pt idx="322">
                  <c:v>1.2189999999999974</c:v>
                </c:pt>
                <c:pt idx="323">
                  <c:v>1.2309999999999974</c:v>
                </c:pt>
                <c:pt idx="324">
                  <c:v>1.2389999999999972</c:v>
                </c:pt>
                <c:pt idx="325">
                  <c:v>1.2489999999999977</c:v>
                </c:pt>
                <c:pt idx="326">
                  <c:v>1.2549999999999975</c:v>
                </c:pt>
                <c:pt idx="327">
                  <c:v>1.262</c:v>
                </c:pt>
                <c:pt idx="328">
                  <c:v>1.2689999999999977</c:v>
                </c:pt>
                <c:pt idx="329">
                  <c:v>1.28</c:v>
                </c:pt>
                <c:pt idx="330">
                  <c:v>1.294</c:v>
                </c:pt>
                <c:pt idx="331">
                  <c:v>1.3109999999999977</c:v>
                </c:pt>
                <c:pt idx="332">
                  <c:v>1.32</c:v>
                </c:pt>
                <c:pt idx="333">
                  <c:v>1.327</c:v>
                </c:pt>
                <c:pt idx="334">
                  <c:v>1.3320000000000001</c:v>
                </c:pt>
                <c:pt idx="335">
                  <c:v>1.3320000000000001</c:v>
                </c:pt>
                <c:pt idx="336">
                  <c:v>1.3380000000000001</c:v>
                </c:pt>
                <c:pt idx="337">
                  <c:v>1.343</c:v>
                </c:pt>
                <c:pt idx="338">
                  <c:v>1.349</c:v>
                </c:pt>
                <c:pt idx="339">
                  <c:v>1.3559999999999972</c:v>
                </c:pt>
                <c:pt idx="340">
                  <c:v>1.3559999999999972</c:v>
                </c:pt>
                <c:pt idx="341">
                  <c:v>1.3559999999999972</c:v>
                </c:pt>
                <c:pt idx="342">
                  <c:v>1.361</c:v>
                </c:pt>
                <c:pt idx="343">
                  <c:v>1.365</c:v>
                </c:pt>
                <c:pt idx="344">
                  <c:v>1.375</c:v>
                </c:pt>
                <c:pt idx="345">
                  <c:v>1.385</c:v>
                </c:pt>
                <c:pt idx="346">
                  <c:v>1.395</c:v>
                </c:pt>
                <c:pt idx="347">
                  <c:v>1.4019999999999955</c:v>
                </c:pt>
                <c:pt idx="348">
                  <c:v>1.4149999999999971</c:v>
                </c:pt>
                <c:pt idx="349">
                  <c:v>1.4239999999999955</c:v>
                </c:pt>
                <c:pt idx="350">
                  <c:v>1.4189999999999972</c:v>
                </c:pt>
                <c:pt idx="351">
                  <c:v>1.4229999999999972</c:v>
                </c:pt>
                <c:pt idx="352">
                  <c:v>1.4259999999999955</c:v>
                </c:pt>
                <c:pt idx="353">
                  <c:v>1.42</c:v>
                </c:pt>
                <c:pt idx="354">
                  <c:v>1.42</c:v>
                </c:pt>
                <c:pt idx="355">
                  <c:v>1.4249999999999972</c:v>
                </c:pt>
                <c:pt idx="356">
                  <c:v>1.4259999999999955</c:v>
                </c:pt>
                <c:pt idx="357">
                  <c:v>1.4279999999999955</c:v>
                </c:pt>
                <c:pt idx="358">
                  <c:v>1.4309999999999972</c:v>
                </c:pt>
                <c:pt idx="359">
                  <c:v>1.4339999999999955</c:v>
                </c:pt>
                <c:pt idx="360">
                  <c:v>1.4349999999999972</c:v>
                </c:pt>
                <c:pt idx="361">
                  <c:v>1.4339999999999955</c:v>
                </c:pt>
                <c:pt idx="362">
                  <c:v>1.4339999999999955</c:v>
                </c:pt>
                <c:pt idx="363">
                  <c:v>1.4349999999999972</c:v>
                </c:pt>
                <c:pt idx="364">
                  <c:v>1.4329999999999972</c:v>
                </c:pt>
                <c:pt idx="365">
                  <c:v>1.43</c:v>
                </c:pt>
                <c:pt idx="366">
                  <c:v>1.43</c:v>
                </c:pt>
                <c:pt idx="367">
                  <c:v>1.4329999999999972</c:v>
                </c:pt>
                <c:pt idx="368">
                  <c:v>1.4339999999999955</c:v>
                </c:pt>
                <c:pt idx="369">
                  <c:v>1.4349999999999972</c:v>
                </c:pt>
                <c:pt idx="370">
                  <c:v>1.4359999999999955</c:v>
                </c:pt>
                <c:pt idx="371">
                  <c:v>1.4379999999999955</c:v>
                </c:pt>
                <c:pt idx="372">
                  <c:v>1.4429999999999974</c:v>
                </c:pt>
                <c:pt idx="373">
                  <c:v>1.452</c:v>
                </c:pt>
                <c:pt idx="374">
                  <c:v>1.464</c:v>
                </c:pt>
                <c:pt idx="375">
                  <c:v>1.4689999999999972</c:v>
                </c:pt>
                <c:pt idx="376">
                  <c:v>1.4709999999999974</c:v>
                </c:pt>
                <c:pt idx="377">
                  <c:v>1.4769999999999972</c:v>
                </c:pt>
                <c:pt idx="378">
                  <c:v>1.4849999999999972</c:v>
                </c:pt>
                <c:pt idx="379">
                  <c:v>1.494</c:v>
                </c:pt>
                <c:pt idx="380">
                  <c:v>1.502</c:v>
                </c:pt>
                <c:pt idx="381">
                  <c:v>1.51</c:v>
                </c:pt>
                <c:pt idx="382">
                  <c:v>1.52</c:v>
                </c:pt>
                <c:pt idx="383">
                  <c:v>1.526</c:v>
                </c:pt>
                <c:pt idx="384">
                  <c:v>1.526</c:v>
                </c:pt>
                <c:pt idx="385">
                  <c:v>1.528</c:v>
                </c:pt>
                <c:pt idx="386">
                  <c:v>1.524</c:v>
                </c:pt>
                <c:pt idx="387">
                  <c:v>1.5309999999999977</c:v>
                </c:pt>
                <c:pt idx="388">
                  <c:v>1.5369999999999975</c:v>
                </c:pt>
                <c:pt idx="389">
                  <c:v>1.5470000000000002</c:v>
                </c:pt>
                <c:pt idx="390">
                  <c:v>1.556</c:v>
                </c:pt>
                <c:pt idx="391">
                  <c:v>1.5629999999999977</c:v>
                </c:pt>
                <c:pt idx="392">
                  <c:v>1.5680000000000001</c:v>
                </c:pt>
                <c:pt idx="393">
                  <c:v>1.569</c:v>
                </c:pt>
                <c:pt idx="394">
                  <c:v>1.583</c:v>
                </c:pt>
                <c:pt idx="395">
                  <c:v>1.593</c:v>
                </c:pt>
                <c:pt idx="396">
                  <c:v>1.601</c:v>
                </c:pt>
                <c:pt idx="397">
                  <c:v>1.599</c:v>
                </c:pt>
                <c:pt idx="398">
                  <c:v>1.605</c:v>
                </c:pt>
                <c:pt idx="399">
                  <c:v>1.6059999999999972</c:v>
                </c:pt>
                <c:pt idx="400">
                  <c:v>1.6080000000000001</c:v>
                </c:pt>
                <c:pt idx="401">
                  <c:v>1.6080000000000001</c:v>
                </c:pt>
                <c:pt idx="402">
                  <c:v>1.609</c:v>
                </c:pt>
                <c:pt idx="403">
                  <c:v>1.6040000000000001</c:v>
                </c:pt>
                <c:pt idx="404">
                  <c:v>1.6080000000000001</c:v>
                </c:pt>
                <c:pt idx="405">
                  <c:v>1.611</c:v>
                </c:pt>
                <c:pt idx="406">
                  <c:v>1.613</c:v>
                </c:pt>
                <c:pt idx="407">
                  <c:v>1.615</c:v>
                </c:pt>
                <c:pt idx="408">
                  <c:v>1.6120000000000001</c:v>
                </c:pt>
                <c:pt idx="409">
                  <c:v>1.6099999999999972</c:v>
                </c:pt>
                <c:pt idx="410">
                  <c:v>1.609</c:v>
                </c:pt>
                <c:pt idx="411">
                  <c:v>1.609</c:v>
                </c:pt>
                <c:pt idx="412">
                  <c:v>1.605</c:v>
                </c:pt>
                <c:pt idx="413">
                  <c:v>1.601</c:v>
                </c:pt>
                <c:pt idx="414">
                  <c:v>1.6019999999999972</c:v>
                </c:pt>
                <c:pt idx="415">
                  <c:v>1.5640000000000001</c:v>
                </c:pt>
                <c:pt idx="416">
                  <c:v>1.56</c:v>
                </c:pt>
                <c:pt idx="417">
                  <c:v>1.5550000000000002</c:v>
                </c:pt>
                <c:pt idx="418">
                  <c:v>1.5449999999999977</c:v>
                </c:pt>
                <c:pt idx="419">
                  <c:v>1.5349999999999977</c:v>
                </c:pt>
                <c:pt idx="420">
                  <c:v>1.5349999999999977</c:v>
                </c:pt>
                <c:pt idx="421">
                  <c:v>1.538</c:v>
                </c:pt>
                <c:pt idx="422">
                  <c:v>1.536</c:v>
                </c:pt>
                <c:pt idx="423">
                  <c:v>1.5349999999999977</c:v>
                </c:pt>
                <c:pt idx="424">
                  <c:v>1.5349999999999977</c:v>
                </c:pt>
                <c:pt idx="425">
                  <c:v>1.5329999999999975</c:v>
                </c:pt>
                <c:pt idx="426">
                  <c:v>1.534</c:v>
                </c:pt>
                <c:pt idx="427">
                  <c:v>1.536</c:v>
                </c:pt>
                <c:pt idx="428">
                  <c:v>1.5389999999999977</c:v>
                </c:pt>
                <c:pt idx="429">
                  <c:v>1.5389999999999977</c:v>
                </c:pt>
                <c:pt idx="430">
                  <c:v>1.54</c:v>
                </c:pt>
                <c:pt idx="431">
                  <c:v>1.54</c:v>
                </c:pt>
                <c:pt idx="432">
                  <c:v>1.54</c:v>
                </c:pt>
                <c:pt idx="433">
                  <c:v>1.542</c:v>
                </c:pt>
                <c:pt idx="434">
                  <c:v>1.5429999999999979</c:v>
                </c:pt>
                <c:pt idx="435">
                  <c:v>1.5409999999999975</c:v>
                </c:pt>
                <c:pt idx="436">
                  <c:v>1.5369999999999975</c:v>
                </c:pt>
                <c:pt idx="437">
                  <c:v>1.534</c:v>
                </c:pt>
                <c:pt idx="438">
                  <c:v>1.532</c:v>
                </c:pt>
                <c:pt idx="439">
                  <c:v>1.532</c:v>
                </c:pt>
                <c:pt idx="440">
                  <c:v>1.53</c:v>
                </c:pt>
                <c:pt idx="441">
                  <c:v>1.5269999999999977</c:v>
                </c:pt>
                <c:pt idx="442">
                  <c:v>1.52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235136"/>
        <c:axId val="100236672"/>
      </c:lineChart>
      <c:dateAx>
        <c:axId val="100235136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nextTo"/>
        <c:txPr>
          <a:bodyPr rot="0"/>
          <a:lstStyle/>
          <a:p>
            <a:pPr>
              <a:defRPr sz="800">
                <a:latin typeface="Tahoma" pitchFamily="34" charset="0"/>
                <a:cs typeface="Tahoma" pitchFamily="34" charset="0"/>
              </a:defRPr>
            </a:pPr>
            <a:endParaRPr lang="pl-PL"/>
          </a:p>
        </c:txPr>
        <c:crossAx val="100236672"/>
        <c:crosses val="autoZero"/>
        <c:auto val="1"/>
        <c:lblOffset val="100"/>
        <c:baseTimeUnit val="days"/>
      </c:dateAx>
      <c:valAx>
        <c:axId val="100236672"/>
        <c:scaling>
          <c:orientation val="minMax"/>
          <c:max val="1.7"/>
          <c:min val="0.60000000000000064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>
                <a:latin typeface="Tahoma" pitchFamily="34" charset="0"/>
                <a:cs typeface="Tahoma" pitchFamily="34" charset="0"/>
              </a:defRPr>
            </a:pPr>
            <a:endParaRPr lang="pl-PL"/>
          </a:p>
        </c:txPr>
        <c:crossAx val="100235136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606517935258204E-2"/>
          <c:y val="4.8541848935549685E-2"/>
          <c:w val="0.85639348206474264"/>
          <c:h val="0.81013097877328444"/>
        </c:manualLayout>
      </c:layout>
      <c:lineChart>
        <c:grouping val="standard"/>
        <c:varyColors val="0"/>
        <c:ser>
          <c:idx val="0"/>
          <c:order val="0"/>
          <c:tx>
            <c:strRef>
              <c:f>Daily!$F$1</c:f>
              <c:strCache>
                <c:ptCount val="1"/>
                <c:pt idx="0">
                  <c:v>EURUSD</c:v>
                </c:pt>
              </c:strCache>
            </c:strRef>
          </c:tx>
          <c:spPr>
            <a:ln w="38100">
              <a:solidFill>
                <a:srgbClr val="0096EF"/>
              </a:solidFill>
              <a:prstDash val="solid"/>
            </a:ln>
          </c:spPr>
          <c:marker>
            <c:symbol val="none"/>
          </c:marker>
          <c:cat>
            <c:numRef>
              <c:f>Daily!$E$2763:$E$3100</c:f>
              <c:numCache>
                <c:formatCode>dd/mm/yy</c:formatCode>
                <c:ptCount val="338"/>
                <c:pt idx="0">
                  <c:v>40392</c:v>
                </c:pt>
                <c:pt idx="1">
                  <c:v>40393</c:v>
                </c:pt>
                <c:pt idx="2">
                  <c:v>40394</c:v>
                </c:pt>
                <c:pt idx="3">
                  <c:v>40395</c:v>
                </c:pt>
                <c:pt idx="4">
                  <c:v>40396</c:v>
                </c:pt>
                <c:pt idx="5">
                  <c:v>40399</c:v>
                </c:pt>
                <c:pt idx="6">
                  <c:v>40400</c:v>
                </c:pt>
                <c:pt idx="7">
                  <c:v>40401</c:v>
                </c:pt>
                <c:pt idx="8">
                  <c:v>40402</c:v>
                </c:pt>
                <c:pt idx="9">
                  <c:v>40403</c:v>
                </c:pt>
                <c:pt idx="10">
                  <c:v>40406</c:v>
                </c:pt>
                <c:pt idx="11">
                  <c:v>40407</c:v>
                </c:pt>
                <c:pt idx="12">
                  <c:v>40408</c:v>
                </c:pt>
                <c:pt idx="13">
                  <c:v>40409</c:v>
                </c:pt>
                <c:pt idx="14">
                  <c:v>40410</c:v>
                </c:pt>
                <c:pt idx="15">
                  <c:v>40413</c:v>
                </c:pt>
                <c:pt idx="16">
                  <c:v>40414</c:v>
                </c:pt>
                <c:pt idx="17">
                  <c:v>40415</c:v>
                </c:pt>
                <c:pt idx="18">
                  <c:v>40416</c:v>
                </c:pt>
                <c:pt idx="19">
                  <c:v>40417</c:v>
                </c:pt>
                <c:pt idx="20">
                  <c:v>40420</c:v>
                </c:pt>
                <c:pt idx="21">
                  <c:v>40421</c:v>
                </c:pt>
                <c:pt idx="22">
                  <c:v>40422</c:v>
                </c:pt>
                <c:pt idx="23">
                  <c:v>40423</c:v>
                </c:pt>
                <c:pt idx="24">
                  <c:v>40424</c:v>
                </c:pt>
                <c:pt idx="25">
                  <c:v>40427</c:v>
                </c:pt>
                <c:pt idx="26">
                  <c:v>40428</c:v>
                </c:pt>
                <c:pt idx="27">
                  <c:v>40429</c:v>
                </c:pt>
                <c:pt idx="28">
                  <c:v>40430</c:v>
                </c:pt>
                <c:pt idx="29">
                  <c:v>40431</c:v>
                </c:pt>
                <c:pt idx="30">
                  <c:v>40434</c:v>
                </c:pt>
                <c:pt idx="31">
                  <c:v>40435</c:v>
                </c:pt>
                <c:pt idx="32">
                  <c:v>40436</c:v>
                </c:pt>
                <c:pt idx="33">
                  <c:v>40437</c:v>
                </c:pt>
                <c:pt idx="34">
                  <c:v>40438</c:v>
                </c:pt>
                <c:pt idx="35">
                  <c:v>40441</c:v>
                </c:pt>
                <c:pt idx="36">
                  <c:v>40442</c:v>
                </c:pt>
                <c:pt idx="37">
                  <c:v>40443</c:v>
                </c:pt>
                <c:pt idx="38">
                  <c:v>40444</c:v>
                </c:pt>
                <c:pt idx="39">
                  <c:v>40445</c:v>
                </c:pt>
                <c:pt idx="40">
                  <c:v>40448</c:v>
                </c:pt>
                <c:pt idx="41">
                  <c:v>40449</c:v>
                </c:pt>
                <c:pt idx="42">
                  <c:v>40450</c:v>
                </c:pt>
                <c:pt idx="43">
                  <c:v>40451</c:v>
                </c:pt>
                <c:pt idx="44">
                  <c:v>40452</c:v>
                </c:pt>
                <c:pt idx="45">
                  <c:v>40455</c:v>
                </c:pt>
                <c:pt idx="46">
                  <c:v>40456</c:v>
                </c:pt>
                <c:pt idx="47">
                  <c:v>40457</c:v>
                </c:pt>
                <c:pt idx="48">
                  <c:v>40458</c:v>
                </c:pt>
                <c:pt idx="49">
                  <c:v>40459</c:v>
                </c:pt>
                <c:pt idx="50">
                  <c:v>40462</c:v>
                </c:pt>
                <c:pt idx="51">
                  <c:v>40463</c:v>
                </c:pt>
                <c:pt idx="52">
                  <c:v>40464</c:v>
                </c:pt>
                <c:pt idx="53">
                  <c:v>40465</c:v>
                </c:pt>
                <c:pt idx="54">
                  <c:v>40466</c:v>
                </c:pt>
                <c:pt idx="55">
                  <c:v>40469</c:v>
                </c:pt>
                <c:pt idx="56">
                  <c:v>40470</c:v>
                </c:pt>
                <c:pt idx="57">
                  <c:v>40471</c:v>
                </c:pt>
                <c:pt idx="58">
                  <c:v>40472</c:v>
                </c:pt>
                <c:pt idx="59">
                  <c:v>40473</c:v>
                </c:pt>
                <c:pt idx="60">
                  <c:v>40476</c:v>
                </c:pt>
                <c:pt idx="61">
                  <c:v>40477</c:v>
                </c:pt>
                <c:pt idx="62">
                  <c:v>40478</c:v>
                </c:pt>
                <c:pt idx="63">
                  <c:v>40479</c:v>
                </c:pt>
                <c:pt idx="64">
                  <c:v>40480</c:v>
                </c:pt>
                <c:pt idx="65">
                  <c:v>40483</c:v>
                </c:pt>
                <c:pt idx="66">
                  <c:v>40484</c:v>
                </c:pt>
                <c:pt idx="67">
                  <c:v>40485</c:v>
                </c:pt>
                <c:pt idx="68">
                  <c:v>40486</c:v>
                </c:pt>
                <c:pt idx="69">
                  <c:v>40487</c:v>
                </c:pt>
                <c:pt idx="70">
                  <c:v>40490</c:v>
                </c:pt>
                <c:pt idx="71">
                  <c:v>40491</c:v>
                </c:pt>
                <c:pt idx="72">
                  <c:v>40492</c:v>
                </c:pt>
                <c:pt idx="73">
                  <c:v>40493</c:v>
                </c:pt>
                <c:pt idx="74">
                  <c:v>40494</c:v>
                </c:pt>
                <c:pt idx="75">
                  <c:v>40497</c:v>
                </c:pt>
                <c:pt idx="76">
                  <c:v>40498</c:v>
                </c:pt>
                <c:pt idx="77">
                  <c:v>40499</c:v>
                </c:pt>
                <c:pt idx="78">
                  <c:v>40500</c:v>
                </c:pt>
                <c:pt idx="79">
                  <c:v>40501</c:v>
                </c:pt>
                <c:pt idx="80">
                  <c:v>40504</c:v>
                </c:pt>
                <c:pt idx="81">
                  <c:v>40505</c:v>
                </c:pt>
                <c:pt idx="82">
                  <c:v>40506</c:v>
                </c:pt>
                <c:pt idx="83">
                  <c:v>40507</c:v>
                </c:pt>
                <c:pt idx="84">
                  <c:v>40508</c:v>
                </c:pt>
                <c:pt idx="85">
                  <c:v>40511</c:v>
                </c:pt>
                <c:pt idx="86">
                  <c:v>40512</c:v>
                </c:pt>
                <c:pt idx="87">
                  <c:v>40513</c:v>
                </c:pt>
                <c:pt idx="88">
                  <c:v>40514</c:v>
                </c:pt>
                <c:pt idx="89">
                  <c:v>40515</c:v>
                </c:pt>
                <c:pt idx="90">
                  <c:v>40518</c:v>
                </c:pt>
                <c:pt idx="91">
                  <c:v>40519</c:v>
                </c:pt>
                <c:pt idx="92">
                  <c:v>40520</c:v>
                </c:pt>
                <c:pt idx="93">
                  <c:v>40521</c:v>
                </c:pt>
                <c:pt idx="94">
                  <c:v>40522</c:v>
                </c:pt>
                <c:pt idx="95">
                  <c:v>40525</c:v>
                </c:pt>
                <c:pt idx="96">
                  <c:v>40526</c:v>
                </c:pt>
                <c:pt idx="97">
                  <c:v>40527</c:v>
                </c:pt>
                <c:pt idx="98">
                  <c:v>40528</c:v>
                </c:pt>
                <c:pt idx="99">
                  <c:v>40529</c:v>
                </c:pt>
                <c:pt idx="100">
                  <c:v>40532</c:v>
                </c:pt>
                <c:pt idx="101">
                  <c:v>40533</c:v>
                </c:pt>
                <c:pt idx="102">
                  <c:v>40534</c:v>
                </c:pt>
                <c:pt idx="103">
                  <c:v>40535</c:v>
                </c:pt>
                <c:pt idx="104">
                  <c:v>40536</c:v>
                </c:pt>
                <c:pt idx="105">
                  <c:v>40539</c:v>
                </c:pt>
                <c:pt idx="106">
                  <c:v>40540</c:v>
                </c:pt>
                <c:pt idx="107">
                  <c:v>40541</c:v>
                </c:pt>
                <c:pt idx="108">
                  <c:v>40542</c:v>
                </c:pt>
                <c:pt idx="109">
                  <c:v>40543</c:v>
                </c:pt>
                <c:pt idx="110">
                  <c:v>40546</c:v>
                </c:pt>
                <c:pt idx="111">
                  <c:v>40547</c:v>
                </c:pt>
                <c:pt idx="112">
                  <c:v>40548</c:v>
                </c:pt>
                <c:pt idx="113">
                  <c:v>40549</c:v>
                </c:pt>
                <c:pt idx="114">
                  <c:v>40550</c:v>
                </c:pt>
                <c:pt idx="115">
                  <c:v>40553</c:v>
                </c:pt>
                <c:pt idx="116">
                  <c:v>40554</c:v>
                </c:pt>
                <c:pt idx="117">
                  <c:v>40555</c:v>
                </c:pt>
                <c:pt idx="118">
                  <c:v>40556</c:v>
                </c:pt>
                <c:pt idx="119">
                  <c:v>40557</c:v>
                </c:pt>
                <c:pt idx="120">
                  <c:v>40560</c:v>
                </c:pt>
                <c:pt idx="121">
                  <c:v>40561</c:v>
                </c:pt>
                <c:pt idx="122">
                  <c:v>40562</c:v>
                </c:pt>
                <c:pt idx="123">
                  <c:v>40563</c:v>
                </c:pt>
                <c:pt idx="124">
                  <c:v>40564</c:v>
                </c:pt>
                <c:pt idx="125">
                  <c:v>40567</c:v>
                </c:pt>
                <c:pt idx="126">
                  <c:v>40568</c:v>
                </c:pt>
                <c:pt idx="127">
                  <c:v>40569</c:v>
                </c:pt>
                <c:pt idx="128">
                  <c:v>40570</c:v>
                </c:pt>
                <c:pt idx="129">
                  <c:v>40571</c:v>
                </c:pt>
                <c:pt idx="130">
                  <c:v>40574</c:v>
                </c:pt>
                <c:pt idx="131">
                  <c:v>40575</c:v>
                </c:pt>
                <c:pt idx="132">
                  <c:v>40576</c:v>
                </c:pt>
                <c:pt idx="133">
                  <c:v>40577</c:v>
                </c:pt>
                <c:pt idx="134">
                  <c:v>40578</c:v>
                </c:pt>
                <c:pt idx="135">
                  <c:v>40581</c:v>
                </c:pt>
                <c:pt idx="136">
                  <c:v>40582</c:v>
                </c:pt>
                <c:pt idx="137">
                  <c:v>40583</c:v>
                </c:pt>
                <c:pt idx="138">
                  <c:v>40584</c:v>
                </c:pt>
                <c:pt idx="139">
                  <c:v>40585</c:v>
                </c:pt>
                <c:pt idx="140">
                  <c:v>40588</c:v>
                </c:pt>
                <c:pt idx="141">
                  <c:v>40589</c:v>
                </c:pt>
                <c:pt idx="142">
                  <c:v>40590</c:v>
                </c:pt>
                <c:pt idx="143">
                  <c:v>40591</c:v>
                </c:pt>
                <c:pt idx="144">
                  <c:v>40592</c:v>
                </c:pt>
                <c:pt idx="145">
                  <c:v>40595</c:v>
                </c:pt>
                <c:pt idx="146">
                  <c:v>40596</c:v>
                </c:pt>
                <c:pt idx="147">
                  <c:v>40597</c:v>
                </c:pt>
                <c:pt idx="148">
                  <c:v>40598</c:v>
                </c:pt>
                <c:pt idx="149">
                  <c:v>40599</c:v>
                </c:pt>
                <c:pt idx="150">
                  <c:v>40602</c:v>
                </c:pt>
                <c:pt idx="151">
                  <c:v>40603</c:v>
                </c:pt>
                <c:pt idx="152">
                  <c:v>40604</c:v>
                </c:pt>
                <c:pt idx="153">
                  <c:v>40605</c:v>
                </c:pt>
                <c:pt idx="154">
                  <c:v>40606</c:v>
                </c:pt>
                <c:pt idx="155">
                  <c:v>40609</c:v>
                </c:pt>
                <c:pt idx="156">
                  <c:v>40610</c:v>
                </c:pt>
                <c:pt idx="157">
                  <c:v>40611</c:v>
                </c:pt>
                <c:pt idx="158">
                  <c:v>40612</c:v>
                </c:pt>
                <c:pt idx="159">
                  <c:v>40613</c:v>
                </c:pt>
                <c:pt idx="160">
                  <c:v>40616</c:v>
                </c:pt>
                <c:pt idx="161">
                  <c:v>40617</c:v>
                </c:pt>
                <c:pt idx="162">
                  <c:v>40618</c:v>
                </c:pt>
                <c:pt idx="163">
                  <c:v>40619</c:v>
                </c:pt>
                <c:pt idx="164">
                  <c:v>40620</c:v>
                </c:pt>
                <c:pt idx="165">
                  <c:v>40623</c:v>
                </c:pt>
                <c:pt idx="166">
                  <c:v>40624</c:v>
                </c:pt>
                <c:pt idx="167">
                  <c:v>40625</c:v>
                </c:pt>
                <c:pt idx="168">
                  <c:v>40626</c:v>
                </c:pt>
                <c:pt idx="169">
                  <c:v>40627</c:v>
                </c:pt>
                <c:pt idx="170">
                  <c:v>40630</c:v>
                </c:pt>
                <c:pt idx="171">
                  <c:v>40631</c:v>
                </c:pt>
                <c:pt idx="172">
                  <c:v>40632</c:v>
                </c:pt>
                <c:pt idx="173">
                  <c:v>40633</c:v>
                </c:pt>
                <c:pt idx="174">
                  <c:v>40634</c:v>
                </c:pt>
                <c:pt idx="175">
                  <c:v>40637</c:v>
                </c:pt>
                <c:pt idx="176">
                  <c:v>40638</c:v>
                </c:pt>
                <c:pt idx="177">
                  <c:v>40639</c:v>
                </c:pt>
                <c:pt idx="178">
                  <c:v>40640</c:v>
                </c:pt>
                <c:pt idx="179">
                  <c:v>40641</c:v>
                </c:pt>
                <c:pt idx="180">
                  <c:v>40644</c:v>
                </c:pt>
                <c:pt idx="181">
                  <c:v>40645</c:v>
                </c:pt>
                <c:pt idx="182">
                  <c:v>40646</c:v>
                </c:pt>
                <c:pt idx="183">
                  <c:v>40647</c:v>
                </c:pt>
                <c:pt idx="184">
                  <c:v>40648</c:v>
                </c:pt>
                <c:pt idx="185">
                  <c:v>40651</c:v>
                </c:pt>
                <c:pt idx="186">
                  <c:v>40652</c:v>
                </c:pt>
                <c:pt idx="187">
                  <c:v>40653</c:v>
                </c:pt>
                <c:pt idx="188">
                  <c:v>40654</c:v>
                </c:pt>
                <c:pt idx="189">
                  <c:v>40655</c:v>
                </c:pt>
                <c:pt idx="190">
                  <c:v>40658</c:v>
                </c:pt>
                <c:pt idx="191">
                  <c:v>40659</c:v>
                </c:pt>
                <c:pt idx="192">
                  <c:v>40660</c:v>
                </c:pt>
                <c:pt idx="193">
                  <c:v>40661</c:v>
                </c:pt>
                <c:pt idx="194">
                  <c:v>40662</c:v>
                </c:pt>
                <c:pt idx="195">
                  <c:v>40665</c:v>
                </c:pt>
                <c:pt idx="196">
                  <c:v>40666</c:v>
                </c:pt>
                <c:pt idx="197">
                  <c:v>40667</c:v>
                </c:pt>
                <c:pt idx="198">
                  <c:v>40668</c:v>
                </c:pt>
                <c:pt idx="199">
                  <c:v>40669</c:v>
                </c:pt>
                <c:pt idx="200">
                  <c:v>40672</c:v>
                </c:pt>
                <c:pt idx="201">
                  <c:v>40673</c:v>
                </c:pt>
                <c:pt idx="202">
                  <c:v>40674</c:v>
                </c:pt>
                <c:pt idx="203">
                  <c:v>40675</c:v>
                </c:pt>
                <c:pt idx="204">
                  <c:v>40676</c:v>
                </c:pt>
                <c:pt idx="205">
                  <c:v>40679</c:v>
                </c:pt>
                <c:pt idx="206">
                  <c:v>40680</c:v>
                </c:pt>
                <c:pt idx="207">
                  <c:v>40681</c:v>
                </c:pt>
                <c:pt idx="208">
                  <c:v>40682</c:v>
                </c:pt>
                <c:pt idx="209">
                  <c:v>40683</c:v>
                </c:pt>
                <c:pt idx="210">
                  <c:v>40686</c:v>
                </c:pt>
                <c:pt idx="211">
                  <c:v>40687</c:v>
                </c:pt>
                <c:pt idx="212">
                  <c:v>40688</c:v>
                </c:pt>
                <c:pt idx="213">
                  <c:v>40689</c:v>
                </c:pt>
                <c:pt idx="214">
                  <c:v>40690</c:v>
                </c:pt>
                <c:pt idx="215">
                  <c:v>40693</c:v>
                </c:pt>
                <c:pt idx="216">
                  <c:v>40694</c:v>
                </c:pt>
                <c:pt idx="217">
                  <c:v>40695</c:v>
                </c:pt>
                <c:pt idx="218">
                  <c:v>40696</c:v>
                </c:pt>
                <c:pt idx="219">
                  <c:v>40697</c:v>
                </c:pt>
                <c:pt idx="220">
                  <c:v>40700</c:v>
                </c:pt>
                <c:pt idx="221">
                  <c:v>40701</c:v>
                </c:pt>
                <c:pt idx="222">
                  <c:v>40702</c:v>
                </c:pt>
                <c:pt idx="223">
                  <c:v>40703</c:v>
                </c:pt>
                <c:pt idx="224">
                  <c:v>40704</c:v>
                </c:pt>
                <c:pt idx="225">
                  <c:v>40707</c:v>
                </c:pt>
                <c:pt idx="226">
                  <c:v>40708</c:v>
                </c:pt>
                <c:pt idx="227">
                  <c:v>40709</c:v>
                </c:pt>
                <c:pt idx="228">
                  <c:v>40710</c:v>
                </c:pt>
                <c:pt idx="229">
                  <c:v>40711</c:v>
                </c:pt>
                <c:pt idx="230">
                  <c:v>40714</c:v>
                </c:pt>
                <c:pt idx="231">
                  <c:v>40715</c:v>
                </c:pt>
                <c:pt idx="232">
                  <c:v>40716</c:v>
                </c:pt>
                <c:pt idx="233">
                  <c:v>40717</c:v>
                </c:pt>
                <c:pt idx="234">
                  <c:v>40718</c:v>
                </c:pt>
                <c:pt idx="235">
                  <c:v>40721</c:v>
                </c:pt>
                <c:pt idx="236">
                  <c:v>40722</c:v>
                </c:pt>
                <c:pt idx="237">
                  <c:v>40723</c:v>
                </c:pt>
                <c:pt idx="238">
                  <c:v>40724</c:v>
                </c:pt>
                <c:pt idx="239">
                  <c:v>40725</c:v>
                </c:pt>
                <c:pt idx="240">
                  <c:v>40728</c:v>
                </c:pt>
                <c:pt idx="241">
                  <c:v>40729</c:v>
                </c:pt>
                <c:pt idx="242">
                  <c:v>40730</c:v>
                </c:pt>
                <c:pt idx="243">
                  <c:v>40731</c:v>
                </c:pt>
                <c:pt idx="244">
                  <c:v>40732</c:v>
                </c:pt>
                <c:pt idx="245">
                  <c:v>40735</c:v>
                </c:pt>
                <c:pt idx="246">
                  <c:v>40736</c:v>
                </c:pt>
                <c:pt idx="247">
                  <c:v>40737</c:v>
                </c:pt>
                <c:pt idx="248">
                  <c:v>40738</c:v>
                </c:pt>
                <c:pt idx="249">
                  <c:v>40739</c:v>
                </c:pt>
                <c:pt idx="250">
                  <c:v>40742</c:v>
                </c:pt>
                <c:pt idx="251">
                  <c:v>40743</c:v>
                </c:pt>
                <c:pt idx="252">
                  <c:v>40744</c:v>
                </c:pt>
                <c:pt idx="253">
                  <c:v>40745</c:v>
                </c:pt>
                <c:pt idx="254">
                  <c:v>40746</c:v>
                </c:pt>
                <c:pt idx="255">
                  <c:v>40749</c:v>
                </c:pt>
                <c:pt idx="256">
                  <c:v>40750</c:v>
                </c:pt>
                <c:pt idx="257">
                  <c:v>40751</c:v>
                </c:pt>
                <c:pt idx="258">
                  <c:v>40752</c:v>
                </c:pt>
                <c:pt idx="259">
                  <c:v>40753</c:v>
                </c:pt>
                <c:pt idx="260">
                  <c:v>40756</c:v>
                </c:pt>
                <c:pt idx="261">
                  <c:v>40757</c:v>
                </c:pt>
                <c:pt idx="262">
                  <c:v>40758</c:v>
                </c:pt>
                <c:pt idx="263">
                  <c:v>40759</c:v>
                </c:pt>
                <c:pt idx="264">
                  <c:v>40760</c:v>
                </c:pt>
                <c:pt idx="265">
                  <c:v>40763</c:v>
                </c:pt>
                <c:pt idx="266">
                  <c:v>40764</c:v>
                </c:pt>
                <c:pt idx="267">
                  <c:v>40765</c:v>
                </c:pt>
                <c:pt idx="268">
                  <c:v>40766</c:v>
                </c:pt>
                <c:pt idx="269">
                  <c:v>40767</c:v>
                </c:pt>
                <c:pt idx="270">
                  <c:v>40770</c:v>
                </c:pt>
                <c:pt idx="271">
                  <c:v>40771</c:v>
                </c:pt>
                <c:pt idx="272">
                  <c:v>40772</c:v>
                </c:pt>
                <c:pt idx="273">
                  <c:v>40773</c:v>
                </c:pt>
                <c:pt idx="274">
                  <c:v>40774</c:v>
                </c:pt>
                <c:pt idx="275">
                  <c:v>40777</c:v>
                </c:pt>
                <c:pt idx="276">
                  <c:v>40778</c:v>
                </c:pt>
                <c:pt idx="277">
                  <c:v>40779</c:v>
                </c:pt>
                <c:pt idx="278">
                  <c:v>40780</c:v>
                </c:pt>
                <c:pt idx="279">
                  <c:v>40781</c:v>
                </c:pt>
                <c:pt idx="280">
                  <c:v>40784</c:v>
                </c:pt>
                <c:pt idx="281">
                  <c:v>40785</c:v>
                </c:pt>
                <c:pt idx="282">
                  <c:v>40786</c:v>
                </c:pt>
                <c:pt idx="283">
                  <c:v>40787</c:v>
                </c:pt>
                <c:pt idx="284">
                  <c:v>40788</c:v>
                </c:pt>
                <c:pt idx="285">
                  <c:v>40791</c:v>
                </c:pt>
                <c:pt idx="286">
                  <c:v>40792</c:v>
                </c:pt>
                <c:pt idx="287">
                  <c:v>40793</c:v>
                </c:pt>
                <c:pt idx="288">
                  <c:v>40794</c:v>
                </c:pt>
                <c:pt idx="289">
                  <c:v>40795</c:v>
                </c:pt>
                <c:pt idx="290">
                  <c:v>40798</c:v>
                </c:pt>
                <c:pt idx="291">
                  <c:v>40799</c:v>
                </c:pt>
                <c:pt idx="292">
                  <c:v>40800</c:v>
                </c:pt>
                <c:pt idx="293">
                  <c:v>40801</c:v>
                </c:pt>
                <c:pt idx="294">
                  <c:v>40802</c:v>
                </c:pt>
                <c:pt idx="295">
                  <c:v>40805</c:v>
                </c:pt>
                <c:pt idx="296">
                  <c:v>40806</c:v>
                </c:pt>
                <c:pt idx="297">
                  <c:v>40807</c:v>
                </c:pt>
                <c:pt idx="298">
                  <c:v>40808</c:v>
                </c:pt>
                <c:pt idx="299">
                  <c:v>40809</c:v>
                </c:pt>
                <c:pt idx="300">
                  <c:v>40812</c:v>
                </c:pt>
                <c:pt idx="301">
                  <c:v>40801</c:v>
                </c:pt>
                <c:pt idx="302">
                  <c:v>40802</c:v>
                </c:pt>
                <c:pt idx="303">
                  <c:v>40803</c:v>
                </c:pt>
                <c:pt idx="304">
                  <c:v>40804</c:v>
                </c:pt>
                <c:pt idx="305">
                  <c:v>40805</c:v>
                </c:pt>
                <c:pt idx="306">
                  <c:v>40806</c:v>
                </c:pt>
                <c:pt idx="307">
                  <c:v>40807</c:v>
                </c:pt>
                <c:pt idx="308">
                  <c:v>40808</c:v>
                </c:pt>
                <c:pt idx="309">
                  <c:v>40809</c:v>
                </c:pt>
                <c:pt idx="310">
                  <c:v>40810</c:v>
                </c:pt>
                <c:pt idx="311">
                  <c:v>40811</c:v>
                </c:pt>
                <c:pt idx="312">
                  <c:v>40812</c:v>
                </c:pt>
                <c:pt idx="313">
                  <c:v>40813</c:v>
                </c:pt>
                <c:pt idx="314">
                  <c:v>40814</c:v>
                </c:pt>
                <c:pt idx="315">
                  <c:v>40815</c:v>
                </c:pt>
                <c:pt idx="316">
                  <c:v>40816</c:v>
                </c:pt>
                <c:pt idx="317">
                  <c:v>40817</c:v>
                </c:pt>
                <c:pt idx="318">
                  <c:v>40818</c:v>
                </c:pt>
                <c:pt idx="319">
                  <c:v>40819</c:v>
                </c:pt>
                <c:pt idx="320">
                  <c:v>40820</c:v>
                </c:pt>
                <c:pt idx="321">
                  <c:v>40821</c:v>
                </c:pt>
                <c:pt idx="322">
                  <c:v>40822</c:v>
                </c:pt>
                <c:pt idx="323">
                  <c:v>40823</c:v>
                </c:pt>
                <c:pt idx="324">
                  <c:v>40824</c:v>
                </c:pt>
                <c:pt idx="325">
                  <c:v>40825</c:v>
                </c:pt>
                <c:pt idx="326">
                  <c:v>40826</c:v>
                </c:pt>
                <c:pt idx="327">
                  <c:v>40827</c:v>
                </c:pt>
                <c:pt idx="328">
                  <c:v>40828</c:v>
                </c:pt>
                <c:pt idx="329">
                  <c:v>40829</c:v>
                </c:pt>
                <c:pt idx="330">
                  <c:v>40830</c:v>
                </c:pt>
                <c:pt idx="331">
                  <c:v>40831</c:v>
                </c:pt>
                <c:pt idx="332">
                  <c:v>40832</c:v>
                </c:pt>
                <c:pt idx="333">
                  <c:v>40833</c:v>
                </c:pt>
                <c:pt idx="334">
                  <c:v>40834</c:v>
                </c:pt>
                <c:pt idx="335">
                  <c:v>40835</c:v>
                </c:pt>
                <c:pt idx="336">
                  <c:v>40836</c:v>
                </c:pt>
                <c:pt idx="337">
                  <c:v>40837</c:v>
                </c:pt>
              </c:numCache>
            </c:numRef>
          </c:cat>
          <c:val>
            <c:numRef>
              <c:f>Daily!$F$2763:$F$3100</c:f>
              <c:numCache>
                <c:formatCode>General</c:formatCode>
                <c:ptCount val="338"/>
                <c:pt idx="0">
                  <c:v>1.3178999999999974</c:v>
                </c:pt>
                <c:pt idx="1">
                  <c:v>1.3230999999999977</c:v>
                </c:pt>
                <c:pt idx="2">
                  <c:v>1.3161</c:v>
                </c:pt>
                <c:pt idx="3">
                  <c:v>1.3189</c:v>
                </c:pt>
                <c:pt idx="4">
                  <c:v>1.3280000000000001</c:v>
                </c:pt>
                <c:pt idx="5">
                  <c:v>1.3222</c:v>
                </c:pt>
                <c:pt idx="6">
                  <c:v>1.3176999999999972</c:v>
                </c:pt>
                <c:pt idx="7">
                  <c:v>1.2863</c:v>
                </c:pt>
                <c:pt idx="8">
                  <c:v>1.2828999999999977</c:v>
                </c:pt>
                <c:pt idx="9">
                  <c:v>1.2753999999999972</c:v>
                </c:pt>
                <c:pt idx="10">
                  <c:v>1.2827</c:v>
                </c:pt>
                <c:pt idx="11">
                  <c:v>1.2885</c:v>
                </c:pt>
                <c:pt idx="12">
                  <c:v>1.2852999999999974</c:v>
                </c:pt>
                <c:pt idx="13">
                  <c:v>1.2823</c:v>
                </c:pt>
                <c:pt idx="14">
                  <c:v>1.2711999999999974</c:v>
                </c:pt>
                <c:pt idx="15">
                  <c:v>1.2656999999999972</c:v>
                </c:pt>
                <c:pt idx="16">
                  <c:v>1.2626999999999977</c:v>
                </c:pt>
                <c:pt idx="17">
                  <c:v>1.2658999999999971</c:v>
                </c:pt>
                <c:pt idx="18">
                  <c:v>1.2715999999999974</c:v>
                </c:pt>
                <c:pt idx="19">
                  <c:v>1.2763</c:v>
                </c:pt>
                <c:pt idx="20">
                  <c:v>1.2663</c:v>
                </c:pt>
                <c:pt idx="21">
                  <c:v>1.268</c:v>
                </c:pt>
                <c:pt idx="22">
                  <c:v>1.2808999999999977</c:v>
                </c:pt>
                <c:pt idx="23">
                  <c:v>1.2826</c:v>
                </c:pt>
                <c:pt idx="24">
                  <c:v>1.2895999999999974</c:v>
                </c:pt>
                <c:pt idx="25">
                  <c:v>1.2875999999999974</c:v>
                </c:pt>
                <c:pt idx="26">
                  <c:v>1.2682</c:v>
                </c:pt>
                <c:pt idx="27">
                  <c:v>1.272</c:v>
                </c:pt>
                <c:pt idx="28">
                  <c:v>1.2695999999999974</c:v>
                </c:pt>
                <c:pt idx="29">
                  <c:v>1.2678999999999971</c:v>
                </c:pt>
                <c:pt idx="30">
                  <c:v>1.2883</c:v>
                </c:pt>
                <c:pt idx="31">
                  <c:v>1.2997999999999974</c:v>
                </c:pt>
                <c:pt idx="32">
                  <c:v>1.3010999999999975</c:v>
                </c:pt>
                <c:pt idx="33">
                  <c:v>1.3077999999999974</c:v>
                </c:pt>
                <c:pt idx="34">
                  <c:v>1.3049999999999977</c:v>
                </c:pt>
                <c:pt idx="35">
                  <c:v>1.3061</c:v>
                </c:pt>
                <c:pt idx="36">
                  <c:v>1.3264</c:v>
                </c:pt>
                <c:pt idx="37">
                  <c:v>1.3406</c:v>
                </c:pt>
                <c:pt idx="38">
                  <c:v>1.3313999999999975</c:v>
                </c:pt>
                <c:pt idx="39">
                  <c:v>1.3492</c:v>
                </c:pt>
                <c:pt idx="40">
                  <c:v>1.3454999999999975</c:v>
                </c:pt>
                <c:pt idx="41">
                  <c:v>1.3585</c:v>
                </c:pt>
                <c:pt idx="42">
                  <c:v>1.3627</c:v>
                </c:pt>
                <c:pt idx="43">
                  <c:v>1.3633999999999977</c:v>
                </c:pt>
                <c:pt idx="44">
                  <c:v>1.3791</c:v>
                </c:pt>
                <c:pt idx="45">
                  <c:v>1.3685</c:v>
                </c:pt>
                <c:pt idx="46">
                  <c:v>1.3838999999999977</c:v>
                </c:pt>
                <c:pt idx="47">
                  <c:v>1.393</c:v>
                </c:pt>
                <c:pt idx="48">
                  <c:v>1.3926000000000001</c:v>
                </c:pt>
                <c:pt idx="49">
                  <c:v>1.3938999999999975</c:v>
                </c:pt>
                <c:pt idx="50">
                  <c:v>1.3875999999999977</c:v>
                </c:pt>
                <c:pt idx="51">
                  <c:v>1.3925000000000001</c:v>
                </c:pt>
                <c:pt idx="52">
                  <c:v>1.3961000000000001</c:v>
                </c:pt>
                <c:pt idx="53">
                  <c:v>1.4083999999999972</c:v>
                </c:pt>
                <c:pt idx="54">
                  <c:v>1.3976999999999977</c:v>
                </c:pt>
                <c:pt idx="55">
                  <c:v>1.3934</c:v>
                </c:pt>
                <c:pt idx="56">
                  <c:v>1.3727</c:v>
                </c:pt>
                <c:pt idx="57">
                  <c:v>1.3963999999999999</c:v>
                </c:pt>
                <c:pt idx="58">
                  <c:v>1.3919999999999975</c:v>
                </c:pt>
                <c:pt idx="59">
                  <c:v>1.3954</c:v>
                </c:pt>
                <c:pt idx="60">
                  <c:v>1.3965000000000001</c:v>
                </c:pt>
                <c:pt idx="61">
                  <c:v>1.3858999999999975</c:v>
                </c:pt>
                <c:pt idx="62">
                  <c:v>1.3769</c:v>
                </c:pt>
                <c:pt idx="63">
                  <c:v>1.393</c:v>
                </c:pt>
                <c:pt idx="64">
                  <c:v>1.3947000000000001</c:v>
                </c:pt>
                <c:pt idx="65">
                  <c:v>1.3893</c:v>
                </c:pt>
                <c:pt idx="66">
                  <c:v>1.4033999999999962</c:v>
                </c:pt>
                <c:pt idx="67">
                  <c:v>1.4138999999999955</c:v>
                </c:pt>
                <c:pt idx="68">
                  <c:v>1.4206999999999974</c:v>
                </c:pt>
                <c:pt idx="69">
                  <c:v>1.4031999999999965</c:v>
                </c:pt>
                <c:pt idx="70">
                  <c:v>1.3919999999999975</c:v>
                </c:pt>
                <c:pt idx="71">
                  <c:v>1.3773</c:v>
                </c:pt>
                <c:pt idx="72">
                  <c:v>1.3783000000000001</c:v>
                </c:pt>
                <c:pt idx="73">
                  <c:v>1.3667</c:v>
                </c:pt>
                <c:pt idx="74">
                  <c:v>1.3691</c:v>
                </c:pt>
                <c:pt idx="75">
                  <c:v>1.3587</c:v>
                </c:pt>
                <c:pt idx="76">
                  <c:v>1.3489</c:v>
                </c:pt>
                <c:pt idx="77">
                  <c:v>1.3529</c:v>
                </c:pt>
                <c:pt idx="78">
                  <c:v>1.3643000000000001</c:v>
                </c:pt>
                <c:pt idx="79">
                  <c:v>1.3673</c:v>
                </c:pt>
                <c:pt idx="80">
                  <c:v>1.3627</c:v>
                </c:pt>
                <c:pt idx="81">
                  <c:v>1.3367</c:v>
                </c:pt>
                <c:pt idx="82">
                  <c:v>1.3334999999999975</c:v>
                </c:pt>
                <c:pt idx="83">
                  <c:v>1.3360000000000001</c:v>
                </c:pt>
                <c:pt idx="84">
                  <c:v>1.3242</c:v>
                </c:pt>
                <c:pt idx="85">
                  <c:v>1.3125</c:v>
                </c:pt>
                <c:pt idx="86">
                  <c:v>1.2983</c:v>
                </c:pt>
                <c:pt idx="87">
                  <c:v>1.3138999999999974</c:v>
                </c:pt>
                <c:pt idx="88">
                  <c:v>1.3209</c:v>
                </c:pt>
                <c:pt idx="89">
                  <c:v>1.3413999999999975</c:v>
                </c:pt>
                <c:pt idx="90">
                  <c:v>1.3308</c:v>
                </c:pt>
                <c:pt idx="91">
                  <c:v>1.3261000000000001</c:v>
                </c:pt>
                <c:pt idx="92">
                  <c:v>1.3262</c:v>
                </c:pt>
                <c:pt idx="93">
                  <c:v>1.3238999999999974</c:v>
                </c:pt>
                <c:pt idx="94">
                  <c:v>1.3226</c:v>
                </c:pt>
                <c:pt idx="95">
                  <c:v>1.3391</c:v>
                </c:pt>
                <c:pt idx="96">
                  <c:v>1.3377999999999974</c:v>
                </c:pt>
                <c:pt idx="97">
                  <c:v>1.3213999999999977</c:v>
                </c:pt>
                <c:pt idx="98">
                  <c:v>1.3244</c:v>
                </c:pt>
                <c:pt idx="99">
                  <c:v>1.3188</c:v>
                </c:pt>
                <c:pt idx="100">
                  <c:v>1.3130999999999977</c:v>
                </c:pt>
                <c:pt idx="101">
                  <c:v>1.31</c:v>
                </c:pt>
                <c:pt idx="102">
                  <c:v>1.31</c:v>
                </c:pt>
                <c:pt idx="103">
                  <c:v>1.3113999999999975</c:v>
                </c:pt>
                <c:pt idx="104">
                  <c:v>1.3122</c:v>
                </c:pt>
                <c:pt idx="105">
                  <c:v>1.3165</c:v>
                </c:pt>
                <c:pt idx="106">
                  <c:v>1.3114999999999977</c:v>
                </c:pt>
                <c:pt idx="107">
                  <c:v>1.3225</c:v>
                </c:pt>
                <c:pt idx="108">
                  <c:v>1.3290999999999977</c:v>
                </c:pt>
                <c:pt idx="109">
                  <c:v>1.3384</c:v>
                </c:pt>
                <c:pt idx="110">
                  <c:v>1.3361000000000001</c:v>
                </c:pt>
                <c:pt idx="111">
                  <c:v>1.3308</c:v>
                </c:pt>
                <c:pt idx="112">
                  <c:v>1.3149</c:v>
                </c:pt>
                <c:pt idx="113">
                  <c:v>1.3003</c:v>
                </c:pt>
                <c:pt idx="114">
                  <c:v>1.2907</c:v>
                </c:pt>
                <c:pt idx="115">
                  <c:v>1.2950999999999975</c:v>
                </c:pt>
                <c:pt idx="116">
                  <c:v>1.2973999999999977</c:v>
                </c:pt>
                <c:pt idx="117">
                  <c:v>1.3130999999999977</c:v>
                </c:pt>
                <c:pt idx="118">
                  <c:v>1.3364</c:v>
                </c:pt>
                <c:pt idx="119">
                  <c:v>1.3388</c:v>
                </c:pt>
                <c:pt idx="120">
                  <c:v>1.3293999999999977</c:v>
                </c:pt>
                <c:pt idx="121">
                  <c:v>1.3387</c:v>
                </c:pt>
                <c:pt idx="122">
                  <c:v>1.3472999999999977</c:v>
                </c:pt>
                <c:pt idx="123">
                  <c:v>1.3472999999999977</c:v>
                </c:pt>
                <c:pt idx="124">
                  <c:v>1.3620999999999999</c:v>
                </c:pt>
                <c:pt idx="125">
                  <c:v>1.3637999999999975</c:v>
                </c:pt>
                <c:pt idx="126">
                  <c:v>1.3681000000000001</c:v>
                </c:pt>
                <c:pt idx="127">
                  <c:v>1.3713</c:v>
                </c:pt>
                <c:pt idx="128">
                  <c:v>1.3734</c:v>
                </c:pt>
                <c:pt idx="129">
                  <c:v>1.3611</c:v>
                </c:pt>
                <c:pt idx="130">
                  <c:v>1.3694</c:v>
                </c:pt>
                <c:pt idx="131">
                  <c:v>1.3829</c:v>
                </c:pt>
                <c:pt idx="132">
                  <c:v>1.3811</c:v>
                </c:pt>
                <c:pt idx="133">
                  <c:v>1.3633999999999977</c:v>
                </c:pt>
                <c:pt idx="134">
                  <c:v>1.3580999999999999</c:v>
                </c:pt>
                <c:pt idx="135">
                  <c:v>1.3583000000000001</c:v>
                </c:pt>
                <c:pt idx="136">
                  <c:v>1.3625</c:v>
                </c:pt>
                <c:pt idx="137">
                  <c:v>1.3733</c:v>
                </c:pt>
                <c:pt idx="138">
                  <c:v>1.3603000000000001</c:v>
                </c:pt>
                <c:pt idx="139">
                  <c:v>1.3553999999999977</c:v>
                </c:pt>
                <c:pt idx="140">
                  <c:v>1.3489</c:v>
                </c:pt>
                <c:pt idx="141">
                  <c:v>1.3487</c:v>
                </c:pt>
                <c:pt idx="142">
                  <c:v>1.3569</c:v>
                </c:pt>
                <c:pt idx="143">
                  <c:v>1.3609</c:v>
                </c:pt>
                <c:pt idx="144">
                  <c:v>1.3693</c:v>
                </c:pt>
                <c:pt idx="145">
                  <c:v>1.3677999999999975</c:v>
                </c:pt>
                <c:pt idx="146">
                  <c:v>1.365</c:v>
                </c:pt>
                <c:pt idx="147">
                  <c:v>1.3749</c:v>
                </c:pt>
                <c:pt idx="148">
                  <c:v>1.3800000000000001</c:v>
                </c:pt>
                <c:pt idx="149">
                  <c:v>1.3754</c:v>
                </c:pt>
                <c:pt idx="150">
                  <c:v>1.3806</c:v>
                </c:pt>
                <c:pt idx="151">
                  <c:v>1.3776999999999975</c:v>
                </c:pt>
                <c:pt idx="152">
                  <c:v>1.3866000000000001</c:v>
                </c:pt>
                <c:pt idx="153">
                  <c:v>1.3969</c:v>
                </c:pt>
                <c:pt idx="154">
                  <c:v>1.3987000000000001</c:v>
                </c:pt>
                <c:pt idx="155">
                  <c:v>1.3968</c:v>
                </c:pt>
                <c:pt idx="156">
                  <c:v>1.3905000000000001</c:v>
                </c:pt>
                <c:pt idx="157">
                  <c:v>1.3909</c:v>
                </c:pt>
                <c:pt idx="158">
                  <c:v>1.3797999999999975</c:v>
                </c:pt>
                <c:pt idx="159">
                  <c:v>1.3902999999999999</c:v>
                </c:pt>
                <c:pt idx="160">
                  <c:v>1.3992</c:v>
                </c:pt>
                <c:pt idx="161">
                  <c:v>1.3997999999999977</c:v>
                </c:pt>
                <c:pt idx="162">
                  <c:v>1.3900000000000001</c:v>
                </c:pt>
                <c:pt idx="163">
                  <c:v>1.4020999999999975</c:v>
                </c:pt>
                <c:pt idx="164">
                  <c:v>1.4181999999999977</c:v>
                </c:pt>
                <c:pt idx="165">
                  <c:v>1.4225999999999974</c:v>
                </c:pt>
                <c:pt idx="166">
                  <c:v>1.4195999999999962</c:v>
                </c:pt>
                <c:pt idx="167">
                  <c:v>1.4087999999999972</c:v>
                </c:pt>
                <c:pt idx="168">
                  <c:v>1.4176999999999957</c:v>
                </c:pt>
                <c:pt idx="169">
                  <c:v>1.4087999999999972</c:v>
                </c:pt>
                <c:pt idx="170">
                  <c:v>1.4086999999999974</c:v>
                </c:pt>
                <c:pt idx="171">
                  <c:v>1.4112999999999964</c:v>
                </c:pt>
                <c:pt idx="172">
                  <c:v>1.4126999999999974</c:v>
                </c:pt>
                <c:pt idx="173">
                  <c:v>1.4157999999999955</c:v>
                </c:pt>
                <c:pt idx="174">
                  <c:v>1.4236999999999957</c:v>
                </c:pt>
                <c:pt idx="175">
                  <c:v>1.4220999999999975</c:v>
                </c:pt>
                <c:pt idx="176">
                  <c:v>1.4222999999999975</c:v>
                </c:pt>
                <c:pt idx="177">
                  <c:v>1.4330999999999972</c:v>
                </c:pt>
                <c:pt idx="178">
                  <c:v>1.4307999999999974</c:v>
                </c:pt>
                <c:pt idx="179">
                  <c:v>1.4482999999999975</c:v>
                </c:pt>
                <c:pt idx="180">
                  <c:v>1.4435999999999964</c:v>
                </c:pt>
                <c:pt idx="181">
                  <c:v>1.4476999999999962</c:v>
                </c:pt>
                <c:pt idx="182">
                  <c:v>1.4442999999999975</c:v>
                </c:pt>
                <c:pt idx="183">
                  <c:v>1.4487999999999972</c:v>
                </c:pt>
                <c:pt idx="184">
                  <c:v>1.4429999999999974</c:v>
                </c:pt>
                <c:pt idx="185">
                  <c:v>1.4234999999999962</c:v>
                </c:pt>
                <c:pt idx="186">
                  <c:v>1.4334999999999964</c:v>
                </c:pt>
                <c:pt idx="187">
                  <c:v>1.4522999999999975</c:v>
                </c:pt>
                <c:pt idx="188">
                  <c:v>1.4551999999999972</c:v>
                </c:pt>
                <c:pt idx="189">
                  <c:v>1.4560999999999977</c:v>
                </c:pt>
                <c:pt idx="190">
                  <c:v>1.4581999999999977</c:v>
                </c:pt>
                <c:pt idx="191">
                  <c:v>1.4643999999999975</c:v>
                </c:pt>
                <c:pt idx="192">
                  <c:v>1.4787999999999977</c:v>
                </c:pt>
                <c:pt idx="193">
                  <c:v>1.4822</c:v>
                </c:pt>
                <c:pt idx="194">
                  <c:v>1.4806999999999977</c:v>
                </c:pt>
                <c:pt idx="195">
                  <c:v>1.4829999999999974</c:v>
                </c:pt>
                <c:pt idx="196">
                  <c:v>1.4824999999999977</c:v>
                </c:pt>
                <c:pt idx="197">
                  <c:v>1.4826999999999975</c:v>
                </c:pt>
                <c:pt idx="198">
                  <c:v>1.4538999999999958</c:v>
                </c:pt>
                <c:pt idx="199">
                  <c:v>1.4315999999999962</c:v>
                </c:pt>
                <c:pt idx="200">
                  <c:v>1.4364999999999977</c:v>
                </c:pt>
                <c:pt idx="201">
                  <c:v>1.4408999999999974</c:v>
                </c:pt>
                <c:pt idx="202">
                  <c:v>1.4191999999999971</c:v>
                </c:pt>
                <c:pt idx="203">
                  <c:v>1.4245999999999972</c:v>
                </c:pt>
                <c:pt idx="204">
                  <c:v>1.4118999999999955</c:v>
                </c:pt>
                <c:pt idx="205">
                  <c:v>1.4155999999999958</c:v>
                </c:pt>
                <c:pt idx="206">
                  <c:v>1.4236999999999957</c:v>
                </c:pt>
                <c:pt idx="207">
                  <c:v>1.4249999999999972</c:v>
                </c:pt>
                <c:pt idx="208">
                  <c:v>1.4308999999999974</c:v>
                </c:pt>
                <c:pt idx="209">
                  <c:v>1.4160999999999977</c:v>
                </c:pt>
                <c:pt idx="210">
                  <c:v>1.4047999999999972</c:v>
                </c:pt>
                <c:pt idx="211">
                  <c:v>1.41</c:v>
                </c:pt>
                <c:pt idx="212">
                  <c:v>1.4087999999999972</c:v>
                </c:pt>
                <c:pt idx="213">
                  <c:v>1.4144999999999972</c:v>
                </c:pt>
                <c:pt idx="214">
                  <c:v>1.4318999999999957</c:v>
                </c:pt>
                <c:pt idx="215">
                  <c:v>1.4281999999999975</c:v>
                </c:pt>
                <c:pt idx="216">
                  <c:v>1.4395999999999962</c:v>
                </c:pt>
                <c:pt idx="217">
                  <c:v>1.4327999999999974</c:v>
                </c:pt>
                <c:pt idx="218">
                  <c:v>1.4490999999999972</c:v>
                </c:pt>
                <c:pt idx="219">
                  <c:v>1.4634999999999971</c:v>
                </c:pt>
                <c:pt idx="220">
                  <c:v>1.4575999999999965</c:v>
                </c:pt>
                <c:pt idx="221">
                  <c:v>1.4690999999999974</c:v>
                </c:pt>
                <c:pt idx="222">
                  <c:v>1.4582999999999977</c:v>
                </c:pt>
                <c:pt idx="223">
                  <c:v>1.4509999999999974</c:v>
                </c:pt>
                <c:pt idx="224">
                  <c:v>1.4346999999999972</c:v>
                </c:pt>
                <c:pt idx="225">
                  <c:v>1.4412999999999971</c:v>
                </c:pt>
                <c:pt idx="226">
                  <c:v>1.444</c:v>
                </c:pt>
                <c:pt idx="227">
                  <c:v>1.4180999999999975</c:v>
                </c:pt>
                <c:pt idx="228">
                  <c:v>1.4203999999999974</c:v>
                </c:pt>
                <c:pt idx="229">
                  <c:v>1.4305999999999974</c:v>
                </c:pt>
                <c:pt idx="230">
                  <c:v>1.4303999999999977</c:v>
                </c:pt>
                <c:pt idx="231">
                  <c:v>1.4411999999999972</c:v>
                </c:pt>
                <c:pt idx="232">
                  <c:v>1.4356999999999962</c:v>
                </c:pt>
                <c:pt idx="233">
                  <c:v>1.4255999999999962</c:v>
                </c:pt>
                <c:pt idx="234">
                  <c:v>1.4187999999999974</c:v>
                </c:pt>
                <c:pt idx="235">
                  <c:v>1.4286999999999974</c:v>
                </c:pt>
                <c:pt idx="236">
                  <c:v>1.4370999999999972</c:v>
                </c:pt>
                <c:pt idx="237">
                  <c:v>1.4434999999999965</c:v>
                </c:pt>
                <c:pt idx="238">
                  <c:v>1.4501999999999977</c:v>
                </c:pt>
                <c:pt idx="239">
                  <c:v>1.4525999999999974</c:v>
                </c:pt>
                <c:pt idx="240">
                  <c:v>1.4538999999999958</c:v>
                </c:pt>
                <c:pt idx="241">
                  <c:v>1.4428999999999974</c:v>
                </c:pt>
                <c:pt idx="242">
                  <c:v>1.4318999999999957</c:v>
                </c:pt>
                <c:pt idx="243">
                  <c:v>1.4363999999999975</c:v>
                </c:pt>
                <c:pt idx="244">
                  <c:v>1.4264999999999972</c:v>
                </c:pt>
                <c:pt idx="245">
                  <c:v>1.4028999999999971</c:v>
                </c:pt>
                <c:pt idx="246">
                  <c:v>1.3976</c:v>
                </c:pt>
                <c:pt idx="247">
                  <c:v>1.4166999999999974</c:v>
                </c:pt>
                <c:pt idx="248">
                  <c:v>1.4142999999999974</c:v>
                </c:pt>
                <c:pt idx="249">
                  <c:v>1.4156999999999957</c:v>
                </c:pt>
                <c:pt idx="250">
                  <c:v>1.4111999999999965</c:v>
                </c:pt>
                <c:pt idx="251">
                  <c:v>1.4155999999999958</c:v>
                </c:pt>
                <c:pt idx="252">
                  <c:v>1.4214999999999962</c:v>
                </c:pt>
                <c:pt idx="253">
                  <c:v>1.4424999999999975</c:v>
                </c:pt>
                <c:pt idx="254">
                  <c:v>1.4359999999999955</c:v>
                </c:pt>
                <c:pt idx="255">
                  <c:v>1.4376999999999962</c:v>
                </c:pt>
                <c:pt idx="256">
                  <c:v>1.4510999999999972</c:v>
                </c:pt>
                <c:pt idx="257">
                  <c:v>1.4368999999999974</c:v>
                </c:pt>
                <c:pt idx="258">
                  <c:v>1.4333999999999965</c:v>
                </c:pt>
                <c:pt idx="259">
                  <c:v>1.4397999999999957</c:v>
                </c:pt>
                <c:pt idx="260">
                  <c:v>1.4249999999999972</c:v>
                </c:pt>
                <c:pt idx="261">
                  <c:v>1.4202999999999977</c:v>
                </c:pt>
                <c:pt idx="262">
                  <c:v>1.4322999999999977</c:v>
                </c:pt>
                <c:pt idx="263">
                  <c:v>1.4091999999999965</c:v>
                </c:pt>
                <c:pt idx="264">
                  <c:v>1.4281999999999975</c:v>
                </c:pt>
                <c:pt idx="265">
                  <c:v>1.4178999999999955</c:v>
                </c:pt>
                <c:pt idx="266">
                  <c:v>1.4375999999999962</c:v>
                </c:pt>
                <c:pt idx="267">
                  <c:v>1.4177999999999955</c:v>
                </c:pt>
                <c:pt idx="268">
                  <c:v>1.4240999999999975</c:v>
                </c:pt>
                <c:pt idx="269">
                  <c:v>1.4247999999999974</c:v>
                </c:pt>
                <c:pt idx="270">
                  <c:v>1.4444999999999977</c:v>
                </c:pt>
                <c:pt idx="271">
                  <c:v>1.4406999999999974</c:v>
                </c:pt>
                <c:pt idx="272">
                  <c:v>1.4425999999999977</c:v>
                </c:pt>
                <c:pt idx="273">
                  <c:v>1.4332999999999971</c:v>
                </c:pt>
                <c:pt idx="274">
                  <c:v>1.4396999999999962</c:v>
                </c:pt>
                <c:pt idx="275">
                  <c:v>1.4357999999999957</c:v>
                </c:pt>
                <c:pt idx="276">
                  <c:v>1.4441999999999977</c:v>
                </c:pt>
                <c:pt idx="277">
                  <c:v>1.4413999999999967</c:v>
                </c:pt>
                <c:pt idx="278">
                  <c:v>1.4378999999999957</c:v>
                </c:pt>
                <c:pt idx="279">
                  <c:v>1.4498999999999957</c:v>
                </c:pt>
                <c:pt idx="280">
                  <c:v>1.4510999999999972</c:v>
                </c:pt>
                <c:pt idx="281">
                  <c:v>1.4440999999999977</c:v>
                </c:pt>
                <c:pt idx="282">
                  <c:v>1.4368999999999974</c:v>
                </c:pt>
                <c:pt idx="283">
                  <c:v>1.4258999999999955</c:v>
                </c:pt>
                <c:pt idx="284">
                  <c:v>1.4204999999999974</c:v>
                </c:pt>
                <c:pt idx="285">
                  <c:v>1.4097999999999955</c:v>
                </c:pt>
                <c:pt idx="286">
                  <c:v>1.3997999999999977</c:v>
                </c:pt>
                <c:pt idx="287">
                  <c:v>1.4097999999999955</c:v>
                </c:pt>
                <c:pt idx="288">
                  <c:v>1.3881999999999999</c:v>
                </c:pt>
                <c:pt idx="289">
                  <c:v>1.3655999999999975</c:v>
                </c:pt>
                <c:pt idx="290">
                  <c:v>1.3678999999999977</c:v>
                </c:pt>
                <c:pt idx="291">
                  <c:v>1.3677999999999975</c:v>
                </c:pt>
                <c:pt idx="292">
                  <c:v>1.3754999999999977</c:v>
                </c:pt>
                <c:pt idx="293">
                  <c:v>1.3876999999999977</c:v>
                </c:pt>
                <c:pt idx="294">
                  <c:v>1.3795999999999977</c:v>
                </c:pt>
                <c:pt idx="295">
                  <c:v>1.3686</c:v>
                </c:pt>
                <c:pt idx="296">
                  <c:v>1.3702000000000001</c:v>
                </c:pt>
                <c:pt idx="297">
                  <c:v>1.3573</c:v>
                </c:pt>
                <c:pt idx="298">
                  <c:v>1.3465</c:v>
                </c:pt>
                <c:pt idx="299">
                  <c:v>1.35</c:v>
                </c:pt>
                <c:pt idx="300">
                  <c:v>1.346200000000000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Daily!$AG$1</c:f>
              <c:strCache>
                <c:ptCount val="1"/>
                <c:pt idx="0">
                  <c:v>EURCHF</c:v>
                </c:pt>
              </c:strCache>
            </c:strRef>
          </c:tx>
          <c:spPr>
            <a:ln w="38100">
              <a:solidFill>
                <a:srgbClr val="FF0000"/>
              </a:solidFill>
              <a:prstDash val="solid"/>
            </a:ln>
          </c:spPr>
          <c:marker>
            <c:symbol val="none"/>
          </c:marker>
          <c:val>
            <c:numRef>
              <c:f>Daily!$AG$2763:$AG$3100</c:f>
              <c:numCache>
                <c:formatCode>General</c:formatCode>
                <c:ptCount val="338"/>
                <c:pt idx="0">
                  <c:v>1.36924</c:v>
                </c:pt>
                <c:pt idx="1">
                  <c:v>1.3749400000000001</c:v>
                </c:pt>
                <c:pt idx="2">
                  <c:v>1.38595</c:v>
                </c:pt>
                <c:pt idx="3">
                  <c:v>1.3796999999999977</c:v>
                </c:pt>
                <c:pt idx="4">
                  <c:v>1.37975</c:v>
                </c:pt>
                <c:pt idx="5">
                  <c:v>1.3874500000000001</c:v>
                </c:pt>
                <c:pt idx="6">
                  <c:v>1.3815999999999977</c:v>
                </c:pt>
                <c:pt idx="7">
                  <c:v>1.36355</c:v>
                </c:pt>
                <c:pt idx="8">
                  <c:v>1.34707</c:v>
                </c:pt>
                <c:pt idx="9">
                  <c:v>1.3408</c:v>
                </c:pt>
                <c:pt idx="10">
                  <c:v>1.33325</c:v>
                </c:pt>
                <c:pt idx="11">
                  <c:v>1.34436</c:v>
                </c:pt>
                <c:pt idx="12">
                  <c:v>1.3399599999999998</c:v>
                </c:pt>
                <c:pt idx="13">
                  <c:v>1.32331</c:v>
                </c:pt>
                <c:pt idx="14">
                  <c:v>1.3143</c:v>
                </c:pt>
                <c:pt idx="15">
                  <c:v>1.31731</c:v>
                </c:pt>
                <c:pt idx="16">
                  <c:v>1.3044</c:v>
                </c:pt>
                <c:pt idx="17">
                  <c:v>1.30426</c:v>
                </c:pt>
                <c:pt idx="18">
                  <c:v>1.3023</c:v>
                </c:pt>
                <c:pt idx="19">
                  <c:v>1.3119099999999977</c:v>
                </c:pt>
                <c:pt idx="20">
                  <c:v>1.29931</c:v>
                </c:pt>
                <c:pt idx="21">
                  <c:v>1.2870899999999998</c:v>
                </c:pt>
                <c:pt idx="22">
                  <c:v>1.30114</c:v>
                </c:pt>
                <c:pt idx="23">
                  <c:v>1.2987500000000001</c:v>
                </c:pt>
                <c:pt idx="24">
                  <c:v>1.3109</c:v>
                </c:pt>
                <c:pt idx="25">
                  <c:v>1.3034699999999975</c:v>
                </c:pt>
                <c:pt idx="26">
                  <c:v>1.2825500000000001</c:v>
                </c:pt>
                <c:pt idx="27">
                  <c:v>1.2866500000000001</c:v>
                </c:pt>
                <c:pt idx="28">
                  <c:v>1.2887</c:v>
                </c:pt>
                <c:pt idx="29">
                  <c:v>1.29305</c:v>
                </c:pt>
                <c:pt idx="30">
                  <c:v>1.29775</c:v>
                </c:pt>
                <c:pt idx="31">
                  <c:v>1.29487</c:v>
                </c:pt>
                <c:pt idx="32">
                  <c:v>1.3053299999999974</c:v>
                </c:pt>
                <c:pt idx="33">
                  <c:v>1.32856</c:v>
                </c:pt>
                <c:pt idx="34">
                  <c:v>1.31765</c:v>
                </c:pt>
                <c:pt idx="35">
                  <c:v>1.3125</c:v>
                </c:pt>
                <c:pt idx="36">
                  <c:v>1.3214399999999977</c:v>
                </c:pt>
                <c:pt idx="37">
                  <c:v>1.3220000000000001</c:v>
                </c:pt>
                <c:pt idx="38">
                  <c:v>1.31212</c:v>
                </c:pt>
                <c:pt idx="39">
                  <c:v>1.3268</c:v>
                </c:pt>
                <c:pt idx="40">
                  <c:v>1.3257599999999998</c:v>
                </c:pt>
                <c:pt idx="41">
                  <c:v>1.3256899999999998</c:v>
                </c:pt>
                <c:pt idx="42">
                  <c:v>1.33141</c:v>
                </c:pt>
                <c:pt idx="43">
                  <c:v>1.33961</c:v>
                </c:pt>
                <c:pt idx="44">
                  <c:v>1.34287</c:v>
                </c:pt>
                <c:pt idx="45">
                  <c:v>1.3294699999999977</c:v>
                </c:pt>
                <c:pt idx="46">
                  <c:v>1.3372199999999999</c:v>
                </c:pt>
                <c:pt idx="47">
                  <c:v>1.33935</c:v>
                </c:pt>
                <c:pt idx="48">
                  <c:v>1.3457299999999974</c:v>
                </c:pt>
                <c:pt idx="49">
                  <c:v>1.3419399999999977</c:v>
                </c:pt>
                <c:pt idx="50">
                  <c:v>1.33883</c:v>
                </c:pt>
                <c:pt idx="51">
                  <c:v>1.33246</c:v>
                </c:pt>
                <c:pt idx="52">
                  <c:v>1.3382100000000001</c:v>
                </c:pt>
                <c:pt idx="53">
                  <c:v>1.3421400000000001</c:v>
                </c:pt>
                <c:pt idx="54">
                  <c:v>1.3401000000000001</c:v>
                </c:pt>
                <c:pt idx="55">
                  <c:v>1.3370899999999999</c:v>
                </c:pt>
                <c:pt idx="56">
                  <c:v>1.3339099999999977</c:v>
                </c:pt>
                <c:pt idx="57">
                  <c:v>1.34293</c:v>
                </c:pt>
                <c:pt idx="58">
                  <c:v>1.3472500000000001</c:v>
                </c:pt>
                <c:pt idx="59">
                  <c:v>1.3632500000000001</c:v>
                </c:pt>
                <c:pt idx="60">
                  <c:v>1.3559399999999975</c:v>
                </c:pt>
                <c:pt idx="61">
                  <c:v>1.36412</c:v>
                </c:pt>
                <c:pt idx="62">
                  <c:v>1.3637599999999999</c:v>
                </c:pt>
                <c:pt idx="63">
                  <c:v>1.37</c:v>
                </c:pt>
                <c:pt idx="64">
                  <c:v>1.37016</c:v>
                </c:pt>
                <c:pt idx="65">
                  <c:v>1.3779599999999999</c:v>
                </c:pt>
                <c:pt idx="66">
                  <c:v>1.3744000000000001</c:v>
                </c:pt>
                <c:pt idx="67">
                  <c:v>1.37249</c:v>
                </c:pt>
                <c:pt idx="68">
                  <c:v>1.36164</c:v>
                </c:pt>
                <c:pt idx="69">
                  <c:v>1.3497199999999998</c:v>
                </c:pt>
                <c:pt idx="70">
                  <c:v>1.3447499999999999</c:v>
                </c:pt>
                <c:pt idx="71">
                  <c:v>1.3333999999999975</c:v>
                </c:pt>
                <c:pt idx="72">
                  <c:v>1.3380000000000001</c:v>
                </c:pt>
                <c:pt idx="73">
                  <c:v>1.33274</c:v>
                </c:pt>
                <c:pt idx="74">
                  <c:v>1.3432299999999975</c:v>
                </c:pt>
                <c:pt idx="75">
                  <c:v>1.33771</c:v>
                </c:pt>
                <c:pt idx="76">
                  <c:v>1.34351</c:v>
                </c:pt>
                <c:pt idx="77">
                  <c:v>1.34114</c:v>
                </c:pt>
                <c:pt idx="78">
                  <c:v>1.3585499999999999</c:v>
                </c:pt>
                <c:pt idx="79">
                  <c:v>1.3567199999999999</c:v>
                </c:pt>
                <c:pt idx="80">
                  <c:v>1.3484099999999999</c:v>
                </c:pt>
                <c:pt idx="81">
                  <c:v>1.333</c:v>
                </c:pt>
                <c:pt idx="82">
                  <c:v>1.3280000000000001</c:v>
                </c:pt>
                <c:pt idx="83">
                  <c:v>1.33687</c:v>
                </c:pt>
                <c:pt idx="84">
                  <c:v>1.32775</c:v>
                </c:pt>
                <c:pt idx="85">
                  <c:v>1.31271</c:v>
                </c:pt>
                <c:pt idx="86">
                  <c:v>1.30294</c:v>
                </c:pt>
                <c:pt idx="87">
                  <c:v>1.3168199999999999</c:v>
                </c:pt>
                <c:pt idx="88">
                  <c:v>1.3115599999999998</c:v>
                </c:pt>
                <c:pt idx="89">
                  <c:v>1.3062800000000001</c:v>
                </c:pt>
                <c:pt idx="90">
                  <c:v>1.30626</c:v>
                </c:pt>
                <c:pt idx="91">
                  <c:v>1.3096299999999974</c:v>
                </c:pt>
                <c:pt idx="92">
                  <c:v>1.3079099999999977</c:v>
                </c:pt>
                <c:pt idx="93">
                  <c:v>1.302</c:v>
                </c:pt>
                <c:pt idx="94">
                  <c:v>1.2974599999999998</c:v>
                </c:pt>
                <c:pt idx="95">
                  <c:v>1.2962</c:v>
                </c:pt>
                <c:pt idx="96">
                  <c:v>1.28365</c:v>
                </c:pt>
                <c:pt idx="97">
                  <c:v>1.27915</c:v>
                </c:pt>
                <c:pt idx="98">
                  <c:v>1.2771999999999977</c:v>
                </c:pt>
                <c:pt idx="99">
                  <c:v>1.27847</c:v>
                </c:pt>
                <c:pt idx="100">
                  <c:v>1.26671</c:v>
                </c:pt>
                <c:pt idx="101">
                  <c:v>1.2551299999999974</c:v>
                </c:pt>
                <c:pt idx="102">
                  <c:v>1.2472399999999975</c:v>
                </c:pt>
                <c:pt idx="103">
                  <c:v>1.2574799999999977</c:v>
                </c:pt>
                <c:pt idx="104">
                  <c:v>1.26271</c:v>
                </c:pt>
                <c:pt idx="105">
                  <c:v>1.2640500000000001</c:v>
                </c:pt>
                <c:pt idx="106">
                  <c:v>1.2489399999999977</c:v>
                </c:pt>
                <c:pt idx="107">
                  <c:v>1.25061</c:v>
                </c:pt>
                <c:pt idx="108">
                  <c:v>1.24241</c:v>
                </c:pt>
                <c:pt idx="109">
                  <c:v>1.2506999999999975</c:v>
                </c:pt>
                <c:pt idx="110">
                  <c:v>1.2471399999999975</c:v>
                </c:pt>
                <c:pt idx="111">
                  <c:v>1.2624</c:v>
                </c:pt>
                <c:pt idx="112">
                  <c:v>1.2698399999999974</c:v>
                </c:pt>
                <c:pt idx="113">
                  <c:v>1.2555699999999974</c:v>
                </c:pt>
                <c:pt idx="114">
                  <c:v>1.24848</c:v>
                </c:pt>
                <c:pt idx="115">
                  <c:v>1.2530399999999977</c:v>
                </c:pt>
                <c:pt idx="116">
                  <c:v>1.2631899999999998</c:v>
                </c:pt>
                <c:pt idx="117">
                  <c:v>1.26938</c:v>
                </c:pt>
                <c:pt idx="118">
                  <c:v>1.28803</c:v>
                </c:pt>
                <c:pt idx="119">
                  <c:v>1.2898799999999977</c:v>
                </c:pt>
                <c:pt idx="120">
                  <c:v>1.2824199999999999</c:v>
                </c:pt>
                <c:pt idx="121">
                  <c:v>1.2897099999999975</c:v>
                </c:pt>
                <c:pt idx="122">
                  <c:v>1.2864499999999999</c:v>
                </c:pt>
                <c:pt idx="123">
                  <c:v>1.3033399999999977</c:v>
                </c:pt>
                <c:pt idx="124">
                  <c:v>1.3054999999999974</c:v>
                </c:pt>
                <c:pt idx="125">
                  <c:v>1.2946</c:v>
                </c:pt>
                <c:pt idx="126">
                  <c:v>1.2894099999999977</c:v>
                </c:pt>
                <c:pt idx="127">
                  <c:v>1.2915299999999974</c:v>
                </c:pt>
                <c:pt idx="128">
                  <c:v>1.2985</c:v>
                </c:pt>
                <c:pt idx="129">
                  <c:v>1.2820800000000001</c:v>
                </c:pt>
                <c:pt idx="130">
                  <c:v>1.2926899999999999</c:v>
                </c:pt>
                <c:pt idx="131">
                  <c:v>1.2934699999999977</c:v>
                </c:pt>
                <c:pt idx="132">
                  <c:v>1.29817</c:v>
                </c:pt>
                <c:pt idx="133">
                  <c:v>1.28915</c:v>
                </c:pt>
                <c:pt idx="134">
                  <c:v>1.2973299999999974</c:v>
                </c:pt>
                <c:pt idx="135">
                  <c:v>1.2977599999999998</c:v>
                </c:pt>
                <c:pt idx="136">
                  <c:v>1.3124899999999999</c:v>
                </c:pt>
                <c:pt idx="137">
                  <c:v>1.3153199999999998</c:v>
                </c:pt>
                <c:pt idx="138">
                  <c:v>1.31823</c:v>
                </c:pt>
                <c:pt idx="139">
                  <c:v>1.31863</c:v>
                </c:pt>
                <c:pt idx="140">
                  <c:v>1.30843</c:v>
                </c:pt>
                <c:pt idx="141">
                  <c:v>1.30433</c:v>
                </c:pt>
                <c:pt idx="142">
                  <c:v>1.3018799999999975</c:v>
                </c:pt>
                <c:pt idx="143">
                  <c:v>1.29253</c:v>
                </c:pt>
                <c:pt idx="144">
                  <c:v>1.2934999999999972</c:v>
                </c:pt>
                <c:pt idx="145">
                  <c:v>1.29508</c:v>
                </c:pt>
                <c:pt idx="146">
                  <c:v>1.28165</c:v>
                </c:pt>
                <c:pt idx="147">
                  <c:v>1.28281</c:v>
                </c:pt>
                <c:pt idx="148">
                  <c:v>1.2784599999999999</c:v>
                </c:pt>
                <c:pt idx="149">
                  <c:v>1.27684</c:v>
                </c:pt>
                <c:pt idx="150">
                  <c:v>1.28233</c:v>
                </c:pt>
                <c:pt idx="151">
                  <c:v>1.27921</c:v>
                </c:pt>
                <c:pt idx="152">
                  <c:v>1.2804800000000001</c:v>
                </c:pt>
                <c:pt idx="153">
                  <c:v>1.3013299999999974</c:v>
                </c:pt>
                <c:pt idx="154">
                  <c:v>1.2933399999999977</c:v>
                </c:pt>
                <c:pt idx="155">
                  <c:v>1.2943199999999999</c:v>
                </c:pt>
                <c:pt idx="156">
                  <c:v>1.3002899999999999</c:v>
                </c:pt>
                <c:pt idx="157">
                  <c:v>1.29295</c:v>
                </c:pt>
                <c:pt idx="158">
                  <c:v>1.2859699999999972</c:v>
                </c:pt>
                <c:pt idx="159">
                  <c:v>1.29278</c:v>
                </c:pt>
                <c:pt idx="160">
                  <c:v>1.2935099999999977</c:v>
                </c:pt>
                <c:pt idx="161">
                  <c:v>1.28298</c:v>
                </c:pt>
                <c:pt idx="162">
                  <c:v>1.26206</c:v>
                </c:pt>
                <c:pt idx="163">
                  <c:v>1.2598999999999971</c:v>
                </c:pt>
                <c:pt idx="164">
                  <c:v>1.2778099999999977</c:v>
                </c:pt>
                <c:pt idx="165">
                  <c:v>1.2868299999999975</c:v>
                </c:pt>
                <c:pt idx="166">
                  <c:v>1.2825500000000001</c:v>
                </c:pt>
                <c:pt idx="167">
                  <c:v>1.28</c:v>
                </c:pt>
                <c:pt idx="168">
                  <c:v>1.2880199999999999</c:v>
                </c:pt>
                <c:pt idx="169">
                  <c:v>1.2959299999999971</c:v>
                </c:pt>
                <c:pt idx="170">
                  <c:v>1.2914599999999998</c:v>
                </c:pt>
                <c:pt idx="171">
                  <c:v>1.29857</c:v>
                </c:pt>
                <c:pt idx="172">
                  <c:v>1.2974299999999974</c:v>
                </c:pt>
                <c:pt idx="173">
                  <c:v>1.30118</c:v>
                </c:pt>
                <c:pt idx="174">
                  <c:v>1.31531</c:v>
                </c:pt>
                <c:pt idx="175">
                  <c:v>1.3127899999999999</c:v>
                </c:pt>
                <c:pt idx="176">
                  <c:v>1.31613</c:v>
                </c:pt>
                <c:pt idx="177">
                  <c:v>1.31701</c:v>
                </c:pt>
                <c:pt idx="178">
                  <c:v>1.3112699999999977</c:v>
                </c:pt>
                <c:pt idx="179">
                  <c:v>1.3128500000000001</c:v>
                </c:pt>
                <c:pt idx="180">
                  <c:v>1.3087</c:v>
                </c:pt>
                <c:pt idx="181">
                  <c:v>1.29884</c:v>
                </c:pt>
                <c:pt idx="182">
                  <c:v>1.29453</c:v>
                </c:pt>
                <c:pt idx="183">
                  <c:v>1.2930699999999977</c:v>
                </c:pt>
                <c:pt idx="184">
                  <c:v>1.2877299999999972</c:v>
                </c:pt>
                <c:pt idx="185">
                  <c:v>1.2759899999999977</c:v>
                </c:pt>
                <c:pt idx="186">
                  <c:v>1.2898499999999977</c:v>
                </c:pt>
                <c:pt idx="187">
                  <c:v>1.2898299999999971</c:v>
                </c:pt>
                <c:pt idx="188">
                  <c:v>1.2895399999999977</c:v>
                </c:pt>
                <c:pt idx="189">
                  <c:v>1.2902899999999999</c:v>
                </c:pt>
                <c:pt idx="190">
                  <c:v>1.28481</c:v>
                </c:pt>
                <c:pt idx="191">
                  <c:v>1.2817199999999977</c:v>
                </c:pt>
                <c:pt idx="192">
                  <c:v>1.2933199999999998</c:v>
                </c:pt>
                <c:pt idx="193">
                  <c:v>1.29495</c:v>
                </c:pt>
                <c:pt idx="194">
                  <c:v>1.2813299999999974</c:v>
                </c:pt>
                <c:pt idx="195">
                  <c:v>1.2831999999999975</c:v>
                </c:pt>
                <c:pt idx="196">
                  <c:v>1.27698</c:v>
                </c:pt>
                <c:pt idx="197">
                  <c:v>1.2778299999999971</c:v>
                </c:pt>
                <c:pt idx="198">
                  <c:v>1.2654899999999998</c:v>
                </c:pt>
                <c:pt idx="199">
                  <c:v>1.25824</c:v>
                </c:pt>
                <c:pt idx="200">
                  <c:v>1.25223</c:v>
                </c:pt>
                <c:pt idx="201">
                  <c:v>1.2677499999999977</c:v>
                </c:pt>
                <c:pt idx="202">
                  <c:v>1.2598699999999972</c:v>
                </c:pt>
                <c:pt idx="203">
                  <c:v>1.2593799999999977</c:v>
                </c:pt>
                <c:pt idx="204">
                  <c:v>1.26041</c:v>
                </c:pt>
                <c:pt idx="205">
                  <c:v>1.2522199999999999</c:v>
                </c:pt>
                <c:pt idx="206">
                  <c:v>1.2531299999999974</c:v>
                </c:pt>
                <c:pt idx="207">
                  <c:v>1.25515</c:v>
                </c:pt>
                <c:pt idx="208">
                  <c:v>1.26034</c:v>
                </c:pt>
                <c:pt idx="209">
                  <c:v>1.2424899999999999</c:v>
                </c:pt>
                <c:pt idx="210">
                  <c:v>1.2415399999999974</c:v>
                </c:pt>
                <c:pt idx="211">
                  <c:v>1.24098</c:v>
                </c:pt>
                <c:pt idx="212">
                  <c:v>1.2293399999999974</c:v>
                </c:pt>
                <c:pt idx="213">
                  <c:v>1.2243199999999999</c:v>
                </c:pt>
                <c:pt idx="214">
                  <c:v>1.2158999999999962</c:v>
                </c:pt>
                <c:pt idx="215">
                  <c:v>1.2172099999999975</c:v>
                </c:pt>
                <c:pt idx="216">
                  <c:v>1.2294799999999975</c:v>
                </c:pt>
                <c:pt idx="217">
                  <c:v>1.2063199999999998</c:v>
                </c:pt>
                <c:pt idx="218">
                  <c:v>1.2208999999999974</c:v>
                </c:pt>
                <c:pt idx="219">
                  <c:v>1.22007</c:v>
                </c:pt>
                <c:pt idx="220">
                  <c:v>1.2167999999999974</c:v>
                </c:pt>
                <c:pt idx="221">
                  <c:v>1.2285699999999977</c:v>
                </c:pt>
                <c:pt idx="222">
                  <c:v>1.2192299999999971</c:v>
                </c:pt>
                <c:pt idx="223">
                  <c:v>1.2210099999999977</c:v>
                </c:pt>
                <c:pt idx="224">
                  <c:v>1.2097799999999974</c:v>
                </c:pt>
                <c:pt idx="225">
                  <c:v>1.2066699999999975</c:v>
                </c:pt>
                <c:pt idx="226">
                  <c:v>1.2209299999999974</c:v>
                </c:pt>
                <c:pt idx="227">
                  <c:v>1.2092699999999974</c:v>
                </c:pt>
                <c:pt idx="228">
                  <c:v>1.2041299999999975</c:v>
                </c:pt>
                <c:pt idx="229">
                  <c:v>1.21418</c:v>
                </c:pt>
                <c:pt idx="230">
                  <c:v>1.2106299999999974</c:v>
                </c:pt>
                <c:pt idx="231">
                  <c:v>1.2113199999999977</c:v>
                </c:pt>
                <c:pt idx="232">
                  <c:v>1.20475</c:v>
                </c:pt>
                <c:pt idx="233">
                  <c:v>1.1957199999999999</c:v>
                </c:pt>
                <c:pt idx="234">
                  <c:v>1.1826399999999999</c:v>
                </c:pt>
                <c:pt idx="235">
                  <c:v>1.1933400000000001</c:v>
                </c:pt>
                <c:pt idx="236">
                  <c:v>1.19574</c:v>
                </c:pt>
                <c:pt idx="237">
                  <c:v>1.2042199999999998</c:v>
                </c:pt>
                <c:pt idx="238">
                  <c:v>1.2187599999999998</c:v>
                </c:pt>
                <c:pt idx="239">
                  <c:v>1.2316199999999977</c:v>
                </c:pt>
                <c:pt idx="240">
                  <c:v>1.23291</c:v>
                </c:pt>
                <c:pt idx="241">
                  <c:v>1.2129899999999998</c:v>
                </c:pt>
                <c:pt idx="242">
                  <c:v>1.2017899999999975</c:v>
                </c:pt>
                <c:pt idx="243">
                  <c:v>1.2128099999999977</c:v>
                </c:pt>
                <c:pt idx="244">
                  <c:v>1.1932</c:v>
                </c:pt>
                <c:pt idx="245">
                  <c:v>1.17266</c:v>
                </c:pt>
                <c:pt idx="246">
                  <c:v>1.16059</c:v>
                </c:pt>
                <c:pt idx="247">
                  <c:v>1.1580999999999999</c:v>
                </c:pt>
                <c:pt idx="248">
                  <c:v>1.15429</c:v>
                </c:pt>
                <c:pt idx="249">
                  <c:v>1.15384</c:v>
                </c:pt>
                <c:pt idx="250">
                  <c:v>1.15387</c:v>
                </c:pt>
                <c:pt idx="251">
                  <c:v>1.1663999999999999</c:v>
                </c:pt>
                <c:pt idx="252">
                  <c:v>1.1652800000000001</c:v>
                </c:pt>
                <c:pt idx="253">
                  <c:v>1.1755800000000001</c:v>
                </c:pt>
                <c:pt idx="254">
                  <c:v>1.1761800000000024</c:v>
                </c:pt>
                <c:pt idx="255">
                  <c:v>1.1588499999999999</c:v>
                </c:pt>
                <c:pt idx="256">
                  <c:v>1.16273</c:v>
                </c:pt>
                <c:pt idx="257">
                  <c:v>1.15157</c:v>
                </c:pt>
                <c:pt idx="258">
                  <c:v>1.14849</c:v>
                </c:pt>
                <c:pt idx="259">
                  <c:v>1.13114</c:v>
                </c:pt>
                <c:pt idx="260">
                  <c:v>1.11649</c:v>
                </c:pt>
                <c:pt idx="261">
                  <c:v>1.0827</c:v>
                </c:pt>
                <c:pt idx="262">
                  <c:v>1.1033299999999975</c:v>
                </c:pt>
                <c:pt idx="263">
                  <c:v>1.0763499999999999</c:v>
                </c:pt>
                <c:pt idx="264">
                  <c:v>1.09541</c:v>
                </c:pt>
                <c:pt idx="265">
                  <c:v>1.07054</c:v>
                </c:pt>
                <c:pt idx="266">
                  <c:v>1.0363800000000001</c:v>
                </c:pt>
                <c:pt idx="267">
                  <c:v>1.0300199999999999</c:v>
                </c:pt>
                <c:pt idx="268">
                  <c:v>1.0844</c:v>
                </c:pt>
                <c:pt idx="269">
                  <c:v>1.1085700000000001</c:v>
                </c:pt>
                <c:pt idx="270">
                  <c:v>1.13289</c:v>
                </c:pt>
                <c:pt idx="271">
                  <c:v>1.14649</c:v>
                </c:pt>
                <c:pt idx="272">
                  <c:v>1.1398299999999975</c:v>
                </c:pt>
                <c:pt idx="273">
                  <c:v>1.13802</c:v>
                </c:pt>
                <c:pt idx="274">
                  <c:v>1.13026</c:v>
                </c:pt>
                <c:pt idx="275">
                  <c:v>1.13469</c:v>
                </c:pt>
                <c:pt idx="276">
                  <c:v>1.1442700000000001</c:v>
                </c:pt>
                <c:pt idx="277">
                  <c:v>1.14723</c:v>
                </c:pt>
                <c:pt idx="278">
                  <c:v>1.1403399999999999</c:v>
                </c:pt>
                <c:pt idx="279">
                  <c:v>1.16899</c:v>
                </c:pt>
                <c:pt idx="280">
                  <c:v>1.1838299999999977</c:v>
                </c:pt>
                <c:pt idx="281">
                  <c:v>1.1844300000000001</c:v>
                </c:pt>
                <c:pt idx="282">
                  <c:v>1.1585500000000022</c:v>
                </c:pt>
                <c:pt idx="283">
                  <c:v>1.1344099999999999</c:v>
                </c:pt>
                <c:pt idx="284">
                  <c:v>1.1201000000000001</c:v>
                </c:pt>
                <c:pt idx="285">
                  <c:v>1.10971</c:v>
                </c:pt>
                <c:pt idx="286">
                  <c:v>1.20685</c:v>
                </c:pt>
                <c:pt idx="287">
                  <c:v>1.2089299999999972</c:v>
                </c:pt>
                <c:pt idx="288">
                  <c:v>1.2152499999999977</c:v>
                </c:pt>
                <c:pt idx="289">
                  <c:v>1.2068299999999974</c:v>
                </c:pt>
                <c:pt idx="290">
                  <c:v>1.2040999999999977</c:v>
                </c:pt>
                <c:pt idx="291">
                  <c:v>1.2041999999999977</c:v>
                </c:pt>
                <c:pt idx="292">
                  <c:v>1.2048099999999977</c:v>
                </c:pt>
                <c:pt idx="293">
                  <c:v>1.2064599999999999</c:v>
                </c:pt>
                <c:pt idx="294">
                  <c:v>1.20861</c:v>
                </c:pt>
                <c:pt idx="295">
                  <c:v>1.2071299999999971</c:v>
                </c:pt>
                <c:pt idx="296">
                  <c:v>1.2159699999999964</c:v>
                </c:pt>
                <c:pt idx="297">
                  <c:v>1.2214599999999998</c:v>
                </c:pt>
                <c:pt idx="298">
                  <c:v>1.2232599999999998</c:v>
                </c:pt>
                <c:pt idx="299">
                  <c:v>1.2219899999999975</c:v>
                </c:pt>
                <c:pt idx="300">
                  <c:v>1.222299999999997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694272"/>
        <c:axId val="100704256"/>
      </c:lineChart>
      <c:dateAx>
        <c:axId val="100694272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nextTo"/>
        <c:spPr>
          <a:effectLst/>
        </c:spPr>
        <c:txPr>
          <a:bodyPr rot="0"/>
          <a:lstStyle/>
          <a:p>
            <a:pPr rtl="0">
              <a:defRPr sz="1200" b="0" i="0" u="none" strike="noStrike" baseline="0"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0704256"/>
        <c:crosses val="autoZero"/>
        <c:auto val="1"/>
        <c:lblOffset val="100"/>
        <c:baseTimeUnit val="days"/>
      </c:dateAx>
      <c:valAx>
        <c:axId val="100704256"/>
        <c:scaling>
          <c:orientation val="minMax"/>
          <c:max val="1.5"/>
          <c:min val="1"/>
        </c:scaling>
        <c:delete val="0"/>
        <c:axPos val="l"/>
        <c:majorGridlines>
          <c:spPr>
            <a:ln w="3175">
              <a:solidFill>
                <a:srgbClr val="C0C0C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effectLst/>
        </c:spPr>
        <c:txPr>
          <a:bodyPr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0694272"/>
        <c:crosses val="autoZero"/>
        <c:crossBetween val="between"/>
      </c:valAx>
      <c:spPr>
        <a:solidFill>
          <a:srgbClr val="FFFFFF"/>
        </a:solidFill>
        <a:ln w="25400">
          <a:noFill/>
        </a:ln>
      </c:spPr>
    </c:plotArea>
    <c:plotVisOnly val="1"/>
    <c:dispBlanksAs val="gap"/>
    <c:showDLblsOverMax val="0"/>
  </c:chart>
  <c:spPr>
    <a:noFill/>
    <a:ln w="25400">
      <a:noFill/>
    </a:ln>
  </c:spPr>
  <c:txPr>
    <a:bodyPr/>
    <a:lstStyle/>
    <a:p>
      <a:pPr>
        <a:defRPr sz="800"/>
      </a:pPr>
      <a:endParaRPr lang="pl-PL"/>
    </a:p>
  </c:txPr>
  <c:externalData r:id="rId1">
    <c:autoUpdate val="0"/>
  </c:externalData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716227510667307E-2"/>
          <c:y val="4.9310445206925312E-2"/>
          <c:w val="0.82024428510681979"/>
          <c:h val="0.81822690315397584"/>
        </c:manualLayout>
      </c:layout>
      <c:barChart>
        <c:barDir val="col"/>
        <c:grouping val="clustered"/>
        <c:varyColors val="0"/>
        <c:ser>
          <c:idx val="0"/>
          <c:order val="0"/>
          <c:tx>
            <c:v>industrial production YoY (%, LA)</c:v>
          </c:tx>
          <c:spPr>
            <a:solidFill>
              <a:schemeClr val="accent1">
                <a:lumMod val="75000"/>
              </a:schemeClr>
            </a:solidFill>
          </c:spPr>
          <c:invertIfNegative val="0"/>
          <c:cat>
            <c:numRef>
              <c:f>POLAND!$AT$99:$AT$142</c:f>
              <c:numCache>
                <c:formatCode>dd/mm/yy</c:formatCode>
                <c:ptCount val="44"/>
                <c:pt idx="0">
                  <c:v>39478</c:v>
                </c:pt>
                <c:pt idx="1">
                  <c:v>39507</c:v>
                </c:pt>
                <c:pt idx="2">
                  <c:v>39538</c:v>
                </c:pt>
                <c:pt idx="3">
                  <c:v>39568</c:v>
                </c:pt>
                <c:pt idx="4">
                  <c:v>39599</c:v>
                </c:pt>
                <c:pt idx="5">
                  <c:v>39629</c:v>
                </c:pt>
                <c:pt idx="6">
                  <c:v>39660</c:v>
                </c:pt>
                <c:pt idx="7">
                  <c:v>39691</c:v>
                </c:pt>
                <c:pt idx="8">
                  <c:v>39721</c:v>
                </c:pt>
                <c:pt idx="9">
                  <c:v>39752</c:v>
                </c:pt>
                <c:pt idx="10">
                  <c:v>39782</c:v>
                </c:pt>
                <c:pt idx="11">
                  <c:v>39813</c:v>
                </c:pt>
                <c:pt idx="12">
                  <c:v>39844</c:v>
                </c:pt>
                <c:pt idx="13">
                  <c:v>39872</c:v>
                </c:pt>
                <c:pt idx="14">
                  <c:v>39903</c:v>
                </c:pt>
                <c:pt idx="15">
                  <c:v>39933</c:v>
                </c:pt>
                <c:pt idx="16">
                  <c:v>39964</c:v>
                </c:pt>
                <c:pt idx="17">
                  <c:v>39994</c:v>
                </c:pt>
                <c:pt idx="18">
                  <c:v>40025</c:v>
                </c:pt>
                <c:pt idx="19">
                  <c:v>40056</c:v>
                </c:pt>
                <c:pt idx="20">
                  <c:v>40086</c:v>
                </c:pt>
                <c:pt idx="21">
                  <c:v>40117</c:v>
                </c:pt>
                <c:pt idx="22">
                  <c:v>40147</c:v>
                </c:pt>
                <c:pt idx="23">
                  <c:v>40178</c:v>
                </c:pt>
                <c:pt idx="24">
                  <c:v>40209</c:v>
                </c:pt>
                <c:pt idx="25">
                  <c:v>40237</c:v>
                </c:pt>
                <c:pt idx="26">
                  <c:v>40268</c:v>
                </c:pt>
                <c:pt idx="27">
                  <c:v>40298</c:v>
                </c:pt>
                <c:pt idx="28">
                  <c:v>40329</c:v>
                </c:pt>
                <c:pt idx="29">
                  <c:v>40359</c:v>
                </c:pt>
                <c:pt idx="30">
                  <c:v>40390</c:v>
                </c:pt>
                <c:pt idx="31">
                  <c:v>40421</c:v>
                </c:pt>
                <c:pt idx="32">
                  <c:v>40451</c:v>
                </c:pt>
                <c:pt idx="33">
                  <c:v>40482</c:v>
                </c:pt>
                <c:pt idx="34">
                  <c:v>40512</c:v>
                </c:pt>
                <c:pt idx="35">
                  <c:v>40543</c:v>
                </c:pt>
                <c:pt idx="36">
                  <c:v>40574</c:v>
                </c:pt>
                <c:pt idx="37">
                  <c:v>40602</c:v>
                </c:pt>
                <c:pt idx="38">
                  <c:v>40633</c:v>
                </c:pt>
                <c:pt idx="39">
                  <c:v>40663</c:v>
                </c:pt>
                <c:pt idx="40">
                  <c:v>40694</c:v>
                </c:pt>
                <c:pt idx="41">
                  <c:v>40724</c:v>
                </c:pt>
                <c:pt idx="42">
                  <c:v>40755</c:v>
                </c:pt>
                <c:pt idx="43">
                  <c:v>40786</c:v>
                </c:pt>
              </c:numCache>
            </c:numRef>
          </c:cat>
          <c:val>
            <c:numRef>
              <c:f>POLAND!$AU$99:$AU$142</c:f>
              <c:numCache>
                <c:formatCode>General</c:formatCode>
                <c:ptCount val="44"/>
                <c:pt idx="0">
                  <c:v>10.7</c:v>
                </c:pt>
                <c:pt idx="1">
                  <c:v>15</c:v>
                </c:pt>
                <c:pt idx="2">
                  <c:v>1</c:v>
                </c:pt>
                <c:pt idx="3">
                  <c:v>15.1</c:v>
                </c:pt>
                <c:pt idx="4">
                  <c:v>2.4</c:v>
                </c:pt>
                <c:pt idx="5">
                  <c:v>7.3</c:v>
                </c:pt>
                <c:pt idx="6">
                  <c:v>5.9</c:v>
                </c:pt>
                <c:pt idx="7">
                  <c:v>-3.7</c:v>
                </c:pt>
                <c:pt idx="8">
                  <c:v>6.8</c:v>
                </c:pt>
                <c:pt idx="9">
                  <c:v>-0.1</c:v>
                </c:pt>
                <c:pt idx="10">
                  <c:v>-9.2000000000000011</c:v>
                </c:pt>
                <c:pt idx="11">
                  <c:v>-4.4000000000000004</c:v>
                </c:pt>
                <c:pt idx="12">
                  <c:v>-15.3</c:v>
                </c:pt>
                <c:pt idx="13">
                  <c:v>-14.6</c:v>
                </c:pt>
                <c:pt idx="14">
                  <c:v>-1.9000000000000001</c:v>
                </c:pt>
                <c:pt idx="15">
                  <c:v>-12.2</c:v>
                </c:pt>
                <c:pt idx="16">
                  <c:v>-5.2</c:v>
                </c:pt>
                <c:pt idx="17">
                  <c:v>-4.5</c:v>
                </c:pt>
                <c:pt idx="18">
                  <c:v>-4.4000000000000004</c:v>
                </c:pt>
                <c:pt idx="19">
                  <c:v>0.1</c:v>
                </c:pt>
                <c:pt idx="20">
                  <c:v>-1.3</c:v>
                </c:pt>
                <c:pt idx="21">
                  <c:v>-1.3</c:v>
                </c:pt>
                <c:pt idx="22">
                  <c:v>9.9</c:v>
                </c:pt>
                <c:pt idx="23">
                  <c:v>7.4</c:v>
                </c:pt>
                <c:pt idx="24">
                  <c:v>8.5</c:v>
                </c:pt>
                <c:pt idx="25">
                  <c:v>9.2000000000000011</c:v>
                </c:pt>
                <c:pt idx="26">
                  <c:v>12.5</c:v>
                </c:pt>
                <c:pt idx="27">
                  <c:v>9.7000000000000011</c:v>
                </c:pt>
                <c:pt idx="28">
                  <c:v>13.5</c:v>
                </c:pt>
                <c:pt idx="29">
                  <c:v>14.3</c:v>
                </c:pt>
                <c:pt idx="30">
                  <c:v>10.5</c:v>
                </c:pt>
                <c:pt idx="31">
                  <c:v>13.6</c:v>
                </c:pt>
                <c:pt idx="32">
                  <c:v>11.8</c:v>
                </c:pt>
                <c:pt idx="33">
                  <c:v>8</c:v>
                </c:pt>
                <c:pt idx="34">
                  <c:v>10</c:v>
                </c:pt>
                <c:pt idx="35">
                  <c:v>11.4</c:v>
                </c:pt>
                <c:pt idx="36">
                  <c:v>10.3</c:v>
                </c:pt>
                <c:pt idx="37">
                  <c:v>10.7</c:v>
                </c:pt>
                <c:pt idx="38">
                  <c:v>7</c:v>
                </c:pt>
                <c:pt idx="39">
                  <c:v>6.6</c:v>
                </c:pt>
                <c:pt idx="40">
                  <c:v>7.7</c:v>
                </c:pt>
                <c:pt idx="41">
                  <c:v>2</c:v>
                </c:pt>
                <c:pt idx="42">
                  <c:v>1.8</c:v>
                </c:pt>
                <c:pt idx="43">
                  <c:v>8.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8"/>
        <c:axId val="100735232"/>
        <c:axId val="100737024"/>
      </c:barChart>
      <c:lineChart>
        <c:grouping val="standard"/>
        <c:varyColors val="0"/>
        <c:ser>
          <c:idx val="1"/>
          <c:order val="1"/>
          <c:tx>
            <c:v>PMI (pts., RA)</c:v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val>
            <c:numRef>
              <c:f>[5]dane!$P$20:$P$63</c:f>
              <c:numCache>
                <c:formatCode>0.0</c:formatCode>
                <c:ptCount val="44"/>
                <c:pt idx="0">
                  <c:v>51.9</c:v>
                </c:pt>
                <c:pt idx="1">
                  <c:v>53.1</c:v>
                </c:pt>
                <c:pt idx="2">
                  <c:v>52.4</c:v>
                </c:pt>
                <c:pt idx="3">
                  <c:v>50.6</c:v>
                </c:pt>
                <c:pt idx="4">
                  <c:v>49.3</c:v>
                </c:pt>
                <c:pt idx="5">
                  <c:v>47.9</c:v>
                </c:pt>
                <c:pt idx="6">
                  <c:v>46.4</c:v>
                </c:pt>
                <c:pt idx="7">
                  <c:v>45.8</c:v>
                </c:pt>
                <c:pt idx="8">
                  <c:v>44.9</c:v>
                </c:pt>
                <c:pt idx="9">
                  <c:v>43.7</c:v>
                </c:pt>
                <c:pt idx="10">
                  <c:v>40.5</c:v>
                </c:pt>
                <c:pt idx="11">
                  <c:v>38.300000000000004</c:v>
                </c:pt>
                <c:pt idx="12">
                  <c:v>40.300000000000004</c:v>
                </c:pt>
                <c:pt idx="13">
                  <c:v>40.800000000000004</c:v>
                </c:pt>
                <c:pt idx="14">
                  <c:v>42.2</c:v>
                </c:pt>
                <c:pt idx="15">
                  <c:v>42.1</c:v>
                </c:pt>
                <c:pt idx="16">
                  <c:v>42.5</c:v>
                </c:pt>
                <c:pt idx="17">
                  <c:v>43</c:v>
                </c:pt>
                <c:pt idx="18">
                  <c:v>46.5</c:v>
                </c:pt>
                <c:pt idx="19">
                  <c:v>48.2</c:v>
                </c:pt>
                <c:pt idx="20">
                  <c:v>48.2</c:v>
                </c:pt>
                <c:pt idx="21">
                  <c:v>48.8</c:v>
                </c:pt>
                <c:pt idx="22">
                  <c:v>52.4</c:v>
                </c:pt>
                <c:pt idx="23">
                  <c:v>52.4</c:v>
                </c:pt>
                <c:pt idx="24">
                  <c:v>51</c:v>
                </c:pt>
                <c:pt idx="25">
                  <c:v>52.4</c:v>
                </c:pt>
                <c:pt idx="26">
                  <c:v>52.5</c:v>
                </c:pt>
                <c:pt idx="27">
                  <c:v>52.5</c:v>
                </c:pt>
                <c:pt idx="28">
                  <c:v>52.2</c:v>
                </c:pt>
                <c:pt idx="29">
                  <c:v>53.3</c:v>
                </c:pt>
                <c:pt idx="30">
                  <c:v>52.1</c:v>
                </c:pt>
                <c:pt idx="31">
                  <c:v>53.8</c:v>
                </c:pt>
                <c:pt idx="32">
                  <c:v>54.7</c:v>
                </c:pt>
                <c:pt idx="33">
                  <c:v>55.6</c:v>
                </c:pt>
                <c:pt idx="34" formatCode="General">
                  <c:v>55.9</c:v>
                </c:pt>
                <c:pt idx="35" formatCode="General">
                  <c:v>56.3</c:v>
                </c:pt>
                <c:pt idx="36" formatCode="General">
                  <c:v>55.6</c:v>
                </c:pt>
                <c:pt idx="37" formatCode="General">
                  <c:v>53.8</c:v>
                </c:pt>
                <c:pt idx="38" formatCode="General">
                  <c:v>54.8</c:v>
                </c:pt>
                <c:pt idx="39" formatCode="General">
                  <c:v>54.4</c:v>
                </c:pt>
                <c:pt idx="40" formatCode="General">
                  <c:v>52.6</c:v>
                </c:pt>
                <c:pt idx="41" formatCode="General">
                  <c:v>51.2</c:v>
                </c:pt>
                <c:pt idx="42" formatCode="General">
                  <c:v>52.9</c:v>
                </c:pt>
                <c:pt idx="43" formatCode="General">
                  <c:v>51.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740096"/>
        <c:axId val="100738560"/>
      </c:lineChart>
      <c:dateAx>
        <c:axId val="100735232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low"/>
        <c:txPr>
          <a:bodyPr rot="0"/>
          <a:lstStyle/>
          <a:p>
            <a:pPr>
              <a:defRPr/>
            </a:pPr>
            <a:endParaRPr lang="pl-PL"/>
          </a:p>
        </c:txPr>
        <c:crossAx val="100737024"/>
        <c:crosses val="autoZero"/>
        <c:auto val="1"/>
        <c:lblOffset val="100"/>
        <c:baseTimeUnit val="months"/>
      </c:dateAx>
      <c:valAx>
        <c:axId val="100737024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 b="1">
                <a:solidFill>
                  <a:srgbClr val="376092"/>
                </a:solidFill>
              </a:defRPr>
            </a:pPr>
            <a:endParaRPr lang="pl-PL"/>
          </a:p>
        </c:txPr>
        <c:crossAx val="100735232"/>
        <c:crosses val="autoZero"/>
        <c:crossBetween val="between"/>
      </c:valAx>
      <c:valAx>
        <c:axId val="100738560"/>
        <c:scaling>
          <c:orientation val="minMax"/>
          <c:min val="30"/>
        </c:scaling>
        <c:delete val="0"/>
        <c:axPos val="r"/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1050" b="1">
                <a:solidFill>
                  <a:srgbClr val="FF3300"/>
                </a:solidFill>
              </a:defRPr>
            </a:pPr>
            <a:endParaRPr lang="pl-PL"/>
          </a:p>
        </c:txPr>
        <c:crossAx val="100740096"/>
        <c:crosses val="max"/>
        <c:crossBetween val="between"/>
      </c:valAx>
      <c:catAx>
        <c:axId val="100740096"/>
        <c:scaling>
          <c:orientation val="minMax"/>
        </c:scaling>
        <c:delete val="1"/>
        <c:axPos val="b"/>
        <c:majorTickMark val="out"/>
        <c:minorTickMark val="none"/>
        <c:tickLblPos val="none"/>
        <c:crossAx val="100738560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>
          <a:latin typeface="Tahoma" pitchFamily="34" charset="0"/>
          <a:cs typeface="Tahoma" pitchFamily="34" charset="0"/>
        </a:defRPr>
      </a:pPr>
      <a:endParaRPr lang="pl-PL"/>
    </a:p>
  </c:txPr>
  <c:externalData r:id="rId1">
    <c:autoUpdate val="0"/>
  </c:externalData>
  <c:userShapes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 b="1" i="0" u="none" strike="noStrike" baseline="0">
                <a:latin typeface="Tahoma"/>
                <a:ea typeface="Tahoma"/>
                <a:cs typeface="Tahoma"/>
              </a:defRPr>
            </a:pPr>
            <a:r>
              <a:rPr lang="pl-PL" sz="1200" b="1" i="0" u="none" strike="noStrike" baseline="0"/>
              <a:t>Cumulated employment growth, in thou.</a:t>
            </a:r>
            <a:endParaRPr lang="pl-PL" sz="1200" b="1"/>
          </a:p>
        </c:rich>
      </c:tx>
      <c:layout>
        <c:manualLayout>
          <c:xMode val="edge"/>
          <c:yMode val="edge"/>
          <c:x val="0.12094113671589632"/>
          <c:y val="2.7777777777777891E-2"/>
        </c:manualLayout>
      </c:layout>
      <c:overlay val="1"/>
      <c:spPr>
        <a:ln w="25400"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9.2988407699037615E-2"/>
          <c:y val="0.11972516583028518"/>
          <c:w val="0.89063684167274548"/>
          <c:h val="0.67195253303067393"/>
        </c:manualLayout>
      </c:layout>
      <c:lineChart>
        <c:grouping val="standard"/>
        <c:varyColors val="0"/>
        <c:ser>
          <c:idx val="0"/>
          <c:order val="0"/>
          <c:tx>
            <c:v>2010</c:v>
          </c:tx>
          <c:spPr>
            <a:ln w="38100">
              <a:solidFill>
                <a:srgbClr val="0096EF"/>
              </a:solidFill>
              <a:prstDash val="solid"/>
            </a:ln>
          </c:spPr>
          <c:marker>
            <c:symbol val="none"/>
          </c:marker>
          <c:cat>
            <c:numRef>
              <c:f>Dane_PKB2007!$K$56:$K$63</c:f>
              <c:numCache>
                <c:formatCode>General</c:formatCode>
                <c:ptCount val="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</c:numCache>
            </c:numRef>
          </c:cat>
          <c:val>
            <c:numRef>
              <c:f>Dane_PKB2007!$I$56:$I$63</c:f>
              <c:numCache>
                <c:formatCode>#,##0.0</c:formatCode>
                <c:ptCount val="8"/>
                <c:pt idx="0" formatCode="General">
                  <c:v>0</c:v>
                </c:pt>
                <c:pt idx="1">
                  <c:v>-8.3000000000001837</c:v>
                </c:pt>
                <c:pt idx="2">
                  <c:v>-7.6000000000003638</c:v>
                </c:pt>
                <c:pt idx="3">
                  <c:v>7</c:v>
                </c:pt>
                <c:pt idx="4">
                  <c:v>18.399999999999636</c:v>
                </c:pt>
                <c:pt idx="5">
                  <c:v>34.899999999999636</c:v>
                </c:pt>
                <c:pt idx="6">
                  <c:v>48.300000000000175</c:v>
                </c:pt>
                <c:pt idx="7">
                  <c:v>50.800000000000175</c:v>
                </c:pt>
              </c:numCache>
            </c:numRef>
          </c:val>
          <c:smooth val="0"/>
        </c:ser>
        <c:ser>
          <c:idx val="1"/>
          <c:order val="1"/>
          <c:tx>
            <c:v>2011</c:v>
          </c:tx>
          <c:spPr>
            <a:ln w="38100">
              <a:solidFill>
                <a:srgbClr val="DC1D1D"/>
              </a:solidFill>
              <a:prstDash val="solid"/>
            </a:ln>
          </c:spPr>
          <c:marker>
            <c:symbol val="none"/>
          </c:marker>
          <c:cat>
            <c:numRef>
              <c:f>Dane_PKB2007!$K$56:$K$63</c:f>
              <c:numCache>
                <c:formatCode>General</c:formatCode>
                <c:ptCount val="8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</c:numCache>
            </c:numRef>
          </c:cat>
          <c:val>
            <c:numRef>
              <c:f>Dane_PKB2007!$J$56:$J$63</c:f>
              <c:numCache>
                <c:formatCode>#,##0.0</c:formatCode>
                <c:ptCount val="8"/>
                <c:pt idx="0" formatCode="General">
                  <c:v>0</c:v>
                </c:pt>
                <c:pt idx="1">
                  <c:v>11.800000000000182</c:v>
                </c:pt>
                <c:pt idx="2">
                  <c:v>7.4000000000005484</c:v>
                </c:pt>
                <c:pt idx="3">
                  <c:v>12.69999999999982</c:v>
                </c:pt>
                <c:pt idx="4">
                  <c:v>12.300000000000182</c:v>
                </c:pt>
                <c:pt idx="5">
                  <c:v>25.300000000000185</c:v>
                </c:pt>
                <c:pt idx="6">
                  <c:v>26.900000000000546</c:v>
                </c:pt>
                <c:pt idx="7">
                  <c:v>1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786176"/>
        <c:axId val="100787712"/>
      </c:lineChart>
      <c:catAx>
        <c:axId val="1007861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effectLst/>
        </c:spPr>
        <c:txPr>
          <a:bodyPr rot="0" vert="horz"/>
          <a:lstStyle/>
          <a:p>
            <a:pPr rtl="0">
              <a:defRPr sz="1200" b="0" i="0" u="none" strike="noStrike" baseline="0"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0787712"/>
        <c:crosses val="autoZero"/>
        <c:auto val="1"/>
        <c:lblAlgn val="ctr"/>
        <c:lblOffset val="100"/>
        <c:noMultiLvlLbl val="0"/>
      </c:catAx>
      <c:valAx>
        <c:axId val="100787712"/>
        <c:scaling>
          <c:orientation val="minMax"/>
        </c:scaling>
        <c:delete val="0"/>
        <c:axPos val="l"/>
        <c:majorGridlines>
          <c:spPr>
            <a:ln w="3175">
              <a:solidFill>
                <a:srgbClr val="C0C0C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effectLst/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0786176"/>
        <c:crosses val="autoZero"/>
        <c:crossBetween val="between"/>
      </c:valAx>
      <c:spPr>
        <a:solidFill>
          <a:srgbClr val="FFFFFF"/>
        </a:solidFill>
        <a:ln w="25400">
          <a:noFill/>
        </a:ln>
      </c:spPr>
    </c:plotArea>
    <c:legend>
      <c:legendPos val="b"/>
      <c:layout>
        <c:manualLayout>
          <c:xMode val="edge"/>
          <c:yMode val="edge"/>
          <c:x val="0.31790565141165728"/>
          <c:y val="0.9047474712835688"/>
          <c:w val="0.38327589148011132"/>
          <c:h val="9.5252528716432597E-2"/>
        </c:manualLayout>
      </c:layout>
      <c:overlay val="0"/>
      <c:spPr>
        <a:ln w="25400">
          <a:noFill/>
        </a:ln>
        <a:effectLst/>
      </c:spPr>
      <c:txPr>
        <a:bodyPr/>
        <a:lstStyle/>
        <a:p>
          <a:pPr>
            <a:defRPr sz="1200" b="0" i="0" u="none" strike="noStrike" baseline="0">
              <a:latin typeface="Tahoma"/>
              <a:ea typeface="Tahoma"/>
              <a:cs typeface="Tahoma"/>
            </a:defRPr>
          </a:pPr>
          <a:endParaRPr lang="pl-PL"/>
        </a:p>
      </c:txPr>
    </c:legend>
    <c:plotVisOnly val="1"/>
    <c:dispBlanksAs val="gap"/>
    <c:showDLblsOverMax val="0"/>
  </c:chart>
  <c:spPr>
    <a:noFill/>
    <a:ln w="25400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pl-PL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>
                <a:latin typeface="Tahoma" pitchFamily="34" charset="0"/>
                <a:cs typeface="Tahoma" pitchFamily="34" charset="0"/>
              </a:defRPr>
            </a:pPr>
            <a:r>
              <a:rPr lang="en-US" sz="1200">
                <a:latin typeface="Tahoma" pitchFamily="34" charset="0"/>
                <a:cs typeface="Tahoma" pitchFamily="34" charset="0"/>
              </a:rPr>
              <a:t>Retail sales YoY (%)</a:t>
            </a:r>
          </a:p>
        </c:rich>
      </c:tx>
      <c:layout>
        <c:manualLayout>
          <c:xMode val="edge"/>
          <c:yMode val="edge"/>
          <c:x val="0.31825699912511668"/>
          <c:y val="5.0925925925925923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75000"/>
              </a:schemeClr>
            </a:solidFill>
          </c:spPr>
          <c:invertIfNegative val="0"/>
          <c:cat>
            <c:numRef>
              <c:f>POLAND!$D$87:$D$145</c:f>
              <c:numCache>
                <c:formatCode>dd/mm/yy</c:formatCode>
                <c:ptCount val="59"/>
                <c:pt idx="0">
                  <c:v>39113</c:v>
                </c:pt>
                <c:pt idx="1">
                  <c:v>39141</c:v>
                </c:pt>
                <c:pt idx="2">
                  <c:v>39172</c:v>
                </c:pt>
                <c:pt idx="3">
                  <c:v>39202</c:v>
                </c:pt>
                <c:pt idx="4">
                  <c:v>39233</c:v>
                </c:pt>
                <c:pt idx="5">
                  <c:v>39263</c:v>
                </c:pt>
                <c:pt idx="6">
                  <c:v>39294</c:v>
                </c:pt>
                <c:pt idx="7">
                  <c:v>39325</c:v>
                </c:pt>
                <c:pt idx="8">
                  <c:v>39355</c:v>
                </c:pt>
                <c:pt idx="9">
                  <c:v>39386</c:v>
                </c:pt>
                <c:pt idx="10">
                  <c:v>39416</c:v>
                </c:pt>
                <c:pt idx="11">
                  <c:v>39447</c:v>
                </c:pt>
                <c:pt idx="12">
                  <c:v>39478</c:v>
                </c:pt>
                <c:pt idx="13">
                  <c:v>39507</c:v>
                </c:pt>
                <c:pt idx="14">
                  <c:v>39538</c:v>
                </c:pt>
                <c:pt idx="15">
                  <c:v>39568</c:v>
                </c:pt>
                <c:pt idx="16">
                  <c:v>39599</c:v>
                </c:pt>
                <c:pt idx="17">
                  <c:v>39629</c:v>
                </c:pt>
                <c:pt idx="18">
                  <c:v>39660</c:v>
                </c:pt>
                <c:pt idx="19">
                  <c:v>39691</c:v>
                </c:pt>
                <c:pt idx="20">
                  <c:v>39721</c:v>
                </c:pt>
                <c:pt idx="21">
                  <c:v>39752</c:v>
                </c:pt>
                <c:pt idx="22">
                  <c:v>39782</c:v>
                </c:pt>
                <c:pt idx="23">
                  <c:v>39813</c:v>
                </c:pt>
                <c:pt idx="24">
                  <c:v>39844</c:v>
                </c:pt>
                <c:pt idx="25">
                  <c:v>39872</c:v>
                </c:pt>
                <c:pt idx="26">
                  <c:v>39903</c:v>
                </c:pt>
                <c:pt idx="27">
                  <c:v>39933</c:v>
                </c:pt>
                <c:pt idx="28">
                  <c:v>39964</c:v>
                </c:pt>
                <c:pt idx="29">
                  <c:v>39994</c:v>
                </c:pt>
                <c:pt idx="30">
                  <c:v>40025</c:v>
                </c:pt>
                <c:pt idx="31">
                  <c:v>40056</c:v>
                </c:pt>
                <c:pt idx="32">
                  <c:v>40086</c:v>
                </c:pt>
                <c:pt idx="33">
                  <c:v>40117</c:v>
                </c:pt>
                <c:pt idx="34">
                  <c:v>40147</c:v>
                </c:pt>
                <c:pt idx="35">
                  <c:v>40178</c:v>
                </c:pt>
                <c:pt idx="36">
                  <c:v>40209</c:v>
                </c:pt>
                <c:pt idx="37">
                  <c:v>40237</c:v>
                </c:pt>
                <c:pt idx="38">
                  <c:v>40268</c:v>
                </c:pt>
                <c:pt idx="39">
                  <c:v>40298</c:v>
                </c:pt>
                <c:pt idx="40">
                  <c:v>40329</c:v>
                </c:pt>
                <c:pt idx="41">
                  <c:v>40359</c:v>
                </c:pt>
                <c:pt idx="42">
                  <c:v>40390</c:v>
                </c:pt>
                <c:pt idx="43">
                  <c:v>40421</c:v>
                </c:pt>
                <c:pt idx="44">
                  <c:v>40451</c:v>
                </c:pt>
                <c:pt idx="45">
                  <c:v>40482</c:v>
                </c:pt>
                <c:pt idx="46">
                  <c:v>40512</c:v>
                </c:pt>
                <c:pt idx="47">
                  <c:v>40543</c:v>
                </c:pt>
                <c:pt idx="48">
                  <c:v>40574</c:v>
                </c:pt>
                <c:pt idx="49">
                  <c:v>40602</c:v>
                </c:pt>
                <c:pt idx="50">
                  <c:v>40633</c:v>
                </c:pt>
                <c:pt idx="51">
                  <c:v>40663</c:v>
                </c:pt>
                <c:pt idx="52">
                  <c:v>40694</c:v>
                </c:pt>
                <c:pt idx="53">
                  <c:v>40724</c:v>
                </c:pt>
                <c:pt idx="54">
                  <c:v>40755</c:v>
                </c:pt>
                <c:pt idx="55">
                  <c:v>40786</c:v>
                </c:pt>
              </c:numCache>
            </c:numRef>
          </c:cat>
          <c:val>
            <c:numRef>
              <c:f>POLAND!$E$87:$E$145</c:f>
              <c:numCache>
                <c:formatCode>General</c:formatCode>
                <c:ptCount val="59"/>
                <c:pt idx="0">
                  <c:v>16.5</c:v>
                </c:pt>
                <c:pt idx="1">
                  <c:v>17.5</c:v>
                </c:pt>
                <c:pt idx="2">
                  <c:v>19.2</c:v>
                </c:pt>
                <c:pt idx="3">
                  <c:v>15.1</c:v>
                </c:pt>
                <c:pt idx="4">
                  <c:v>14.8</c:v>
                </c:pt>
                <c:pt idx="5">
                  <c:v>16.2</c:v>
                </c:pt>
                <c:pt idx="6">
                  <c:v>17.100000000000001</c:v>
                </c:pt>
                <c:pt idx="7">
                  <c:v>17.399999999999999</c:v>
                </c:pt>
                <c:pt idx="8">
                  <c:v>14.2</c:v>
                </c:pt>
                <c:pt idx="9">
                  <c:v>19.399999999999999</c:v>
                </c:pt>
                <c:pt idx="10">
                  <c:v>19.2</c:v>
                </c:pt>
                <c:pt idx="11">
                  <c:v>12.4</c:v>
                </c:pt>
                <c:pt idx="12">
                  <c:v>20.9</c:v>
                </c:pt>
                <c:pt idx="13">
                  <c:v>23.8</c:v>
                </c:pt>
                <c:pt idx="14">
                  <c:v>15.7</c:v>
                </c:pt>
                <c:pt idx="15">
                  <c:v>17.600000000000001</c:v>
                </c:pt>
                <c:pt idx="16">
                  <c:v>14.9</c:v>
                </c:pt>
                <c:pt idx="17">
                  <c:v>14.2</c:v>
                </c:pt>
                <c:pt idx="18">
                  <c:v>14.3</c:v>
                </c:pt>
                <c:pt idx="19">
                  <c:v>7.7</c:v>
                </c:pt>
                <c:pt idx="20">
                  <c:v>11.6</c:v>
                </c:pt>
                <c:pt idx="21">
                  <c:v>7.9</c:v>
                </c:pt>
                <c:pt idx="22">
                  <c:v>2.7</c:v>
                </c:pt>
                <c:pt idx="23">
                  <c:v>6.6</c:v>
                </c:pt>
                <c:pt idx="24">
                  <c:v>1.3</c:v>
                </c:pt>
                <c:pt idx="25">
                  <c:v>-1.6</c:v>
                </c:pt>
                <c:pt idx="26">
                  <c:v>-0.8</c:v>
                </c:pt>
                <c:pt idx="27">
                  <c:v>1</c:v>
                </c:pt>
                <c:pt idx="28">
                  <c:v>1.1000000000000001</c:v>
                </c:pt>
                <c:pt idx="29">
                  <c:v>0.9</c:v>
                </c:pt>
                <c:pt idx="30">
                  <c:v>5.7</c:v>
                </c:pt>
                <c:pt idx="31">
                  <c:v>5.2</c:v>
                </c:pt>
                <c:pt idx="32">
                  <c:v>2.5</c:v>
                </c:pt>
                <c:pt idx="33">
                  <c:v>2.1</c:v>
                </c:pt>
                <c:pt idx="34">
                  <c:v>6.3</c:v>
                </c:pt>
                <c:pt idx="35">
                  <c:v>7.2</c:v>
                </c:pt>
                <c:pt idx="36">
                  <c:v>2.5</c:v>
                </c:pt>
                <c:pt idx="37">
                  <c:v>0.1</c:v>
                </c:pt>
                <c:pt idx="38">
                  <c:v>8.7000000000000011</c:v>
                </c:pt>
                <c:pt idx="39">
                  <c:v>-1.6</c:v>
                </c:pt>
                <c:pt idx="40">
                  <c:v>4.3</c:v>
                </c:pt>
                <c:pt idx="41">
                  <c:v>6.4</c:v>
                </c:pt>
                <c:pt idx="42">
                  <c:v>3.9</c:v>
                </c:pt>
                <c:pt idx="43">
                  <c:v>6.6</c:v>
                </c:pt>
                <c:pt idx="44">
                  <c:v>8.6</c:v>
                </c:pt>
                <c:pt idx="45">
                  <c:v>9</c:v>
                </c:pt>
                <c:pt idx="46">
                  <c:v>8.3000000000000007</c:v>
                </c:pt>
                <c:pt idx="47">
                  <c:v>12</c:v>
                </c:pt>
                <c:pt idx="48">
                  <c:v>5.8</c:v>
                </c:pt>
                <c:pt idx="49">
                  <c:v>12.2</c:v>
                </c:pt>
                <c:pt idx="50">
                  <c:v>9.4</c:v>
                </c:pt>
                <c:pt idx="51">
                  <c:v>18.600000000000001</c:v>
                </c:pt>
                <c:pt idx="52">
                  <c:v>13.8</c:v>
                </c:pt>
                <c:pt idx="53">
                  <c:v>10.9</c:v>
                </c:pt>
                <c:pt idx="54">
                  <c:v>8.2000000000000011</c:v>
                </c:pt>
                <c:pt idx="55">
                  <c:v>11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3"/>
        <c:axId val="101112832"/>
        <c:axId val="101118720"/>
      </c:barChart>
      <c:dateAx>
        <c:axId val="101112832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low"/>
        <c:txPr>
          <a:bodyPr rot="0"/>
          <a:lstStyle/>
          <a:p>
            <a:pPr>
              <a:defRPr sz="800">
                <a:latin typeface="Tahoma" pitchFamily="34" charset="0"/>
                <a:cs typeface="Tahoma" pitchFamily="34" charset="0"/>
              </a:defRPr>
            </a:pPr>
            <a:endParaRPr lang="pl-PL"/>
          </a:p>
        </c:txPr>
        <c:crossAx val="101118720"/>
        <c:crosses val="autoZero"/>
        <c:auto val="1"/>
        <c:lblOffset val="100"/>
        <c:baseTimeUnit val="months"/>
      </c:dateAx>
      <c:valAx>
        <c:axId val="101118720"/>
        <c:scaling>
          <c:orientation val="minMax"/>
          <c:max val="25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800">
                <a:latin typeface="Tahoma" pitchFamily="34" charset="0"/>
                <a:cs typeface="Tahoma" pitchFamily="34" charset="0"/>
              </a:defRPr>
            </a:pPr>
            <a:endParaRPr lang="pl-PL"/>
          </a:p>
        </c:txPr>
        <c:crossAx val="101112832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en-US" sz="1200"/>
              <a:t>Wages YoY (%)</a:t>
            </a:r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75000"/>
              </a:schemeClr>
            </a:solidFill>
          </c:spPr>
          <c:invertIfNegative val="0"/>
          <c:cat>
            <c:numRef>
              <c:f>POLAND!$J$87:$J$140</c:f>
              <c:numCache>
                <c:formatCode>dd/mm/yy</c:formatCode>
                <c:ptCount val="54"/>
                <c:pt idx="0">
                  <c:v>39113</c:v>
                </c:pt>
                <c:pt idx="1">
                  <c:v>39141</c:v>
                </c:pt>
                <c:pt idx="2">
                  <c:v>39172</c:v>
                </c:pt>
                <c:pt idx="3">
                  <c:v>39202</c:v>
                </c:pt>
                <c:pt idx="4">
                  <c:v>39233</c:v>
                </c:pt>
                <c:pt idx="5">
                  <c:v>39263</c:v>
                </c:pt>
                <c:pt idx="6">
                  <c:v>39294</c:v>
                </c:pt>
                <c:pt idx="7">
                  <c:v>39325</c:v>
                </c:pt>
                <c:pt idx="8">
                  <c:v>39355</c:v>
                </c:pt>
                <c:pt idx="9">
                  <c:v>39386</c:v>
                </c:pt>
                <c:pt idx="10">
                  <c:v>39416</c:v>
                </c:pt>
                <c:pt idx="11">
                  <c:v>39447</c:v>
                </c:pt>
                <c:pt idx="12">
                  <c:v>39478</c:v>
                </c:pt>
                <c:pt idx="13">
                  <c:v>39507</c:v>
                </c:pt>
                <c:pt idx="14">
                  <c:v>39538</c:v>
                </c:pt>
                <c:pt idx="15">
                  <c:v>39568</c:v>
                </c:pt>
                <c:pt idx="16">
                  <c:v>39599</c:v>
                </c:pt>
                <c:pt idx="17">
                  <c:v>39629</c:v>
                </c:pt>
                <c:pt idx="18">
                  <c:v>39660</c:v>
                </c:pt>
                <c:pt idx="19">
                  <c:v>39691</c:v>
                </c:pt>
                <c:pt idx="20">
                  <c:v>39721</c:v>
                </c:pt>
                <c:pt idx="21">
                  <c:v>39752</c:v>
                </c:pt>
                <c:pt idx="22">
                  <c:v>39782</c:v>
                </c:pt>
                <c:pt idx="23">
                  <c:v>39813</c:v>
                </c:pt>
                <c:pt idx="24">
                  <c:v>39844</c:v>
                </c:pt>
                <c:pt idx="25">
                  <c:v>39872</c:v>
                </c:pt>
                <c:pt idx="26">
                  <c:v>39903</c:v>
                </c:pt>
                <c:pt idx="27">
                  <c:v>39933</c:v>
                </c:pt>
                <c:pt idx="28">
                  <c:v>39964</c:v>
                </c:pt>
                <c:pt idx="29">
                  <c:v>39994</c:v>
                </c:pt>
                <c:pt idx="30">
                  <c:v>40025</c:v>
                </c:pt>
                <c:pt idx="31">
                  <c:v>40056</c:v>
                </c:pt>
                <c:pt idx="32">
                  <c:v>40086</c:v>
                </c:pt>
                <c:pt idx="33">
                  <c:v>40117</c:v>
                </c:pt>
                <c:pt idx="34">
                  <c:v>40147</c:v>
                </c:pt>
                <c:pt idx="35">
                  <c:v>40178</c:v>
                </c:pt>
                <c:pt idx="36">
                  <c:v>40209</c:v>
                </c:pt>
                <c:pt idx="37">
                  <c:v>40237</c:v>
                </c:pt>
                <c:pt idx="38">
                  <c:v>40268</c:v>
                </c:pt>
                <c:pt idx="39">
                  <c:v>40298</c:v>
                </c:pt>
                <c:pt idx="40">
                  <c:v>40329</c:v>
                </c:pt>
                <c:pt idx="41">
                  <c:v>40359</c:v>
                </c:pt>
                <c:pt idx="42">
                  <c:v>40390</c:v>
                </c:pt>
                <c:pt idx="43">
                  <c:v>40421</c:v>
                </c:pt>
                <c:pt idx="44">
                  <c:v>40451</c:v>
                </c:pt>
                <c:pt idx="45">
                  <c:v>40482</c:v>
                </c:pt>
                <c:pt idx="46">
                  <c:v>40512</c:v>
                </c:pt>
                <c:pt idx="47">
                  <c:v>40543</c:v>
                </c:pt>
                <c:pt idx="48">
                  <c:v>40574</c:v>
                </c:pt>
                <c:pt idx="49">
                  <c:v>40602</c:v>
                </c:pt>
                <c:pt idx="50">
                  <c:v>40633</c:v>
                </c:pt>
                <c:pt idx="51">
                  <c:v>40663</c:v>
                </c:pt>
                <c:pt idx="52">
                  <c:v>40694</c:v>
                </c:pt>
                <c:pt idx="53">
                  <c:v>40724</c:v>
                </c:pt>
              </c:numCache>
            </c:numRef>
          </c:cat>
          <c:val>
            <c:numRef>
              <c:f>POLAND!$K$87:$K$140</c:f>
              <c:numCache>
                <c:formatCode>General</c:formatCode>
                <c:ptCount val="54"/>
                <c:pt idx="0">
                  <c:v>7.8</c:v>
                </c:pt>
                <c:pt idx="1">
                  <c:v>6.4</c:v>
                </c:pt>
                <c:pt idx="2">
                  <c:v>9.1</c:v>
                </c:pt>
                <c:pt idx="3">
                  <c:v>8.4</c:v>
                </c:pt>
                <c:pt idx="4">
                  <c:v>8.9</c:v>
                </c:pt>
                <c:pt idx="5">
                  <c:v>9.3000000000000007</c:v>
                </c:pt>
                <c:pt idx="6">
                  <c:v>9.3000000000000007</c:v>
                </c:pt>
                <c:pt idx="7">
                  <c:v>10.5</c:v>
                </c:pt>
                <c:pt idx="8">
                  <c:v>9.5</c:v>
                </c:pt>
                <c:pt idx="9">
                  <c:v>11</c:v>
                </c:pt>
                <c:pt idx="10">
                  <c:v>12</c:v>
                </c:pt>
                <c:pt idx="11">
                  <c:v>7.2</c:v>
                </c:pt>
                <c:pt idx="12">
                  <c:v>11.5</c:v>
                </c:pt>
                <c:pt idx="13">
                  <c:v>12.8</c:v>
                </c:pt>
                <c:pt idx="14">
                  <c:v>10.200000000000001</c:v>
                </c:pt>
                <c:pt idx="15">
                  <c:v>12.6</c:v>
                </c:pt>
                <c:pt idx="16">
                  <c:v>10.5</c:v>
                </c:pt>
                <c:pt idx="17">
                  <c:v>12</c:v>
                </c:pt>
                <c:pt idx="18">
                  <c:v>11.6</c:v>
                </c:pt>
                <c:pt idx="19">
                  <c:v>9.7000000000000011</c:v>
                </c:pt>
                <c:pt idx="20">
                  <c:v>10.9</c:v>
                </c:pt>
                <c:pt idx="21">
                  <c:v>9.8000000000000007</c:v>
                </c:pt>
                <c:pt idx="22">
                  <c:v>7.4</c:v>
                </c:pt>
                <c:pt idx="23">
                  <c:v>5.4</c:v>
                </c:pt>
                <c:pt idx="24">
                  <c:v>8.1</c:v>
                </c:pt>
                <c:pt idx="25">
                  <c:v>5.0999999999999996</c:v>
                </c:pt>
                <c:pt idx="26">
                  <c:v>5.7</c:v>
                </c:pt>
                <c:pt idx="27">
                  <c:v>4.8</c:v>
                </c:pt>
                <c:pt idx="28">
                  <c:v>3.8</c:v>
                </c:pt>
                <c:pt idx="29">
                  <c:v>2</c:v>
                </c:pt>
                <c:pt idx="30">
                  <c:v>3.9</c:v>
                </c:pt>
                <c:pt idx="31">
                  <c:v>3</c:v>
                </c:pt>
                <c:pt idx="32">
                  <c:v>3.3</c:v>
                </c:pt>
                <c:pt idx="33">
                  <c:v>2</c:v>
                </c:pt>
                <c:pt idx="34">
                  <c:v>2.2999999999999998</c:v>
                </c:pt>
                <c:pt idx="35">
                  <c:v>6.5</c:v>
                </c:pt>
                <c:pt idx="36">
                  <c:v>0.5</c:v>
                </c:pt>
                <c:pt idx="37">
                  <c:v>2.9</c:v>
                </c:pt>
                <c:pt idx="38">
                  <c:v>4.8</c:v>
                </c:pt>
                <c:pt idx="39">
                  <c:v>3.2</c:v>
                </c:pt>
                <c:pt idx="40">
                  <c:v>4.8</c:v>
                </c:pt>
                <c:pt idx="41">
                  <c:v>3.5</c:v>
                </c:pt>
                <c:pt idx="42">
                  <c:v>2.1</c:v>
                </c:pt>
                <c:pt idx="43">
                  <c:v>4.2</c:v>
                </c:pt>
                <c:pt idx="44">
                  <c:v>3.7</c:v>
                </c:pt>
                <c:pt idx="45">
                  <c:v>3.9</c:v>
                </c:pt>
                <c:pt idx="46">
                  <c:v>3.6</c:v>
                </c:pt>
                <c:pt idx="47">
                  <c:v>5.4</c:v>
                </c:pt>
                <c:pt idx="48">
                  <c:v>5</c:v>
                </c:pt>
                <c:pt idx="49">
                  <c:v>4.0999999999999996</c:v>
                </c:pt>
                <c:pt idx="50">
                  <c:v>4</c:v>
                </c:pt>
                <c:pt idx="51">
                  <c:v>5.9</c:v>
                </c:pt>
                <c:pt idx="52">
                  <c:v>4.0999999999999996</c:v>
                </c:pt>
                <c:pt idx="53">
                  <c:v>5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9"/>
        <c:axId val="101142912"/>
        <c:axId val="101144448"/>
      </c:barChart>
      <c:dateAx>
        <c:axId val="101142912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pl-PL"/>
          </a:p>
        </c:txPr>
        <c:crossAx val="101144448"/>
        <c:crosses val="autoZero"/>
        <c:auto val="1"/>
        <c:lblOffset val="100"/>
        <c:baseTimeUnit val="months"/>
      </c:dateAx>
      <c:valAx>
        <c:axId val="101144448"/>
        <c:scaling>
          <c:orientation val="minMax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101142912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>
          <a:latin typeface="Tahoma" pitchFamily="34" charset="0"/>
          <a:cs typeface="Tahoma" pitchFamily="34" charset="0"/>
        </a:defRPr>
      </a:pPr>
      <a:endParaRPr lang="pl-PL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en-US" sz="1600" dirty="0" smtClean="0"/>
              <a:t>Bra</a:t>
            </a:r>
            <a:r>
              <a:rPr lang="pl-PL" sz="1600" dirty="0" smtClean="0"/>
              <a:t>sil</a:t>
            </a:r>
            <a:endParaRPr lang="en-US" sz="1600" dirty="0"/>
          </a:p>
        </c:rich>
      </c:tx>
      <c:layout>
        <c:manualLayout>
          <c:xMode val="edge"/>
          <c:yMode val="edge"/>
          <c:x val="0.44780540590047674"/>
          <c:y val="0.11285323182735785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7772121111281335E-2"/>
          <c:y val="0.12010438779286034"/>
          <c:w val="0.84854140182747073"/>
          <c:h val="0.72139631033750162"/>
        </c:manualLayout>
      </c:layout>
      <c:lineChart>
        <c:grouping val="standard"/>
        <c:varyColors val="0"/>
        <c:ser>
          <c:idx val="0"/>
          <c:order val="0"/>
          <c:tx>
            <c:strRef>
              <c:f>'FX emerg'!$AC$1</c:f>
              <c:strCache>
                <c:ptCount val="1"/>
                <c:pt idx="0">
                  <c:v>Brazylia</c:v>
                </c:pt>
              </c:strCache>
            </c:strRef>
          </c:tx>
          <c:spPr>
            <a:ln w="25400">
              <a:solidFill>
                <a:srgbClr val="0096EF"/>
              </a:solidFill>
              <a:prstDash val="solid"/>
            </a:ln>
          </c:spPr>
          <c:marker>
            <c:symbol val="none"/>
          </c:marker>
          <c:cat>
            <c:numRef>
              <c:f>'FX emerg'!$AA$787:$AA$976</c:f>
              <c:numCache>
                <c:formatCode>dd/mm/yy</c:formatCode>
                <c:ptCount val="190"/>
                <c:pt idx="0">
                  <c:v>40546</c:v>
                </c:pt>
                <c:pt idx="1">
                  <c:v>40547</c:v>
                </c:pt>
                <c:pt idx="2">
                  <c:v>40548</c:v>
                </c:pt>
                <c:pt idx="3">
                  <c:v>40549</c:v>
                </c:pt>
                <c:pt idx="4">
                  <c:v>40550</c:v>
                </c:pt>
                <c:pt idx="5">
                  <c:v>40553</c:v>
                </c:pt>
                <c:pt idx="6">
                  <c:v>40554</c:v>
                </c:pt>
                <c:pt idx="7">
                  <c:v>40555</c:v>
                </c:pt>
                <c:pt idx="8">
                  <c:v>40556</c:v>
                </c:pt>
                <c:pt idx="9">
                  <c:v>40557</c:v>
                </c:pt>
                <c:pt idx="10">
                  <c:v>40560</c:v>
                </c:pt>
                <c:pt idx="11">
                  <c:v>40561</c:v>
                </c:pt>
                <c:pt idx="12">
                  <c:v>40562</c:v>
                </c:pt>
                <c:pt idx="13">
                  <c:v>40563</c:v>
                </c:pt>
                <c:pt idx="14">
                  <c:v>40564</c:v>
                </c:pt>
                <c:pt idx="15">
                  <c:v>40567</c:v>
                </c:pt>
                <c:pt idx="16">
                  <c:v>40568</c:v>
                </c:pt>
                <c:pt idx="17">
                  <c:v>40569</c:v>
                </c:pt>
                <c:pt idx="18">
                  <c:v>40570</c:v>
                </c:pt>
                <c:pt idx="19">
                  <c:v>40571</c:v>
                </c:pt>
                <c:pt idx="20">
                  <c:v>40574</c:v>
                </c:pt>
                <c:pt idx="21">
                  <c:v>40575</c:v>
                </c:pt>
                <c:pt idx="22">
                  <c:v>40576</c:v>
                </c:pt>
                <c:pt idx="23">
                  <c:v>40577</c:v>
                </c:pt>
                <c:pt idx="24">
                  <c:v>40578</c:v>
                </c:pt>
                <c:pt idx="25">
                  <c:v>40581</c:v>
                </c:pt>
                <c:pt idx="26">
                  <c:v>40582</c:v>
                </c:pt>
                <c:pt idx="27">
                  <c:v>40583</c:v>
                </c:pt>
                <c:pt idx="28">
                  <c:v>40584</c:v>
                </c:pt>
                <c:pt idx="29">
                  <c:v>40585</c:v>
                </c:pt>
                <c:pt idx="30">
                  <c:v>40588</c:v>
                </c:pt>
                <c:pt idx="31">
                  <c:v>40589</c:v>
                </c:pt>
                <c:pt idx="32">
                  <c:v>40590</c:v>
                </c:pt>
                <c:pt idx="33">
                  <c:v>40591</c:v>
                </c:pt>
                <c:pt idx="34">
                  <c:v>40592</c:v>
                </c:pt>
                <c:pt idx="35">
                  <c:v>40595</c:v>
                </c:pt>
                <c:pt idx="36">
                  <c:v>40596</c:v>
                </c:pt>
                <c:pt idx="37">
                  <c:v>40597</c:v>
                </c:pt>
                <c:pt idx="38">
                  <c:v>40598</c:v>
                </c:pt>
                <c:pt idx="39">
                  <c:v>40599</c:v>
                </c:pt>
                <c:pt idx="40">
                  <c:v>40602</c:v>
                </c:pt>
                <c:pt idx="41">
                  <c:v>40603</c:v>
                </c:pt>
                <c:pt idx="42">
                  <c:v>40604</c:v>
                </c:pt>
                <c:pt idx="43">
                  <c:v>40605</c:v>
                </c:pt>
                <c:pt idx="44">
                  <c:v>40606</c:v>
                </c:pt>
                <c:pt idx="45">
                  <c:v>40609</c:v>
                </c:pt>
                <c:pt idx="46">
                  <c:v>40610</c:v>
                </c:pt>
                <c:pt idx="47">
                  <c:v>40611</c:v>
                </c:pt>
                <c:pt idx="48">
                  <c:v>40612</c:v>
                </c:pt>
                <c:pt idx="49">
                  <c:v>40613</c:v>
                </c:pt>
                <c:pt idx="50">
                  <c:v>40616</c:v>
                </c:pt>
                <c:pt idx="51">
                  <c:v>40617</c:v>
                </c:pt>
                <c:pt idx="52">
                  <c:v>40618</c:v>
                </c:pt>
                <c:pt idx="53">
                  <c:v>40619</c:v>
                </c:pt>
                <c:pt idx="54">
                  <c:v>40620</c:v>
                </c:pt>
                <c:pt idx="55">
                  <c:v>40623</c:v>
                </c:pt>
                <c:pt idx="56">
                  <c:v>40624</c:v>
                </c:pt>
                <c:pt idx="57">
                  <c:v>40625</c:v>
                </c:pt>
                <c:pt idx="58">
                  <c:v>40626</c:v>
                </c:pt>
                <c:pt idx="59">
                  <c:v>40627</c:v>
                </c:pt>
                <c:pt idx="60">
                  <c:v>40630</c:v>
                </c:pt>
                <c:pt idx="61">
                  <c:v>40631</c:v>
                </c:pt>
                <c:pt idx="62">
                  <c:v>40632</c:v>
                </c:pt>
                <c:pt idx="63">
                  <c:v>40633</c:v>
                </c:pt>
                <c:pt idx="64">
                  <c:v>40634</c:v>
                </c:pt>
                <c:pt idx="65">
                  <c:v>40637</c:v>
                </c:pt>
                <c:pt idx="66">
                  <c:v>40638</c:v>
                </c:pt>
                <c:pt idx="67">
                  <c:v>40639</c:v>
                </c:pt>
                <c:pt idx="68">
                  <c:v>40640</c:v>
                </c:pt>
                <c:pt idx="69">
                  <c:v>40641</c:v>
                </c:pt>
                <c:pt idx="70">
                  <c:v>40644</c:v>
                </c:pt>
                <c:pt idx="71">
                  <c:v>40645</c:v>
                </c:pt>
                <c:pt idx="72">
                  <c:v>40646</c:v>
                </c:pt>
                <c:pt idx="73">
                  <c:v>40647</c:v>
                </c:pt>
                <c:pt idx="74">
                  <c:v>40648</c:v>
                </c:pt>
                <c:pt idx="75">
                  <c:v>40651</c:v>
                </c:pt>
                <c:pt idx="76">
                  <c:v>40652</c:v>
                </c:pt>
                <c:pt idx="77">
                  <c:v>40653</c:v>
                </c:pt>
                <c:pt idx="78">
                  <c:v>40654</c:v>
                </c:pt>
                <c:pt idx="79">
                  <c:v>40655</c:v>
                </c:pt>
                <c:pt idx="80">
                  <c:v>40658</c:v>
                </c:pt>
                <c:pt idx="81">
                  <c:v>40659</c:v>
                </c:pt>
                <c:pt idx="82">
                  <c:v>40660</c:v>
                </c:pt>
                <c:pt idx="83">
                  <c:v>40661</c:v>
                </c:pt>
                <c:pt idx="84">
                  <c:v>40662</c:v>
                </c:pt>
                <c:pt idx="85">
                  <c:v>40665</c:v>
                </c:pt>
                <c:pt idx="86">
                  <c:v>40666</c:v>
                </c:pt>
                <c:pt idx="87">
                  <c:v>40667</c:v>
                </c:pt>
                <c:pt idx="88">
                  <c:v>40668</c:v>
                </c:pt>
                <c:pt idx="89">
                  <c:v>40669</c:v>
                </c:pt>
                <c:pt idx="90">
                  <c:v>40672</c:v>
                </c:pt>
                <c:pt idx="91">
                  <c:v>40673</c:v>
                </c:pt>
                <c:pt idx="92">
                  <c:v>40674</c:v>
                </c:pt>
                <c:pt idx="93">
                  <c:v>40675</c:v>
                </c:pt>
                <c:pt idx="94">
                  <c:v>40676</c:v>
                </c:pt>
                <c:pt idx="95">
                  <c:v>40679</c:v>
                </c:pt>
                <c:pt idx="96">
                  <c:v>40680</c:v>
                </c:pt>
                <c:pt idx="97">
                  <c:v>40681</c:v>
                </c:pt>
                <c:pt idx="98">
                  <c:v>40682</c:v>
                </c:pt>
                <c:pt idx="99">
                  <c:v>40683</c:v>
                </c:pt>
                <c:pt idx="100">
                  <c:v>40686</c:v>
                </c:pt>
                <c:pt idx="101">
                  <c:v>40687</c:v>
                </c:pt>
                <c:pt idx="102">
                  <c:v>40688</c:v>
                </c:pt>
                <c:pt idx="103">
                  <c:v>40689</c:v>
                </c:pt>
                <c:pt idx="104">
                  <c:v>40690</c:v>
                </c:pt>
                <c:pt idx="105">
                  <c:v>40693</c:v>
                </c:pt>
                <c:pt idx="106">
                  <c:v>40694</c:v>
                </c:pt>
                <c:pt idx="107">
                  <c:v>40695</c:v>
                </c:pt>
                <c:pt idx="108">
                  <c:v>40696</c:v>
                </c:pt>
                <c:pt idx="109">
                  <c:v>40697</c:v>
                </c:pt>
                <c:pt idx="110">
                  <c:v>40700</c:v>
                </c:pt>
                <c:pt idx="111">
                  <c:v>40701</c:v>
                </c:pt>
                <c:pt idx="112">
                  <c:v>40702</c:v>
                </c:pt>
                <c:pt idx="113">
                  <c:v>40703</c:v>
                </c:pt>
                <c:pt idx="114">
                  <c:v>40704</c:v>
                </c:pt>
                <c:pt idx="115">
                  <c:v>40707</c:v>
                </c:pt>
                <c:pt idx="116">
                  <c:v>40708</c:v>
                </c:pt>
                <c:pt idx="117">
                  <c:v>40709</c:v>
                </c:pt>
                <c:pt idx="118">
                  <c:v>40710</c:v>
                </c:pt>
                <c:pt idx="119">
                  <c:v>40711</c:v>
                </c:pt>
                <c:pt idx="120">
                  <c:v>40714</c:v>
                </c:pt>
                <c:pt idx="121">
                  <c:v>40715</c:v>
                </c:pt>
                <c:pt idx="122">
                  <c:v>40716</c:v>
                </c:pt>
                <c:pt idx="123">
                  <c:v>40717</c:v>
                </c:pt>
                <c:pt idx="124">
                  <c:v>40718</c:v>
                </c:pt>
                <c:pt idx="125">
                  <c:v>40721</c:v>
                </c:pt>
                <c:pt idx="126">
                  <c:v>40722</c:v>
                </c:pt>
                <c:pt idx="127">
                  <c:v>40723</c:v>
                </c:pt>
                <c:pt idx="128">
                  <c:v>40724</c:v>
                </c:pt>
                <c:pt idx="129">
                  <c:v>40725</c:v>
                </c:pt>
                <c:pt idx="130">
                  <c:v>40728</c:v>
                </c:pt>
                <c:pt idx="131">
                  <c:v>40729</c:v>
                </c:pt>
                <c:pt idx="132">
                  <c:v>40730</c:v>
                </c:pt>
                <c:pt idx="133">
                  <c:v>40731</c:v>
                </c:pt>
                <c:pt idx="134">
                  <c:v>40732</c:v>
                </c:pt>
                <c:pt idx="135">
                  <c:v>40735</c:v>
                </c:pt>
                <c:pt idx="136">
                  <c:v>40736</c:v>
                </c:pt>
                <c:pt idx="137">
                  <c:v>40737</c:v>
                </c:pt>
                <c:pt idx="138">
                  <c:v>40738</c:v>
                </c:pt>
                <c:pt idx="139">
                  <c:v>40739</c:v>
                </c:pt>
                <c:pt idx="140">
                  <c:v>40742</c:v>
                </c:pt>
                <c:pt idx="141">
                  <c:v>40743</c:v>
                </c:pt>
                <c:pt idx="142">
                  <c:v>40744</c:v>
                </c:pt>
                <c:pt idx="143">
                  <c:v>40745</c:v>
                </c:pt>
                <c:pt idx="144">
                  <c:v>40746</c:v>
                </c:pt>
                <c:pt idx="145">
                  <c:v>40749</c:v>
                </c:pt>
                <c:pt idx="146">
                  <c:v>40750</c:v>
                </c:pt>
                <c:pt idx="147">
                  <c:v>40751</c:v>
                </c:pt>
                <c:pt idx="148">
                  <c:v>40752</c:v>
                </c:pt>
                <c:pt idx="149">
                  <c:v>40753</c:v>
                </c:pt>
                <c:pt idx="150">
                  <c:v>40756</c:v>
                </c:pt>
                <c:pt idx="151">
                  <c:v>40757</c:v>
                </c:pt>
                <c:pt idx="152">
                  <c:v>40758</c:v>
                </c:pt>
                <c:pt idx="153">
                  <c:v>40759</c:v>
                </c:pt>
                <c:pt idx="154">
                  <c:v>40760</c:v>
                </c:pt>
                <c:pt idx="155">
                  <c:v>40763</c:v>
                </c:pt>
                <c:pt idx="156">
                  <c:v>40764</c:v>
                </c:pt>
                <c:pt idx="157">
                  <c:v>40765</c:v>
                </c:pt>
                <c:pt idx="158">
                  <c:v>40766</c:v>
                </c:pt>
                <c:pt idx="159">
                  <c:v>40767</c:v>
                </c:pt>
                <c:pt idx="160">
                  <c:v>40770</c:v>
                </c:pt>
                <c:pt idx="161">
                  <c:v>40771</c:v>
                </c:pt>
                <c:pt idx="162">
                  <c:v>40772</c:v>
                </c:pt>
                <c:pt idx="163">
                  <c:v>40773</c:v>
                </c:pt>
                <c:pt idx="164">
                  <c:v>40774</c:v>
                </c:pt>
                <c:pt idx="165">
                  <c:v>40777</c:v>
                </c:pt>
                <c:pt idx="166">
                  <c:v>40778</c:v>
                </c:pt>
                <c:pt idx="167">
                  <c:v>40779</c:v>
                </c:pt>
                <c:pt idx="168">
                  <c:v>40780</c:v>
                </c:pt>
                <c:pt idx="169">
                  <c:v>40781</c:v>
                </c:pt>
                <c:pt idx="170">
                  <c:v>40784</c:v>
                </c:pt>
                <c:pt idx="171">
                  <c:v>40785</c:v>
                </c:pt>
                <c:pt idx="172">
                  <c:v>40786</c:v>
                </c:pt>
                <c:pt idx="173">
                  <c:v>40787</c:v>
                </c:pt>
                <c:pt idx="174">
                  <c:v>40788</c:v>
                </c:pt>
                <c:pt idx="175">
                  <c:v>40791</c:v>
                </c:pt>
                <c:pt idx="176">
                  <c:v>40792</c:v>
                </c:pt>
                <c:pt idx="177">
                  <c:v>40793</c:v>
                </c:pt>
                <c:pt idx="178">
                  <c:v>40794</c:v>
                </c:pt>
                <c:pt idx="179">
                  <c:v>40795</c:v>
                </c:pt>
                <c:pt idx="180">
                  <c:v>40798</c:v>
                </c:pt>
                <c:pt idx="181">
                  <c:v>40799</c:v>
                </c:pt>
                <c:pt idx="182">
                  <c:v>40800</c:v>
                </c:pt>
                <c:pt idx="183">
                  <c:v>40801</c:v>
                </c:pt>
                <c:pt idx="184">
                  <c:v>40802</c:v>
                </c:pt>
                <c:pt idx="185">
                  <c:v>40805</c:v>
                </c:pt>
                <c:pt idx="186">
                  <c:v>40806</c:v>
                </c:pt>
                <c:pt idx="187">
                  <c:v>40807</c:v>
                </c:pt>
                <c:pt idx="188">
                  <c:v>40808</c:v>
                </c:pt>
                <c:pt idx="189">
                  <c:v>40809</c:v>
                </c:pt>
              </c:numCache>
            </c:numRef>
          </c:cat>
          <c:val>
            <c:numRef>
              <c:f>'FX emerg'!$AB$787:$AB$976</c:f>
              <c:numCache>
                <c:formatCode>General</c:formatCode>
                <c:ptCount val="190"/>
                <c:pt idx="0">
                  <c:v>1.6472</c:v>
                </c:pt>
                <c:pt idx="1">
                  <c:v>1.6604999999999999</c:v>
                </c:pt>
                <c:pt idx="2">
                  <c:v>1.6739000000000002</c:v>
                </c:pt>
                <c:pt idx="3">
                  <c:v>1.6869000000000001</c:v>
                </c:pt>
                <c:pt idx="4">
                  <c:v>1.6840000000000024</c:v>
                </c:pt>
                <c:pt idx="5">
                  <c:v>1.6891</c:v>
                </c:pt>
                <c:pt idx="6">
                  <c:v>1.6837</c:v>
                </c:pt>
                <c:pt idx="7">
                  <c:v>1.6734</c:v>
                </c:pt>
                <c:pt idx="8">
                  <c:v>1.6726000000000001</c:v>
                </c:pt>
                <c:pt idx="9">
                  <c:v>1.6851</c:v>
                </c:pt>
                <c:pt idx="10">
                  <c:v>1.6804999999999999</c:v>
                </c:pt>
                <c:pt idx="11">
                  <c:v>1.6743999999999999</c:v>
                </c:pt>
                <c:pt idx="12">
                  <c:v>1.6707999999999998</c:v>
                </c:pt>
                <c:pt idx="13">
                  <c:v>1.6735</c:v>
                </c:pt>
                <c:pt idx="14">
                  <c:v>1.6777</c:v>
                </c:pt>
                <c:pt idx="15">
                  <c:v>1.6707999999999998</c:v>
                </c:pt>
                <c:pt idx="16">
                  <c:v>1.6718</c:v>
                </c:pt>
                <c:pt idx="17">
                  <c:v>1.6680000000000001</c:v>
                </c:pt>
                <c:pt idx="18">
                  <c:v>1.6764000000000001</c:v>
                </c:pt>
                <c:pt idx="19">
                  <c:v>1.6830000000000001</c:v>
                </c:pt>
                <c:pt idx="20">
                  <c:v>1.667</c:v>
                </c:pt>
                <c:pt idx="21">
                  <c:v>1.6644000000000001</c:v>
                </c:pt>
                <c:pt idx="22">
                  <c:v>1.6672</c:v>
                </c:pt>
                <c:pt idx="23">
                  <c:v>1.6680999999999999</c:v>
                </c:pt>
                <c:pt idx="24">
                  <c:v>1.6737</c:v>
                </c:pt>
                <c:pt idx="25">
                  <c:v>1.6795</c:v>
                </c:pt>
                <c:pt idx="26">
                  <c:v>1.6646000000000001</c:v>
                </c:pt>
                <c:pt idx="27">
                  <c:v>1.6593</c:v>
                </c:pt>
                <c:pt idx="28">
                  <c:v>1.6675</c:v>
                </c:pt>
                <c:pt idx="29">
                  <c:v>1.6657</c:v>
                </c:pt>
                <c:pt idx="30">
                  <c:v>1.667</c:v>
                </c:pt>
                <c:pt idx="31">
                  <c:v>1.6698</c:v>
                </c:pt>
                <c:pt idx="32">
                  <c:v>1.6692</c:v>
                </c:pt>
                <c:pt idx="33">
                  <c:v>1.661</c:v>
                </c:pt>
                <c:pt idx="34">
                  <c:v>1.6621000000000001</c:v>
                </c:pt>
                <c:pt idx="35">
                  <c:v>1.6682000000000001</c:v>
                </c:pt>
                <c:pt idx="36">
                  <c:v>1.6724000000000001</c:v>
                </c:pt>
                <c:pt idx="37">
                  <c:v>1.6739999999999977</c:v>
                </c:pt>
                <c:pt idx="38">
                  <c:v>1.6640999999999999</c:v>
                </c:pt>
                <c:pt idx="39">
                  <c:v>1.663</c:v>
                </c:pt>
                <c:pt idx="40">
                  <c:v>1.6642999999999999</c:v>
                </c:pt>
                <c:pt idx="41">
                  <c:v>1.6638999999999977</c:v>
                </c:pt>
                <c:pt idx="42">
                  <c:v>1.6576</c:v>
                </c:pt>
                <c:pt idx="43">
                  <c:v>1.6493</c:v>
                </c:pt>
                <c:pt idx="44">
                  <c:v>1.6545999999999998</c:v>
                </c:pt>
                <c:pt idx="45">
                  <c:v>1.6545999999999998</c:v>
                </c:pt>
                <c:pt idx="46">
                  <c:v>1.6545999999999998</c:v>
                </c:pt>
                <c:pt idx="47">
                  <c:v>1.6539999999999975</c:v>
                </c:pt>
                <c:pt idx="48">
                  <c:v>1.6621999999999999</c:v>
                </c:pt>
                <c:pt idx="49">
                  <c:v>1.6649</c:v>
                </c:pt>
                <c:pt idx="50">
                  <c:v>1.6598000000000002</c:v>
                </c:pt>
                <c:pt idx="51">
                  <c:v>1.6653</c:v>
                </c:pt>
                <c:pt idx="52">
                  <c:v>1.6756</c:v>
                </c:pt>
                <c:pt idx="53">
                  <c:v>1.6779999999999977</c:v>
                </c:pt>
                <c:pt idx="54">
                  <c:v>1.6655</c:v>
                </c:pt>
                <c:pt idx="55">
                  <c:v>1.6659999999999975</c:v>
                </c:pt>
                <c:pt idx="56">
                  <c:v>1.6598000000000002</c:v>
                </c:pt>
                <c:pt idx="57">
                  <c:v>1.6604000000000001</c:v>
                </c:pt>
                <c:pt idx="58">
                  <c:v>1.6594</c:v>
                </c:pt>
                <c:pt idx="59">
                  <c:v>1.6619999999999975</c:v>
                </c:pt>
                <c:pt idx="60">
                  <c:v>1.6629</c:v>
                </c:pt>
                <c:pt idx="61">
                  <c:v>1.6463000000000001</c:v>
                </c:pt>
                <c:pt idx="62">
                  <c:v>1.6288</c:v>
                </c:pt>
                <c:pt idx="63">
                  <c:v>1.6317999999999977</c:v>
                </c:pt>
                <c:pt idx="64">
                  <c:v>1.607</c:v>
                </c:pt>
                <c:pt idx="65">
                  <c:v>1.6073</c:v>
                </c:pt>
                <c:pt idx="66">
                  <c:v>1.6095999999999975</c:v>
                </c:pt>
                <c:pt idx="67">
                  <c:v>1.6143999999999998</c:v>
                </c:pt>
                <c:pt idx="68">
                  <c:v>1.5863</c:v>
                </c:pt>
                <c:pt idx="69">
                  <c:v>1.5689</c:v>
                </c:pt>
                <c:pt idx="70">
                  <c:v>1.5832999999999977</c:v>
                </c:pt>
                <c:pt idx="71">
                  <c:v>1.5947</c:v>
                </c:pt>
                <c:pt idx="72">
                  <c:v>1.5865</c:v>
                </c:pt>
                <c:pt idx="73">
                  <c:v>1.5782</c:v>
                </c:pt>
                <c:pt idx="74">
                  <c:v>1.5762</c:v>
                </c:pt>
                <c:pt idx="75">
                  <c:v>1.5899999999999972</c:v>
                </c:pt>
                <c:pt idx="76">
                  <c:v>1.5763</c:v>
                </c:pt>
                <c:pt idx="77">
                  <c:v>1.5663</c:v>
                </c:pt>
                <c:pt idx="78">
                  <c:v>1.5663</c:v>
                </c:pt>
                <c:pt idx="79">
                  <c:v>1.5663</c:v>
                </c:pt>
                <c:pt idx="80">
                  <c:v>1.5688</c:v>
                </c:pt>
                <c:pt idx="81">
                  <c:v>1.5621</c:v>
                </c:pt>
                <c:pt idx="82">
                  <c:v>1.5665</c:v>
                </c:pt>
                <c:pt idx="83">
                  <c:v>1.5779999999999972</c:v>
                </c:pt>
                <c:pt idx="84">
                  <c:v>1.5753999999999977</c:v>
                </c:pt>
                <c:pt idx="85">
                  <c:v>1.5893000000000002</c:v>
                </c:pt>
                <c:pt idx="86">
                  <c:v>1.5875999999999977</c:v>
                </c:pt>
                <c:pt idx="87">
                  <c:v>1.6181999999999999</c:v>
                </c:pt>
                <c:pt idx="88">
                  <c:v>1.6219999999999974</c:v>
                </c:pt>
                <c:pt idx="89">
                  <c:v>1.6149</c:v>
                </c:pt>
                <c:pt idx="90">
                  <c:v>1.6141000000000001</c:v>
                </c:pt>
                <c:pt idx="91">
                  <c:v>1.6036999999999975</c:v>
                </c:pt>
                <c:pt idx="92">
                  <c:v>1.6217999999999975</c:v>
                </c:pt>
                <c:pt idx="93">
                  <c:v>1.6197999999999977</c:v>
                </c:pt>
                <c:pt idx="94">
                  <c:v>1.6362000000000001</c:v>
                </c:pt>
                <c:pt idx="95">
                  <c:v>1.6348</c:v>
                </c:pt>
                <c:pt idx="96">
                  <c:v>1.6155999999999977</c:v>
                </c:pt>
                <c:pt idx="97">
                  <c:v>1.6095999999999975</c:v>
                </c:pt>
                <c:pt idx="98">
                  <c:v>1.6162999999999998</c:v>
                </c:pt>
                <c:pt idx="99">
                  <c:v>1.6228</c:v>
                </c:pt>
                <c:pt idx="100">
                  <c:v>1.6332</c:v>
                </c:pt>
                <c:pt idx="101">
                  <c:v>1.6240999999999999</c:v>
                </c:pt>
                <c:pt idx="102">
                  <c:v>1.6292</c:v>
                </c:pt>
                <c:pt idx="103">
                  <c:v>1.6151</c:v>
                </c:pt>
                <c:pt idx="104">
                  <c:v>1.5945</c:v>
                </c:pt>
                <c:pt idx="105">
                  <c:v>1.5944</c:v>
                </c:pt>
                <c:pt idx="106">
                  <c:v>1.5800999999999998</c:v>
                </c:pt>
                <c:pt idx="107">
                  <c:v>1.5941999999999998</c:v>
                </c:pt>
                <c:pt idx="108">
                  <c:v>1.575</c:v>
                </c:pt>
                <c:pt idx="109">
                  <c:v>1.5763</c:v>
                </c:pt>
                <c:pt idx="110">
                  <c:v>1.5843</c:v>
                </c:pt>
                <c:pt idx="111">
                  <c:v>1.5797999999999974</c:v>
                </c:pt>
                <c:pt idx="112">
                  <c:v>1.5814999999999977</c:v>
                </c:pt>
                <c:pt idx="113">
                  <c:v>1.5832000000000002</c:v>
                </c:pt>
                <c:pt idx="114">
                  <c:v>1.597</c:v>
                </c:pt>
                <c:pt idx="115">
                  <c:v>1.5832000000000002</c:v>
                </c:pt>
                <c:pt idx="116">
                  <c:v>1.5836999999999974</c:v>
                </c:pt>
                <c:pt idx="117">
                  <c:v>1.6002000000000001</c:v>
                </c:pt>
                <c:pt idx="118">
                  <c:v>1.603</c:v>
                </c:pt>
                <c:pt idx="119">
                  <c:v>1.5977999999999974</c:v>
                </c:pt>
                <c:pt idx="120">
                  <c:v>1.5965</c:v>
                </c:pt>
                <c:pt idx="121">
                  <c:v>1.5862000000000001</c:v>
                </c:pt>
                <c:pt idx="122">
                  <c:v>1.5909</c:v>
                </c:pt>
                <c:pt idx="123">
                  <c:v>1.5909</c:v>
                </c:pt>
                <c:pt idx="124">
                  <c:v>1.6046</c:v>
                </c:pt>
                <c:pt idx="125">
                  <c:v>1.5944</c:v>
                </c:pt>
                <c:pt idx="126">
                  <c:v>1.5758999999999972</c:v>
                </c:pt>
                <c:pt idx="127">
                  <c:v>1.5676999999999972</c:v>
                </c:pt>
                <c:pt idx="128">
                  <c:v>1.5632999999999975</c:v>
                </c:pt>
                <c:pt idx="129">
                  <c:v>1.556</c:v>
                </c:pt>
                <c:pt idx="130">
                  <c:v>1.5533999999999974</c:v>
                </c:pt>
                <c:pt idx="131">
                  <c:v>1.5648</c:v>
                </c:pt>
                <c:pt idx="132">
                  <c:v>1.5693999999999975</c:v>
                </c:pt>
                <c:pt idx="133">
                  <c:v>1.5537999999999972</c:v>
                </c:pt>
                <c:pt idx="134">
                  <c:v>1.5625</c:v>
                </c:pt>
                <c:pt idx="135">
                  <c:v>1.5774999999999977</c:v>
                </c:pt>
                <c:pt idx="136">
                  <c:v>1.5790999999999977</c:v>
                </c:pt>
                <c:pt idx="137">
                  <c:v>1.5754999999999975</c:v>
                </c:pt>
                <c:pt idx="138">
                  <c:v>1.5790999999999977</c:v>
                </c:pt>
                <c:pt idx="139">
                  <c:v>1.5745</c:v>
                </c:pt>
                <c:pt idx="140">
                  <c:v>1.5745</c:v>
                </c:pt>
                <c:pt idx="141">
                  <c:v>1.5635999999999974</c:v>
                </c:pt>
                <c:pt idx="142">
                  <c:v>1.5652999999999977</c:v>
                </c:pt>
                <c:pt idx="143">
                  <c:v>1.5526</c:v>
                </c:pt>
                <c:pt idx="144">
                  <c:v>1.552</c:v>
                </c:pt>
                <c:pt idx="145">
                  <c:v>1.54</c:v>
                </c:pt>
                <c:pt idx="146">
                  <c:v>1.5390999999999975</c:v>
                </c:pt>
                <c:pt idx="147">
                  <c:v>1.5554999999999974</c:v>
                </c:pt>
                <c:pt idx="148">
                  <c:v>1.5671999999999979</c:v>
                </c:pt>
                <c:pt idx="149">
                  <c:v>1.5492999999999977</c:v>
                </c:pt>
                <c:pt idx="150">
                  <c:v>1.5661</c:v>
                </c:pt>
                <c:pt idx="151">
                  <c:v>1.5672999999999975</c:v>
                </c:pt>
                <c:pt idx="152">
                  <c:v>1.5603</c:v>
                </c:pt>
                <c:pt idx="153">
                  <c:v>1.5878999999999972</c:v>
                </c:pt>
                <c:pt idx="154">
                  <c:v>1.5760999999999998</c:v>
                </c:pt>
                <c:pt idx="155">
                  <c:v>1.6263000000000001</c:v>
                </c:pt>
                <c:pt idx="156">
                  <c:v>1.589</c:v>
                </c:pt>
                <c:pt idx="157">
                  <c:v>1.625</c:v>
                </c:pt>
                <c:pt idx="158">
                  <c:v>1.6256999999999977</c:v>
                </c:pt>
                <c:pt idx="159">
                  <c:v>1.6116999999999975</c:v>
                </c:pt>
                <c:pt idx="160">
                  <c:v>1.5889</c:v>
                </c:pt>
                <c:pt idx="161">
                  <c:v>1.5901000000000001</c:v>
                </c:pt>
                <c:pt idx="162">
                  <c:v>1.5880000000000001</c:v>
                </c:pt>
                <c:pt idx="163">
                  <c:v>1.5991</c:v>
                </c:pt>
                <c:pt idx="164">
                  <c:v>1.5995999999999977</c:v>
                </c:pt>
                <c:pt idx="165">
                  <c:v>1.6077999999999977</c:v>
                </c:pt>
                <c:pt idx="166">
                  <c:v>1.5968</c:v>
                </c:pt>
                <c:pt idx="167">
                  <c:v>1.6136999999999977</c:v>
                </c:pt>
                <c:pt idx="168">
                  <c:v>1.6093999999999977</c:v>
                </c:pt>
                <c:pt idx="169">
                  <c:v>1.6032999999999977</c:v>
                </c:pt>
                <c:pt idx="170">
                  <c:v>1.5913999999999977</c:v>
                </c:pt>
                <c:pt idx="171">
                  <c:v>1.5951</c:v>
                </c:pt>
                <c:pt idx="172">
                  <c:v>1.5895999999999975</c:v>
                </c:pt>
                <c:pt idx="173">
                  <c:v>1.6196999999999975</c:v>
                </c:pt>
                <c:pt idx="174">
                  <c:v>1.641</c:v>
                </c:pt>
                <c:pt idx="175">
                  <c:v>1.6452</c:v>
                </c:pt>
                <c:pt idx="176">
                  <c:v>1.6571</c:v>
                </c:pt>
                <c:pt idx="177">
                  <c:v>1.6571</c:v>
                </c:pt>
                <c:pt idx="178">
                  <c:v>1.6602000000000001</c:v>
                </c:pt>
                <c:pt idx="179">
                  <c:v>1.6741000000000001</c:v>
                </c:pt>
                <c:pt idx="180">
                  <c:v>1.7025999999999974</c:v>
                </c:pt>
                <c:pt idx="181">
                  <c:v>1.7098999999999962</c:v>
                </c:pt>
                <c:pt idx="182">
                  <c:v>1.7143999999999975</c:v>
                </c:pt>
                <c:pt idx="183">
                  <c:v>1.7068999999999974</c:v>
                </c:pt>
                <c:pt idx="184">
                  <c:v>1.7330999999999972</c:v>
                </c:pt>
                <c:pt idx="185">
                  <c:v>1.7975999999999974</c:v>
                </c:pt>
                <c:pt idx="186">
                  <c:v>1.7854999999999972</c:v>
                </c:pt>
                <c:pt idx="187">
                  <c:v>1.8755999999999977</c:v>
                </c:pt>
                <c:pt idx="188">
                  <c:v>1.9055</c:v>
                </c:pt>
                <c:pt idx="189">
                  <c:v>1.833899999999997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816960"/>
        <c:axId val="101822848"/>
      </c:lineChart>
      <c:dateAx>
        <c:axId val="101816960"/>
        <c:scaling>
          <c:orientation val="minMax"/>
        </c:scaling>
        <c:delete val="0"/>
        <c:axPos val="b"/>
        <c:numFmt formatCode="[$-415]mmm\ yy;@" sourceLinked="0"/>
        <c:majorTickMark val="out"/>
        <c:minorTickMark val="none"/>
        <c:tickLblPos val="nextTo"/>
        <c:spPr>
          <a:effectLst/>
        </c:spPr>
        <c:txPr>
          <a:bodyPr/>
          <a:lstStyle/>
          <a:p>
            <a:pPr rtl="0">
              <a:defRPr sz="1050" b="0" i="0" u="none" strike="noStrike" baseline="0"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1822848"/>
        <c:crosses val="autoZero"/>
        <c:auto val="1"/>
        <c:lblOffset val="100"/>
        <c:baseTimeUnit val="days"/>
        <c:majorUnit val="1"/>
        <c:majorTimeUnit val="months"/>
      </c:dateAx>
      <c:valAx>
        <c:axId val="101822848"/>
        <c:scaling>
          <c:orientation val="minMax"/>
          <c:max val="1.9000000000000001"/>
          <c:min val="1.5"/>
        </c:scaling>
        <c:delete val="0"/>
        <c:axPos val="l"/>
        <c:majorGridlines>
          <c:spPr>
            <a:ln w="3175">
              <a:solidFill>
                <a:srgbClr val="C0C0C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effectLst/>
        </c:spPr>
        <c:txPr>
          <a:bodyPr/>
          <a:lstStyle/>
          <a:p>
            <a:pPr>
              <a:defRPr sz="1050" b="0" i="0" u="none" strike="noStrike" baseline="0">
                <a:solidFill>
                  <a:srgbClr val="000000"/>
                </a:solidFill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1816960"/>
        <c:crosses val="autoZero"/>
        <c:crossBetween val="between"/>
      </c:valAx>
      <c:spPr>
        <a:solidFill>
          <a:srgbClr val="FFFFFF"/>
        </a:solidFill>
        <a:ln w="25400">
          <a:noFill/>
        </a:ln>
      </c:spPr>
    </c:plotArea>
    <c:plotVisOnly val="1"/>
    <c:dispBlanksAs val="gap"/>
    <c:showDLblsOverMax val="0"/>
  </c:chart>
  <c:spPr>
    <a:ln w="25400">
      <a:noFill/>
    </a:ln>
  </c:spPr>
  <c:externalData r:id="rId1">
    <c:autoUpdate val="0"/>
  </c:externalData>
  <c:userShapes r:id="rId2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pl-PL" sz="1600" dirty="0" err="1" smtClean="0"/>
              <a:t>South</a:t>
            </a:r>
            <a:r>
              <a:rPr lang="pl-PL" sz="1600" dirty="0" smtClean="0"/>
              <a:t> </a:t>
            </a:r>
            <a:r>
              <a:rPr lang="en-US" sz="1600" dirty="0" smtClean="0"/>
              <a:t>Korea</a:t>
            </a:r>
            <a:endParaRPr lang="en-US" sz="1600" dirty="0"/>
          </a:p>
        </c:rich>
      </c:tx>
      <c:layout>
        <c:manualLayout>
          <c:xMode val="edge"/>
          <c:yMode val="edge"/>
          <c:x val="0.40127148715418581"/>
          <c:y val="7.8858131336227114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7772121111281335E-2"/>
          <c:y val="8.7633335622252548E-2"/>
          <c:w val="0.85825941537779615"/>
          <c:h val="0.78009758100216531"/>
        </c:manualLayout>
      </c:layout>
      <c:lineChart>
        <c:grouping val="standard"/>
        <c:varyColors val="0"/>
        <c:ser>
          <c:idx val="0"/>
          <c:order val="0"/>
          <c:tx>
            <c:strRef>
              <c:f>'FX emerg'!$AI$1</c:f>
              <c:strCache>
                <c:ptCount val="1"/>
                <c:pt idx="0">
                  <c:v>Korea Płd.</c:v>
                </c:pt>
              </c:strCache>
            </c:strRef>
          </c:tx>
          <c:spPr>
            <a:ln w="25400">
              <a:solidFill>
                <a:srgbClr val="0096EF"/>
              </a:solidFill>
              <a:prstDash val="solid"/>
            </a:ln>
          </c:spPr>
          <c:marker>
            <c:symbol val="none"/>
          </c:marker>
          <c:cat>
            <c:numRef>
              <c:f>'FX emerg'!$AA$787:$AA$976</c:f>
              <c:numCache>
                <c:formatCode>dd/mm/yy</c:formatCode>
                <c:ptCount val="190"/>
                <c:pt idx="0">
                  <c:v>40546</c:v>
                </c:pt>
                <c:pt idx="1">
                  <c:v>40547</c:v>
                </c:pt>
                <c:pt idx="2">
                  <c:v>40548</c:v>
                </c:pt>
                <c:pt idx="3">
                  <c:v>40549</c:v>
                </c:pt>
                <c:pt idx="4">
                  <c:v>40550</c:v>
                </c:pt>
                <c:pt idx="5">
                  <c:v>40553</c:v>
                </c:pt>
                <c:pt idx="6">
                  <c:v>40554</c:v>
                </c:pt>
                <c:pt idx="7">
                  <c:v>40555</c:v>
                </c:pt>
                <c:pt idx="8">
                  <c:v>40556</c:v>
                </c:pt>
                <c:pt idx="9">
                  <c:v>40557</c:v>
                </c:pt>
                <c:pt idx="10">
                  <c:v>40560</c:v>
                </c:pt>
                <c:pt idx="11">
                  <c:v>40561</c:v>
                </c:pt>
                <c:pt idx="12">
                  <c:v>40562</c:v>
                </c:pt>
                <c:pt idx="13">
                  <c:v>40563</c:v>
                </c:pt>
                <c:pt idx="14">
                  <c:v>40564</c:v>
                </c:pt>
                <c:pt idx="15">
                  <c:v>40567</c:v>
                </c:pt>
                <c:pt idx="16">
                  <c:v>40568</c:v>
                </c:pt>
                <c:pt idx="17">
                  <c:v>40569</c:v>
                </c:pt>
                <c:pt idx="18">
                  <c:v>40570</c:v>
                </c:pt>
                <c:pt idx="19">
                  <c:v>40571</c:v>
                </c:pt>
                <c:pt idx="20">
                  <c:v>40574</c:v>
                </c:pt>
                <c:pt idx="21">
                  <c:v>40575</c:v>
                </c:pt>
                <c:pt idx="22">
                  <c:v>40576</c:v>
                </c:pt>
                <c:pt idx="23">
                  <c:v>40577</c:v>
                </c:pt>
                <c:pt idx="24">
                  <c:v>40578</c:v>
                </c:pt>
                <c:pt idx="25">
                  <c:v>40581</c:v>
                </c:pt>
                <c:pt idx="26">
                  <c:v>40582</c:v>
                </c:pt>
                <c:pt idx="27">
                  <c:v>40583</c:v>
                </c:pt>
                <c:pt idx="28">
                  <c:v>40584</c:v>
                </c:pt>
                <c:pt idx="29">
                  <c:v>40585</c:v>
                </c:pt>
                <c:pt idx="30">
                  <c:v>40588</c:v>
                </c:pt>
                <c:pt idx="31">
                  <c:v>40589</c:v>
                </c:pt>
                <c:pt idx="32">
                  <c:v>40590</c:v>
                </c:pt>
                <c:pt idx="33">
                  <c:v>40591</c:v>
                </c:pt>
                <c:pt idx="34">
                  <c:v>40592</c:v>
                </c:pt>
                <c:pt idx="35">
                  <c:v>40595</c:v>
                </c:pt>
                <c:pt idx="36">
                  <c:v>40596</c:v>
                </c:pt>
                <c:pt idx="37">
                  <c:v>40597</c:v>
                </c:pt>
                <c:pt idx="38">
                  <c:v>40598</c:v>
                </c:pt>
                <c:pt idx="39">
                  <c:v>40599</c:v>
                </c:pt>
                <c:pt idx="40">
                  <c:v>40602</c:v>
                </c:pt>
                <c:pt idx="41">
                  <c:v>40603</c:v>
                </c:pt>
                <c:pt idx="42">
                  <c:v>40604</c:v>
                </c:pt>
                <c:pt idx="43">
                  <c:v>40605</c:v>
                </c:pt>
                <c:pt idx="44">
                  <c:v>40606</c:v>
                </c:pt>
                <c:pt idx="45">
                  <c:v>40609</c:v>
                </c:pt>
                <c:pt idx="46">
                  <c:v>40610</c:v>
                </c:pt>
                <c:pt idx="47">
                  <c:v>40611</c:v>
                </c:pt>
                <c:pt idx="48">
                  <c:v>40612</c:v>
                </c:pt>
                <c:pt idx="49">
                  <c:v>40613</c:v>
                </c:pt>
                <c:pt idx="50">
                  <c:v>40616</c:v>
                </c:pt>
                <c:pt idx="51">
                  <c:v>40617</c:v>
                </c:pt>
                <c:pt idx="52">
                  <c:v>40618</c:v>
                </c:pt>
                <c:pt idx="53">
                  <c:v>40619</c:v>
                </c:pt>
                <c:pt idx="54">
                  <c:v>40620</c:v>
                </c:pt>
                <c:pt idx="55">
                  <c:v>40623</c:v>
                </c:pt>
                <c:pt idx="56">
                  <c:v>40624</c:v>
                </c:pt>
                <c:pt idx="57">
                  <c:v>40625</c:v>
                </c:pt>
                <c:pt idx="58">
                  <c:v>40626</c:v>
                </c:pt>
                <c:pt idx="59">
                  <c:v>40627</c:v>
                </c:pt>
                <c:pt idx="60">
                  <c:v>40630</c:v>
                </c:pt>
                <c:pt idx="61">
                  <c:v>40631</c:v>
                </c:pt>
                <c:pt idx="62">
                  <c:v>40632</c:v>
                </c:pt>
                <c:pt idx="63">
                  <c:v>40633</c:v>
                </c:pt>
                <c:pt idx="64">
                  <c:v>40634</c:v>
                </c:pt>
                <c:pt idx="65">
                  <c:v>40637</c:v>
                </c:pt>
                <c:pt idx="66">
                  <c:v>40638</c:v>
                </c:pt>
                <c:pt idx="67">
                  <c:v>40639</c:v>
                </c:pt>
                <c:pt idx="68">
                  <c:v>40640</c:v>
                </c:pt>
                <c:pt idx="69">
                  <c:v>40641</c:v>
                </c:pt>
                <c:pt idx="70">
                  <c:v>40644</c:v>
                </c:pt>
                <c:pt idx="71">
                  <c:v>40645</c:v>
                </c:pt>
                <c:pt idx="72">
                  <c:v>40646</c:v>
                </c:pt>
                <c:pt idx="73">
                  <c:v>40647</c:v>
                </c:pt>
                <c:pt idx="74">
                  <c:v>40648</c:v>
                </c:pt>
                <c:pt idx="75">
                  <c:v>40651</c:v>
                </c:pt>
                <c:pt idx="76">
                  <c:v>40652</c:v>
                </c:pt>
                <c:pt idx="77">
                  <c:v>40653</c:v>
                </c:pt>
                <c:pt idx="78">
                  <c:v>40654</c:v>
                </c:pt>
                <c:pt idx="79">
                  <c:v>40655</c:v>
                </c:pt>
                <c:pt idx="80">
                  <c:v>40658</c:v>
                </c:pt>
                <c:pt idx="81">
                  <c:v>40659</c:v>
                </c:pt>
                <c:pt idx="82">
                  <c:v>40660</c:v>
                </c:pt>
                <c:pt idx="83">
                  <c:v>40661</c:v>
                </c:pt>
                <c:pt idx="84">
                  <c:v>40662</c:v>
                </c:pt>
                <c:pt idx="85">
                  <c:v>40665</c:v>
                </c:pt>
                <c:pt idx="86">
                  <c:v>40666</c:v>
                </c:pt>
                <c:pt idx="87">
                  <c:v>40667</c:v>
                </c:pt>
                <c:pt idx="88">
                  <c:v>40668</c:v>
                </c:pt>
                <c:pt idx="89">
                  <c:v>40669</c:v>
                </c:pt>
                <c:pt idx="90">
                  <c:v>40672</c:v>
                </c:pt>
                <c:pt idx="91">
                  <c:v>40673</c:v>
                </c:pt>
                <c:pt idx="92">
                  <c:v>40674</c:v>
                </c:pt>
                <c:pt idx="93">
                  <c:v>40675</c:v>
                </c:pt>
                <c:pt idx="94">
                  <c:v>40676</c:v>
                </c:pt>
                <c:pt idx="95">
                  <c:v>40679</c:v>
                </c:pt>
                <c:pt idx="96">
                  <c:v>40680</c:v>
                </c:pt>
                <c:pt idx="97">
                  <c:v>40681</c:v>
                </c:pt>
                <c:pt idx="98">
                  <c:v>40682</c:v>
                </c:pt>
                <c:pt idx="99">
                  <c:v>40683</c:v>
                </c:pt>
                <c:pt idx="100">
                  <c:v>40686</c:v>
                </c:pt>
                <c:pt idx="101">
                  <c:v>40687</c:v>
                </c:pt>
                <c:pt idx="102">
                  <c:v>40688</c:v>
                </c:pt>
                <c:pt idx="103">
                  <c:v>40689</c:v>
                </c:pt>
                <c:pt idx="104">
                  <c:v>40690</c:v>
                </c:pt>
                <c:pt idx="105">
                  <c:v>40693</c:v>
                </c:pt>
                <c:pt idx="106">
                  <c:v>40694</c:v>
                </c:pt>
                <c:pt idx="107">
                  <c:v>40695</c:v>
                </c:pt>
                <c:pt idx="108">
                  <c:v>40696</c:v>
                </c:pt>
                <c:pt idx="109">
                  <c:v>40697</c:v>
                </c:pt>
                <c:pt idx="110">
                  <c:v>40700</c:v>
                </c:pt>
                <c:pt idx="111">
                  <c:v>40701</c:v>
                </c:pt>
                <c:pt idx="112">
                  <c:v>40702</c:v>
                </c:pt>
                <c:pt idx="113">
                  <c:v>40703</c:v>
                </c:pt>
                <c:pt idx="114">
                  <c:v>40704</c:v>
                </c:pt>
                <c:pt idx="115">
                  <c:v>40707</c:v>
                </c:pt>
                <c:pt idx="116">
                  <c:v>40708</c:v>
                </c:pt>
                <c:pt idx="117">
                  <c:v>40709</c:v>
                </c:pt>
                <c:pt idx="118">
                  <c:v>40710</c:v>
                </c:pt>
                <c:pt idx="119">
                  <c:v>40711</c:v>
                </c:pt>
                <c:pt idx="120">
                  <c:v>40714</c:v>
                </c:pt>
                <c:pt idx="121">
                  <c:v>40715</c:v>
                </c:pt>
                <c:pt idx="122">
                  <c:v>40716</c:v>
                </c:pt>
                <c:pt idx="123">
                  <c:v>40717</c:v>
                </c:pt>
                <c:pt idx="124">
                  <c:v>40718</c:v>
                </c:pt>
                <c:pt idx="125">
                  <c:v>40721</c:v>
                </c:pt>
                <c:pt idx="126">
                  <c:v>40722</c:v>
                </c:pt>
                <c:pt idx="127">
                  <c:v>40723</c:v>
                </c:pt>
                <c:pt idx="128">
                  <c:v>40724</c:v>
                </c:pt>
                <c:pt idx="129">
                  <c:v>40725</c:v>
                </c:pt>
                <c:pt idx="130">
                  <c:v>40728</c:v>
                </c:pt>
                <c:pt idx="131">
                  <c:v>40729</c:v>
                </c:pt>
                <c:pt idx="132">
                  <c:v>40730</c:v>
                </c:pt>
                <c:pt idx="133">
                  <c:v>40731</c:v>
                </c:pt>
                <c:pt idx="134">
                  <c:v>40732</c:v>
                </c:pt>
                <c:pt idx="135">
                  <c:v>40735</c:v>
                </c:pt>
                <c:pt idx="136">
                  <c:v>40736</c:v>
                </c:pt>
                <c:pt idx="137">
                  <c:v>40737</c:v>
                </c:pt>
                <c:pt idx="138">
                  <c:v>40738</c:v>
                </c:pt>
                <c:pt idx="139">
                  <c:v>40739</c:v>
                </c:pt>
                <c:pt idx="140">
                  <c:v>40742</c:v>
                </c:pt>
                <c:pt idx="141">
                  <c:v>40743</c:v>
                </c:pt>
                <c:pt idx="142">
                  <c:v>40744</c:v>
                </c:pt>
                <c:pt idx="143">
                  <c:v>40745</c:v>
                </c:pt>
                <c:pt idx="144">
                  <c:v>40746</c:v>
                </c:pt>
                <c:pt idx="145">
                  <c:v>40749</c:v>
                </c:pt>
                <c:pt idx="146">
                  <c:v>40750</c:v>
                </c:pt>
                <c:pt idx="147">
                  <c:v>40751</c:v>
                </c:pt>
                <c:pt idx="148">
                  <c:v>40752</c:v>
                </c:pt>
                <c:pt idx="149">
                  <c:v>40753</c:v>
                </c:pt>
                <c:pt idx="150">
                  <c:v>40756</c:v>
                </c:pt>
                <c:pt idx="151">
                  <c:v>40757</c:v>
                </c:pt>
                <c:pt idx="152">
                  <c:v>40758</c:v>
                </c:pt>
                <c:pt idx="153">
                  <c:v>40759</c:v>
                </c:pt>
                <c:pt idx="154">
                  <c:v>40760</c:v>
                </c:pt>
                <c:pt idx="155">
                  <c:v>40763</c:v>
                </c:pt>
                <c:pt idx="156">
                  <c:v>40764</c:v>
                </c:pt>
                <c:pt idx="157">
                  <c:v>40765</c:v>
                </c:pt>
                <c:pt idx="158">
                  <c:v>40766</c:v>
                </c:pt>
                <c:pt idx="159">
                  <c:v>40767</c:v>
                </c:pt>
                <c:pt idx="160">
                  <c:v>40770</c:v>
                </c:pt>
                <c:pt idx="161">
                  <c:v>40771</c:v>
                </c:pt>
                <c:pt idx="162">
                  <c:v>40772</c:v>
                </c:pt>
                <c:pt idx="163">
                  <c:v>40773</c:v>
                </c:pt>
                <c:pt idx="164">
                  <c:v>40774</c:v>
                </c:pt>
                <c:pt idx="165">
                  <c:v>40777</c:v>
                </c:pt>
                <c:pt idx="166">
                  <c:v>40778</c:v>
                </c:pt>
                <c:pt idx="167">
                  <c:v>40779</c:v>
                </c:pt>
                <c:pt idx="168">
                  <c:v>40780</c:v>
                </c:pt>
                <c:pt idx="169">
                  <c:v>40781</c:v>
                </c:pt>
                <c:pt idx="170">
                  <c:v>40784</c:v>
                </c:pt>
                <c:pt idx="171">
                  <c:v>40785</c:v>
                </c:pt>
                <c:pt idx="172">
                  <c:v>40786</c:v>
                </c:pt>
                <c:pt idx="173">
                  <c:v>40787</c:v>
                </c:pt>
                <c:pt idx="174">
                  <c:v>40788</c:v>
                </c:pt>
                <c:pt idx="175">
                  <c:v>40791</c:v>
                </c:pt>
                <c:pt idx="176">
                  <c:v>40792</c:v>
                </c:pt>
                <c:pt idx="177">
                  <c:v>40793</c:v>
                </c:pt>
                <c:pt idx="178">
                  <c:v>40794</c:v>
                </c:pt>
                <c:pt idx="179">
                  <c:v>40795</c:v>
                </c:pt>
                <c:pt idx="180">
                  <c:v>40798</c:v>
                </c:pt>
                <c:pt idx="181">
                  <c:v>40799</c:v>
                </c:pt>
                <c:pt idx="182">
                  <c:v>40800</c:v>
                </c:pt>
                <c:pt idx="183">
                  <c:v>40801</c:v>
                </c:pt>
                <c:pt idx="184">
                  <c:v>40802</c:v>
                </c:pt>
                <c:pt idx="185">
                  <c:v>40805</c:v>
                </c:pt>
                <c:pt idx="186">
                  <c:v>40806</c:v>
                </c:pt>
                <c:pt idx="187">
                  <c:v>40807</c:v>
                </c:pt>
                <c:pt idx="188">
                  <c:v>40808</c:v>
                </c:pt>
                <c:pt idx="189">
                  <c:v>40809</c:v>
                </c:pt>
              </c:numCache>
            </c:numRef>
          </c:cat>
          <c:val>
            <c:numRef>
              <c:f>'FX emerg'!$AH$787:$AH$976</c:f>
              <c:numCache>
                <c:formatCode>General</c:formatCode>
                <c:ptCount val="190"/>
                <c:pt idx="0">
                  <c:v>1126.25</c:v>
                </c:pt>
                <c:pt idx="1">
                  <c:v>1121.1299999999999</c:v>
                </c:pt>
                <c:pt idx="2">
                  <c:v>1125.96</c:v>
                </c:pt>
                <c:pt idx="3">
                  <c:v>1119.83</c:v>
                </c:pt>
                <c:pt idx="4">
                  <c:v>1122.3</c:v>
                </c:pt>
                <c:pt idx="5">
                  <c:v>1124.3799999999999</c:v>
                </c:pt>
                <c:pt idx="6">
                  <c:v>1125.1299999999999</c:v>
                </c:pt>
                <c:pt idx="7">
                  <c:v>1119.3599999999999</c:v>
                </c:pt>
                <c:pt idx="8">
                  <c:v>1114.1799999999998</c:v>
                </c:pt>
                <c:pt idx="9">
                  <c:v>1114.3</c:v>
                </c:pt>
                <c:pt idx="10">
                  <c:v>1117.48</c:v>
                </c:pt>
                <c:pt idx="11">
                  <c:v>1116.53</c:v>
                </c:pt>
                <c:pt idx="12">
                  <c:v>1110.43</c:v>
                </c:pt>
                <c:pt idx="13">
                  <c:v>1121.2</c:v>
                </c:pt>
                <c:pt idx="14">
                  <c:v>1124.0999999999999</c:v>
                </c:pt>
                <c:pt idx="15">
                  <c:v>1121.0999999999999</c:v>
                </c:pt>
                <c:pt idx="16">
                  <c:v>1118.25</c:v>
                </c:pt>
                <c:pt idx="17">
                  <c:v>1116</c:v>
                </c:pt>
                <c:pt idx="18">
                  <c:v>1114.3</c:v>
                </c:pt>
                <c:pt idx="19">
                  <c:v>1113.83</c:v>
                </c:pt>
                <c:pt idx="20">
                  <c:v>1121.3</c:v>
                </c:pt>
                <c:pt idx="21">
                  <c:v>1116.95</c:v>
                </c:pt>
                <c:pt idx="22">
                  <c:v>1101.7</c:v>
                </c:pt>
                <c:pt idx="23">
                  <c:v>1103.45</c:v>
                </c:pt>
                <c:pt idx="24">
                  <c:v>1103.25</c:v>
                </c:pt>
                <c:pt idx="25">
                  <c:v>1107.5</c:v>
                </c:pt>
                <c:pt idx="26">
                  <c:v>1104.6799999999998</c:v>
                </c:pt>
                <c:pt idx="27">
                  <c:v>1108.8499999999999</c:v>
                </c:pt>
                <c:pt idx="28">
                  <c:v>1116.78</c:v>
                </c:pt>
                <c:pt idx="29">
                  <c:v>1128.48</c:v>
                </c:pt>
                <c:pt idx="30">
                  <c:v>1122.8799999999999</c:v>
                </c:pt>
                <c:pt idx="31">
                  <c:v>1119.25</c:v>
                </c:pt>
                <c:pt idx="32">
                  <c:v>1120.28</c:v>
                </c:pt>
                <c:pt idx="33">
                  <c:v>1117.4000000000001</c:v>
                </c:pt>
                <c:pt idx="34">
                  <c:v>1112.0999999999999</c:v>
                </c:pt>
                <c:pt idx="35">
                  <c:v>1118.03</c:v>
                </c:pt>
                <c:pt idx="36">
                  <c:v>1127.5999999999999</c:v>
                </c:pt>
                <c:pt idx="37">
                  <c:v>1124</c:v>
                </c:pt>
                <c:pt idx="38">
                  <c:v>1131.05</c:v>
                </c:pt>
                <c:pt idx="39">
                  <c:v>1126.45</c:v>
                </c:pt>
                <c:pt idx="40">
                  <c:v>1128.9000000000001</c:v>
                </c:pt>
                <c:pt idx="41">
                  <c:v>1123.6499999999999</c:v>
                </c:pt>
                <c:pt idx="42">
                  <c:v>1128.25</c:v>
                </c:pt>
                <c:pt idx="43">
                  <c:v>1119.98</c:v>
                </c:pt>
                <c:pt idx="44">
                  <c:v>1114.5999999999999</c:v>
                </c:pt>
                <c:pt idx="45">
                  <c:v>1119.3</c:v>
                </c:pt>
                <c:pt idx="46">
                  <c:v>1117.83</c:v>
                </c:pt>
                <c:pt idx="47">
                  <c:v>1115.6499999999999</c:v>
                </c:pt>
                <c:pt idx="48">
                  <c:v>1121.8499999999999</c:v>
                </c:pt>
                <c:pt idx="49">
                  <c:v>1124.1799999999998</c:v>
                </c:pt>
                <c:pt idx="50">
                  <c:v>1129.6299999999999</c:v>
                </c:pt>
                <c:pt idx="51">
                  <c:v>1134.8</c:v>
                </c:pt>
                <c:pt idx="52">
                  <c:v>1130.8499999999999</c:v>
                </c:pt>
                <c:pt idx="53">
                  <c:v>1135.1299999999999</c:v>
                </c:pt>
                <c:pt idx="54">
                  <c:v>1126.6499999999999</c:v>
                </c:pt>
                <c:pt idx="55">
                  <c:v>1124.8</c:v>
                </c:pt>
                <c:pt idx="56">
                  <c:v>1120.95</c:v>
                </c:pt>
                <c:pt idx="57">
                  <c:v>1124.3499999999999</c:v>
                </c:pt>
                <c:pt idx="58">
                  <c:v>1121.1499999999999</c:v>
                </c:pt>
                <c:pt idx="59">
                  <c:v>1114.2</c:v>
                </c:pt>
                <c:pt idx="60">
                  <c:v>1114.4000000000001</c:v>
                </c:pt>
                <c:pt idx="61">
                  <c:v>1110.25</c:v>
                </c:pt>
                <c:pt idx="62">
                  <c:v>1104.0999999999999</c:v>
                </c:pt>
                <c:pt idx="63">
                  <c:v>1096.93</c:v>
                </c:pt>
                <c:pt idx="64">
                  <c:v>1091.2</c:v>
                </c:pt>
                <c:pt idx="65">
                  <c:v>1086.7</c:v>
                </c:pt>
                <c:pt idx="66">
                  <c:v>1090.1499999999999</c:v>
                </c:pt>
                <c:pt idx="67">
                  <c:v>1086.9000000000001</c:v>
                </c:pt>
                <c:pt idx="68">
                  <c:v>1088.3</c:v>
                </c:pt>
                <c:pt idx="69">
                  <c:v>1083.03</c:v>
                </c:pt>
                <c:pt idx="70">
                  <c:v>1084.21</c:v>
                </c:pt>
                <c:pt idx="71">
                  <c:v>1093.7</c:v>
                </c:pt>
                <c:pt idx="72">
                  <c:v>1087.93</c:v>
                </c:pt>
                <c:pt idx="73">
                  <c:v>1086.8499999999999</c:v>
                </c:pt>
                <c:pt idx="74">
                  <c:v>1089.8</c:v>
                </c:pt>
                <c:pt idx="75">
                  <c:v>1088.4000000000001</c:v>
                </c:pt>
                <c:pt idx="76">
                  <c:v>1091.4000000000001</c:v>
                </c:pt>
                <c:pt idx="77">
                  <c:v>1082.3499999999999</c:v>
                </c:pt>
                <c:pt idx="78">
                  <c:v>1080.1299999999999</c:v>
                </c:pt>
                <c:pt idx="79">
                  <c:v>1080.8</c:v>
                </c:pt>
                <c:pt idx="80">
                  <c:v>1081.3499999999999</c:v>
                </c:pt>
                <c:pt idx="81">
                  <c:v>1086.3</c:v>
                </c:pt>
                <c:pt idx="82">
                  <c:v>1079.45</c:v>
                </c:pt>
                <c:pt idx="83">
                  <c:v>1071.23</c:v>
                </c:pt>
                <c:pt idx="84">
                  <c:v>1071.53</c:v>
                </c:pt>
                <c:pt idx="85">
                  <c:v>1065.23</c:v>
                </c:pt>
                <c:pt idx="86">
                  <c:v>1068.8</c:v>
                </c:pt>
                <c:pt idx="87">
                  <c:v>1074.8499999999999</c:v>
                </c:pt>
                <c:pt idx="88">
                  <c:v>1081.45</c:v>
                </c:pt>
                <c:pt idx="89">
                  <c:v>1083.3399999999999</c:v>
                </c:pt>
                <c:pt idx="90">
                  <c:v>1082.3799999999999</c:v>
                </c:pt>
                <c:pt idx="91">
                  <c:v>1083.7</c:v>
                </c:pt>
                <c:pt idx="92">
                  <c:v>1074.95</c:v>
                </c:pt>
                <c:pt idx="93">
                  <c:v>1085.1499999999999</c:v>
                </c:pt>
                <c:pt idx="94">
                  <c:v>1086.8</c:v>
                </c:pt>
                <c:pt idx="95">
                  <c:v>1091.1799999999998</c:v>
                </c:pt>
                <c:pt idx="96">
                  <c:v>1088.5</c:v>
                </c:pt>
                <c:pt idx="97">
                  <c:v>1087.9000000000001</c:v>
                </c:pt>
                <c:pt idx="98">
                  <c:v>1086.25</c:v>
                </c:pt>
                <c:pt idx="99">
                  <c:v>1082.8</c:v>
                </c:pt>
                <c:pt idx="100">
                  <c:v>1097.8</c:v>
                </c:pt>
                <c:pt idx="101">
                  <c:v>1093.4100000000001</c:v>
                </c:pt>
                <c:pt idx="102">
                  <c:v>1101.45</c:v>
                </c:pt>
                <c:pt idx="103">
                  <c:v>1088.4000000000001</c:v>
                </c:pt>
                <c:pt idx="104">
                  <c:v>1082.25</c:v>
                </c:pt>
                <c:pt idx="105">
                  <c:v>1080.0999999999999</c:v>
                </c:pt>
                <c:pt idx="106">
                  <c:v>1079.1499999999999</c:v>
                </c:pt>
                <c:pt idx="107">
                  <c:v>1074.58</c:v>
                </c:pt>
                <c:pt idx="108">
                  <c:v>1080.8499999999999</c:v>
                </c:pt>
                <c:pt idx="109">
                  <c:v>1080.08</c:v>
                </c:pt>
                <c:pt idx="110">
                  <c:v>1078.0999999999999</c:v>
                </c:pt>
                <c:pt idx="111">
                  <c:v>1082.05</c:v>
                </c:pt>
                <c:pt idx="112">
                  <c:v>1080.0999999999999</c:v>
                </c:pt>
                <c:pt idx="113">
                  <c:v>1082.95</c:v>
                </c:pt>
                <c:pt idx="114">
                  <c:v>1082.6499999999999</c:v>
                </c:pt>
                <c:pt idx="115">
                  <c:v>1085.8499999999999</c:v>
                </c:pt>
                <c:pt idx="116">
                  <c:v>1082.5999999999999</c:v>
                </c:pt>
                <c:pt idx="117">
                  <c:v>1083</c:v>
                </c:pt>
                <c:pt idx="118">
                  <c:v>1089.73</c:v>
                </c:pt>
                <c:pt idx="119">
                  <c:v>1085.9000000000001</c:v>
                </c:pt>
                <c:pt idx="120">
                  <c:v>1085.6499999999999</c:v>
                </c:pt>
                <c:pt idx="121">
                  <c:v>1078.73</c:v>
                </c:pt>
                <c:pt idx="122">
                  <c:v>1073.9000000000001</c:v>
                </c:pt>
                <c:pt idx="123">
                  <c:v>1076.8</c:v>
                </c:pt>
                <c:pt idx="124">
                  <c:v>1078.75</c:v>
                </c:pt>
                <c:pt idx="125">
                  <c:v>1085.6299999999999</c:v>
                </c:pt>
                <c:pt idx="126">
                  <c:v>1083.55</c:v>
                </c:pt>
                <c:pt idx="127">
                  <c:v>1076.8</c:v>
                </c:pt>
                <c:pt idx="128">
                  <c:v>1067.6499999999999</c:v>
                </c:pt>
                <c:pt idx="129">
                  <c:v>1066.6499999999999</c:v>
                </c:pt>
                <c:pt idx="130">
                  <c:v>1063.5</c:v>
                </c:pt>
                <c:pt idx="131">
                  <c:v>1066.1499999999999</c:v>
                </c:pt>
                <c:pt idx="132">
                  <c:v>1063.45</c:v>
                </c:pt>
                <c:pt idx="133">
                  <c:v>1064.05</c:v>
                </c:pt>
                <c:pt idx="134">
                  <c:v>1057.08</c:v>
                </c:pt>
                <c:pt idx="135">
                  <c:v>1058</c:v>
                </c:pt>
                <c:pt idx="136">
                  <c:v>1066.43</c:v>
                </c:pt>
                <c:pt idx="137">
                  <c:v>1060.49</c:v>
                </c:pt>
                <c:pt idx="138">
                  <c:v>1058.45</c:v>
                </c:pt>
                <c:pt idx="139">
                  <c:v>1057.95</c:v>
                </c:pt>
                <c:pt idx="140">
                  <c:v>1060.93</c:v>
                </c:pt>
                <c:pt idx="141">
                  <c:v>1059.73</c:v>
                </c:pt>
                <c:pt idx="142">
                  <c:v>1055.3</c:v>
                </c:pt>
                <c:pt idx="143">
                  <c:v>1054.7</c:v>
                </c:pt>
                <c:pt idx="144">
                  <c:v>1051.98</c:v>
                </c:pt>
                <c:pt idx="145">
                  <c:v>1056.26</c:v>
                </c:pt>
                <c:pt idx="146">
                  <c:v>1051.95</c:v>
                </c:pt>
                <c:pt idx="147">
                  <c:v>1049.97</c:v>
                </c:pt>
                <c:pt idx="148">
                  <c:v>1051.5</c:v>
                </c:pt>
                <c:pt idx="149">
                  <c:v>1054.07</c:v>
                </c:pt>
                <c:pt idx="150">
                  <c:v>1050.7</c:v>
                </c:pt>
                <c:pt idx="151">
                  <c:v>1050.77</c:v>
                </c:pt>
                <c:pt idx="152">
                  <c:v>1060.3799999999999</c:v>
                </c:pt>
                <c:pt idx="153">
                  <c:v>1061.7</c:v>
                </c:pt>
                <c:pt idx="154">
                  <c:v>1067.3499999999999</c:v>
                </c:pt>
                <c:pt idx="155">
                  <c:v>1083.22</c:v>
                </c:pt>
                <c:pt idx="156">
                  <c:v>1088</c:v>
                </c:pt>
                <c:pt idx="157">
                  <c:v>1080.2</c:v>
                </c:pt>
                <c:pt idx="158">
                  <c:v>1081.74</c:v>
                </c:pt>
                <c:pt idx="159">
                  <c:v>1079.6299999999999</c:v>
                </c:pt>
                <c:pt idx="160">
                  <c:v>1072.2</c:v>
                </c:pt>
                <c:pt idx="161">
                  <c:v>1070.05</c:v>
                </c:pt>
                <c:pt idx="162">
                  <c:v>1071.52</c:v>
                </c:pt>
                <c:pt idx="163">
                  <c:v>1074</c:v>
                </c:pt>
                <c:pt idx="164">
                  <c:v>1087.55</c:v>
                </c:pt>
                <c:pt idx="165">
                  <c:v>1083.8799999999999</c:v>
                </c:pt>
                <c:pt idx="166">
                  <c:v>1077.9000000000001</c:v>
                </c:pt>
                <c:pt idx="167">
                  <c:v>1082.24</c:v>
                </c:pt>
                <c:pt idx="168">
                  <c:v>1087.6599999999999</c:v>
                </c:pt>
                <c:pt idx="169">
                  <c:v>1081.8499999999999</c:v>
                </c:pt>
                <c:pt idx="170">
                  <c:v>1073.77</c:v>
                </c:pt>
                <c:pt idx="171">
                  <c:v>1071.7</c:v>
                </c:pt>
                <c:pt idx="172">
                  <c:v>1066.77</c:v>
                </c:pt>
                <c:pt idx="173">
                  <c:v>1061.3</c:v>
                </c:pt>
                <c:pt idx="174">
                  <c:v>1063.02</c:v>
                </c:pt>
                <c:pt idx="175">
                  <c:v>1068.8399999999999</c:v>
                </c:pt>
                <c:pt idx="176">
                  <c:v>1074.82</c:v>
                </c:pt>
                <c:pt idx="177">
                  <c:v>1071.8399999999999</c:v>
                </c:pt>
                <c:pt idx="178">
                  <c:v>1075.1299999999999</c:v>
                </c:pt>
                <c:pt idx="179">
                  <c:v>1077.3</c:v>
                </c:pt>
                <c:pt idx="180">
                  <c:v>1097.3</c:v>
                </c:pt>
                <c:pt idx="181">
                  <c:v>1095.4000000000001</c:v>
                </c:pt>
                <c:pt idx="182">
                  <c:v>1107.7</c:v>
                </c:pt>
                <c:pt idx="183">
                  <c:v>1116.26</c:v>
                </c:pt>
                <c:pt idx="184">
                  <c:v>1112.0999999999999</c:v>
                </c:pt>
                <c:pt idx="185">
                  <c:v>1137.07</c:v>
                </c:pt>
                <c:pt idx="186">
                  <c:v>1148.9000000000001</c:v>
                </c:pt>
                <c:pt idx="187">
                  <c:v>1149.82</c:v>
                </c:pt>
                <c:pt idx="188">
                  <c:v>1179.8499999999999</c:v>
                </c:pt>
                <c:pt idx="189">
                  <c:v>1167.3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3039360"/>
        <c:axId val="103040896"/>
      </c:lineChart>
      <c:dateAx>
        <c:axId val="103039360"/>
        <c:scaling>
          <c:orientation val="minMax"/>
        </c:scaling>
        <c:delete val="0"/>
        <c:axPos val="b"/>
        <c:numFmt formatCode="[$-415]mmm\ yy;@" sourceLinked="0"/>
        <c:majorTickMark val="out"/>
        <c:minorTickMark val="none"/>
        <c:tickLblPos val="nextTo"/>
        <c:spPr>
          <a:effectLst/>
        </c:spPr>
        <c:txPr>
          <a:bodyPr/>
          <a:lstStyle/>
          <a:p>
            <a:pPr rtl="0">
              <a:defRPr sz="1050" b="0" i="0" u="none" strike="noStrike" baseline="0"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3040896"/>
        <c:crosses val="autoZero"/>
        <c:auto val="1"/>
        <c:lblOffset val="100"/>
        <c:baseTimeUnit val="days"/>
        <c:majorUnit val="1"/>
        <c:majorTimeUnit val="months"/>
      </c:dateAx>
      <c:valAx>
        <c:axId val="103040896"/>
        <c:scaling>
          <c:orientation val="minMax"/>
          <c:min val="1000"/>
        </c:scaling>
        <c:delete val="0"/>
        <c:axPos val="l"/>
        <c:majorGridlines>
          <c:spPr>
            <a:ln w="3175">
              <a:solidFill>
                <a:srgbClr val="C0C0C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effectLst/>
        </c:spPr>
        <c:txPr>
          <a:bodyPr/>
          <a:lstStyle/>
          <a:p>
            <a:pPr>
              <a:defRPr sz="1050" b="0" i="0" u="none" strike="noStrike" baseline="0">
                <a:solidFill>
                  <a:srgbClr val="000000"/>
                </a:solidFill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3039360"/>
        <c:crosses val="autoZero"/>
        <c:crossBetween val="between"/>
      </c:valAx>
      <c:spPr>
        <a:solidFill>
          <a:srgbClr val="FFFFFF"/>
        </a:solidFill>
        <a:ln w="25400">
          <a:noFill/>
        </a:ln>
      </c:spPr>
    </c:plotArea>
    <c:plotVisOnly val="1"/>
    <c:dispBlanksAs val="gap"/>
    <c:showDLblsOverMax val="0"/>
  </c:chart>
  <c:spPr>
    <a:ln w="25400">
      <a:noFill/>
    </a:ln>
  </c:sp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/>
              <a:t>Reuters commodity index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1228408047016322"/>
          <c:y val="0.13203854906134041"/>
          <c:w val="0.85827146907456864"/>
          <c:h val="0.68020977965308915"/>
        </c:manualLayout>
      </c:layout>
      <c:lineChart>
        <c:grouping val="standard"/>
        <c:varyColors val="0"/>
        <c:ser>
          <c:idx val="0"/>
          <c:order val="0"/>
          <c:spPr>
            <a:ln w="25400">
              <a:solidFill>
                <a:srgbClr val="0096EF"/>
              </a:solidFill>
              <a:prstDash val="solid"/>
            </a:ln>
          </c:spPr>
          <c:marker>
            <c:symbol val="none"/>
          </c:marker>
          <c:cat>
            <c:numRef>
              <c:f>USA!$FV$4:$FV$4641</c:f>
              <c:numCache>
                <c:formatCode>dd/mm/yy</c:formatCode>
                <c:ptCount val="4638"/>
                <c:pt idx="0">
                  <c:v>34338</c:v>
                </c:pt>
                <c:pt idx="1">
                  <c:v>34339</c:v>
                </c:pt>
                <c:pt idx="2">
                  <c:v>34340</c:v>
                </c:pt>
                <c:pt idx="3">
                  <c:v>34341</c:v>
                </c:pt>
                <c:pt idx="4">
                  <c:v>34344</c:v>
                </c:pt>
                <c:pt idx="5">
                  <c:v>34345</c:v>
                </c:pt>
                <c:pt idx="6">
                  <c:v>34346</c:v>
                </c:pt>
                <c:pt idx="7">
                  <c:v>34347</c:v>
                </c:pt>
                <c:pt idx="8">
                  <c:v>34348</c:v>
                </c:pt>
                <c:pt idx="9">
                  <c:v>34351</c:v>
                </c:pt>
                <c:pt idx="10">
                  <c:v>34352</c:v>
                </c:pt>
                <c:pt idx="11">
                  <c:v>34353</c:v>
                </c:pt>
                <c:pt idx="12">
                  <c:v>34354</c:v>
                </c:pt>
                <c:pt idx="13">
                  <c:v>34355</c:v>
                </c:pt>
                <c:pt idx="14">
                  <c:v>34358</c:v>
                </c:pt>
                <c:pt idx="15">
                  <c:v>34359</c:v>
                </c:pt>
                <c:pt idx="16">
                  <c:v>34360</c:v>
                </c:pt>
                <c:pt idx="17">
                  <c:v>34361</c:v>
                </c:pt>
                <c:pt idx="18">
                  <c:v>34362</c:v>
                </c:pt>
                <c:pt idx="19">
                  <c:v>34365</c:v>
                </c:pt>
                <c:pt idx="20">
                  <c:v>34366</c:v>
                </c:pt>
                <c:pt idx="21">
                  <c:v>34367</c:v>
                </c:pt>
                <c:pt idx="22">
                  <c:v>34368</c:v>
                </c:pt>
                <c:pt idx="23">
                  <c:v>34369</c:v>
                </c:pt>
                <c:pt idx="24">
                  <c:v>34372</c:v>
                </c:pt>
                <c:pt idx="25">
                  <c:v>34373</c:v>
                </c:pt>
                <c:pt idx="26">
                  <c:v>34374</c:v>
                </c:pt>
                <c:pt idx="27">
                  <c:v>34375</c:v>
                </c:pt>
                <c:pt idx="28">
                  <c:v>34376</c:v>
                </c:pt>
                <c:pt idx="29">
                  <c:v>34379</c:v>
                </c:pt>
                <c:pt idx="30">
                  <c:v>34380</c:v>
                </c:pt>
                <c:pt idx="31">
                  <c:v>34381</c:v>
                </c:pt>
                <c:pt idx="32">
                  <c:v>34382</c:v>
                </c:pt>
                <c:pt idx="33">
                  <c:v>34383</c:v>
                </c:pt>
                <c:pt idx="34">
                  <c:v>34386</c:v>
                </c:pt>
                <c:pt idx="35">
                  <c:v>34387</c:v>
                </c:pt>
                <c:pt idx="36">
                  <c:v>34388</c:v>
                </c:pt>
                <c:pt idx="37">
                  <c:v>34389</c:v>
                </c:pt>
                <c:pt idx="38">
                  <c:v>34390</c:v>
                </c:pt>
                <c:pt idx="39">
                  <c:v>34393</c:v>
                </c:pt>
                <c:pt idx="40">
                  <c:v>34394</c:v>
                </c:pt>
                <c:pt idx="41">
                  <c:v>34395</c:v>
                </c:pt>
                <c:pt idx="42">
                  <c:v>34396</c:v>
                </c:pt>
                <c:pt idx="43">
                  <c:v>34397</c:v>
                </c:pt>
                <c:pt idx="44">
                  <c:v>34400</c:v>
                </c:pt>
                <c:pt idx="45">
                  <c:v>34401</c:v>
                </c:pt>
                <c:pt idx="46">
                  <c:v>34402</c:v>
                </c:pt>
                <c:pt idx="47">
                  <c:v>34403</c:v>
                </c:pt>
                <c:pt idx="48">
                  <c:v>34404</c:v>
                </c:pt>
                <c:pt idx="49">
                  <c:v>34407</c:v>
                </c:pt>
                <c:pt idx="50">
                  <c:v>34408</c:v>
                </c:pt>
                <c:pt idx="51">
                  <c:v>34409</c:v>
                </c:pt>
                <c:pt idx="52">
                  <c:v>34410</c:v>
                </c:pt>
                <c:pt idx="53">
                  <c:v>34411</c:v>
                </c:pt>
                <c:pt idx="54">
                  <c:v>34414</c:v>
                </c:pt>
                <c:pt idx="55">
                  <c:v>34415</c:v>
                </c:pt>
                <c:pt idx="56">
                  <c:v>34416</c:v>
                </c:pt>
                <c:pt idx="57">
                  <c:v>34417</c:v>
                </c:pt>
                <c:pt idx="58">
                  <c:v>34418</c:v>
                </c:pt>
                <c:pt idx="59">
                  <c:v>34421</c:v>
                </c:pt>
                <c:pt idx="60">
                  <c:v>34422</c:v>
                </c:pt>
                <c:pt idx="61">
                  <c:v>34423</c:v>
                </c:pt>
                <c:pt idx="62">
                  <c:v>34424</c:v>
                </c:pt>
                <c:pt idx="63">
                  <c:v>34425</c:v>
                </c:pt>
                <c:pt idx="64">
                  <c:v>34428</c:v>
                </c:pt>
                <c:pt idx="65">
                  <c:v>34429</c:v>
                </c:pt>
                <c:pt idx="66">
                  <c:v>34430</c:v>
                </c:pt>
                <c:pt idx="67">
                  <c:v>34431</c:v>
                </c:pt>
                <c:pt idx="68">
                  <c:v>34432</c:v>
                </c:pt>
                <c:pt idx="69">
                  <c:v>34435</c:v>
                </c:pt>
                <c:pt idx="70">
                  <c:v>34436</c:v>
                </c:pt>
                <c:pt idx="71">
                  <c:v>34437</c:v>
                </c:pt>
                <c:pt idx="72">
                  <c:v>34438</c:v>
                </c:pt>
                <c:pt idx="73">
                  <c:v>34439</c:v>
                </c:pt>
                <c:pt idx="74">
                  <c:v>34442</c:v>
                </c:pt>
                <c:pt idx="75">
                  <c:v>34443</c:v>
                </c:pt>
                <c:pt idx="76">
                  <c:v>34444</c:v>
                </c:pt>
                <c:pt idx="77">
                  <c:v>34445</c:v>
                </c:pt>
                <c:pt idx="78">
                  <c:v>34446</c:v>
                </c:pt>
                <c:pt idx="79">
                  <c:v>34449</c:v>
                </c:pt>
                <c:pt idx="80">
                  <c:v>34450</c:v>
                </c:pt>
                <c:pt idx="81">
                  <c:v>34451</c:v>
                </c:pt>
                <c:pt idx="82">
                  <c:v>34452</c:v>
                </c:pt>
                <c:pt idx="83">
                  <c:v>34453</c:v>
                </c:pt>
                <c:pt idx="84">
                  <c:v>34456</c:v>
                </c:pt>
                <c:pt idx="85">
                  <c:v>34457</c:v>
                </c:pt>
                <c:pt idx="86">
                  <c:v>34458</c:v>
                </c:pt>
                <c:pt idx="87">
                  <c:v>34459</c:v>
                </c:pt>
                <c:pt idx="88">
                  <c:v>34460</c:v>
                </c:pt>
                <c:pt idx="89">
                  <c:v>34463</c:v>
                </c:pt>
                <c:pt idx="90">
                  <c:v>34464</c:v>
                </c:pt>
                <c:pt idx="91">
                  <c:v>34465</c:v>
                </c:pt>
                <c:pt idx="92">
                  <c:v>34466</c:v>
                </c:pt>
                <c:pt idx="93">
                  <c:v>34467</c:v>
                </c:pt>
                <c:pt idx="94">
                  <c:v>34470</c:v>
                </c:pt>
                <c:pt idx="95">
                  <c:v>34471</c:v>
                </c:pt>
                <c:pt idx="96">
                  <c:v>34472</c:v>
                </c:pt>
                <c:pt idx="97">
                  <c:v>34473</c:v>
                </c:pt>
                <c:pt idx="98">
                  <c:v>34474</c:v>
                </c:pt>
                <c:pt idx="99">
                  <c:v>34477</c:v>
                </c:pt>
                <c:pt idx="100">
                  <c:v>34478</c:v>
                </c:pt>
                <c:pt idx="101">
                  <c:v>34479</c:v>
                </c:pt>
                <c:pt idx="102">
                  <c:v>34480</c:v>
                </c:pt>
                <c:pt idx="103">
                  <c:v>34481</c:v>
                </c:pt>
                <c:pt idx="104">
                  <c:v>34484</c:v>
                </c:pt>
                <c:pt idx="105">
                  <c:v>34485</c:v>
                </c:pt>
                <c:pt idx="106">
                  <c:v>34486</c:v>
                </c:pt>
                <c:pt idx="107">
                  <c:v>34487</c:v>
                </c:pt>
                <c:pt idx="108">
                  <c:v>34488</c:v>
                </c:pt>
                <c:pt idx="109">
                  <c:v>34491</c:v>
                </c:pt>
                <c:pt idx="110">
                  <c:v>34492</c:v>
                </c:pt>
                <c:pt idx="111">
                  <c:v>34493</c:v>
                </c:pt>
                <c:pt idx="112">
                  <c:v>34494</c:v>
                </c:pt>
                <c:pt idx="113">
                  <c:v>34495</c:v>
                </c:pt>
                <c:pt idx="114">
                  <c:v>34498</c:v>
                </c:pt>
                <c:pt idx="115">
                  <c:v>34499</c:v>
                </c:pt>
                <c:pt idx="116">
                  <c:v>34500</c:v>
                </c:pt>
                <c:pt idx="117">
                  <c:v>34501</c:v>
                </c:pt>
                <c:pt idx="118">
                  <c:v>34502</c:v>
                </c:pt>
                <c:pt idx="119">
                  <c:v>34505</c:v>
                </c:pt>
                <c:pt idx="120">
                  <c:v>34506</c:v>
                </c:pt>
                <c:pt idx="121">
                  <c:v>34507</c:v>
                </c:pt>
                <c:pt idx="122">
                  <c:v>34508</c:v>
                </c:pt>
                <c:pt idx="123">
                  <c:v>34509</c:v>
                </c:pt>
                <c:pt idx="124">
                  <c:v>34512</c:v>
                </c:pt>
                <c:pt idx="125">
                  <c:v>34513</c:v>
                </c:pt>
                <c:pt idx="126">
                  <c:v>34514</c:v>
                </c:pt>
                <c:pt idx="127">
                  <c:v>34515</c:v>
                </c:pt>
                <c:pt idx="128">
                  <c:v>34516</c:v>
                </c:pt>
                <c:pt idx="129">
                  <c:v>34519</c:v>
                </c:pt>
                <c:pt idx="130">
                  <c:v>34520</c:v>
                </c:pt>
                <c:pt idx="131">
                  <c:v>34521</c:v>
                </c:pt>
                <c:pt idx="132">
                  <c:v>34522</c:v>
                </c:pt>
                <c:pt idx="133">
                  <c:v>34523</c:v>
                </c:pt>
                <c:pt idx="134">
                  <c:v>34526</c:v>
                </c:pt>
                <c:pt idx="135">
                  <c:v>34527</c:v>
                </c:pt>
                <c:pt idx="136">
                  <c:v>34528</c:v>
                </c:pt>
                <c:pt idx="137">
                  <c:v>34529</c:v>
                </c:pt>
                <c:pt idx="138">
                  <c:v>34530</c:v>
                </c:pt>
                <c:pt idx="139">
                  <c:v>34533</c:v>
                </c:pt>
                <c:pt idx="140">
                  <c:v>34534</c:v>
                </c:pt>
                <c:pt idx="141">
                  <c:v>34535</c:v>
                </c:pt>
                <c:pt idx="142">
                  <c:v>34536</c:v>
                </c:pt>
                <c:pt idx="143">
                  <c:v>34537</c:v>
                </c:pt>
                <c:pt idx="144">
                  <c:v>34540</c:v>
                </c:pt>
                <c:pt idx="145">
                  <c:v>34541</c:v>
                </c:pt>
                <c:pt idx="146">
                  <c:v>34542</c:v>
                </c:pt>
                <c:pt idx="147">
                  <c:v>34543</c:v>
                </c:pt>
                <c:pt idx="148">
                  <c:v>34544</c:v>
                </c:pt>
                <c:pt idx="149">
                  <c:v>34547</c:v>
                </c:pt>
                <c:pt idx="150">
                  <c:v>34548</c:v>
                </c:pt>
                <c:pt idx="151">
                  <c:v>34549</c:v>
                </c:pt>
                <c:pt idx="152">
                  <c:v>34550</c:v>
                </c:pt>
                <c:pt idx="153">
                  <c:v>34551</c:v>
                </c:pt>
                <c:pt idx="154">
                  <c:v>34554</c:v>
                </c:pt>
                <c:pt idx="155">
                  <c:v>34555</c:v>
                </c:pt>
                <c:pt idx="156">
                  <c:v>34556</c:v>
                </c:pt>
                <c:pt idx="157">
                  <c:v>34557</c:v>
                </c:pt>
                <c:pt idx="158">
                  <c:v>34558</c:v>
                </c:pt>
                <c:pt idx="159">
                  <c:v>34561</c:v>
                </c:pt>
                <c:pt idx="160">
                  <c:v>34562</c:v>
                </c:pt>
                <c:pt idx="161">
                  <c:v>34563</c:v>
                </c:pt>
                <c:pt idx="162">
                  <c:v>34564</c:v>
                </c:pt>
                <c:pt idx="163">
                  <c:v>34565</c:v>
                </c:pt>
                <c:pt idx="164">
                  <c:v>34568</c:v>
                </c:pt>
                <c:pt idx="165">
                  <c:v>34569</c:v>
                </c:pt>
                <c:pt idx="166">
                  <c:v>34570</c:v>
                </c:pt>
                <c:pt idx="167">
                  <c:v>34571</c:v>
                </c:pt>
                <c:pt idx="168">
                  <c:v>34572</c:v>
                </c:pt>
                <c:pt idx="169">
                  <c:v>34575</c:v>
                </c:pt>
                <c:pt idx="170">
                  <c:v>34576</c:v>
                </c:pt>
                <c:pt idx="171">
                  <c:v>34577</c:v>
                </c:pt>
                <c:pt idx="172">
                  <c:v>34578</c:v>
                </c:pt>
                <c:pt idx="173">
                  <c:v>34579</c:v>
                </c:pt>
                <c:pt idx="174">
                  <c:v>34582</c:v>
                </c:pt>
                <c:pt idx="175">
                  <c:v>34583</c:v>
                </c:pt>
                <c:pt idx="176">
                  <c:v>34584</c:v>
                </c:pt>
                <c:pt idx="177">
                  <c:v>34585</c:v>
                </c:pt>
                <c:pt idx="178">
                  <c:v>34586</c:v>
                </c:pt>
                <c:pt idx="179">
                  <c:v>34589</c:v>
                </c:pt>
                <c:pt idx="180">
                  <c:v>34590</c:v>
                </c:pt>
                <c:pt idx="181">
                  <c:v>34591</c:v>
                </c:pt>
                <c:pt idx="182">
                  <c:v>34592</c:v>
                </c:pt>
                <c:pt idx="183">
                  <c:v>34593</c:v>
                </c:pt>
                <c:pt idx="184">
                  <c:v>34596</c:v>
                </c:pt>
                <c:pt idx="185">
                  <c:v>34597</c:v>
                </c:pt>
                <c:pt idx="186">
                  <c:v>34598</c:v>
                </c:pt>
                <c:pt idx="187">
                  <c:v>34599</c:v>
                </c:pt>
                <c:pt idx="188">
                  <c:v>34600</c:v>
                </c:pt>
                <c:pt idx="189">
                  <c:v>34603</c:v>
                </c:pt>
                <c:pt idx="190">
                  <c:v>34604</c:v>
                </c:pt>
                <c:pt idx="191">
                  <c:v>34605</c:v>
                </c:pt>
                <c:pt idx="192">
                  <c:v>34606</c:v>
                </c:pt>
                <c:pt idx="193">
                  <c:v>34607</c:v>
                </c:pt>
                <c:pt idx="194">
                  <c:v>34610</c:v>
                </c:pt>
                <c:pt idx="195">
                  <c:v>34611</c:v>
                </c:pt>
                <c:pt idx="196">
                  <c:v>34612</c:v>
                </c:pt>
                <c:pt idx="197">
                  <c:v>34613</c:v>
                </c:pt>
                <c:pt idx="198">
                  <c:v>34614</c:v>
                </c:pt>
                <c:pt idx="199">
                  <c:v>34617</c:v>
                </c:pt>
                <c:pt idx="200">
                  <c:v>34618</c:v>
                </c:pt>
                <c:pt idx="201">
                  <c:v>34619</c:v>
                </c:pt>
                <c:pt idx="202">
                  <c:v>34620</c:v>
                </c:pt>
                <c:pt idx="203">
                  <c:v>34621</c:v>
                </c:pt>
                <c:pt idx="204">
                  <c:v>34624</c:v>
                </c:pt>
                <c:pt idx="205">
                  <c:v>34625</c:v>
                </c:pt>
                <c:pt idx="206">
                  <c:v>34626</c:v>
                </c:pt>
                <c:pt idx="207">
                  <c:v>34627</c:v>
                </c:pt>
                <c:pt idx="208">
                  <c:v>34628</c:v>
                </c:pt>
                <c:pt idx="209">
                  <c:v>34631</c:v>
                </c:pt>
                <c:pt idx="210">
                  <c:v>34632</c:v>
                </c:pt>
                <c:pt idx="211">
                  <c:v>34633</c:v>
                </c:pt>
                <c:pt idx="212">
                  <c:v>34634</c:v>
                </c:pt>
                <c:pt idx="213">
                  <c:v>34635</c:v>
                </c:pt>
                <c:pt idx="214">
                  <c:v>34638</c:v>
                </c:pt>
                <c:pt idx="215">
                  <c:v>34639</c:v>
                </c:pt>
                <c:pt idx="216">
                  <c:v>34640</c:v>
                </c:pt>
                <c:pt idx="217">
                  <c:v>34641</c:v>
                </c:pt>
                <c:pt idx="218">
                  <c:v>34642</c:v>
                </c:pt>
                <c:pt idx="219">
                  <c:v>34645</c:v>
                </c:pt>
                <c:pt idx="220">
                  <c:v>34646</c:v>
                </c:pt>
                <c:pt idx="221">
                  <c:v>34647</c:v>
                </c:pt>
                <c:pt idx="222">
                  <c:v>34648</c:v>
                </c:pt>
                <c:pt idx="223">
                  <c:v>34649</c:v>
                </c:pt>
                <c:pt idx="224">
                  <c:v>34652</c:v>
                </c:pt>
                <c:pt idx="225">
                  <c:v>34653</c:v>
                </c:pt>
                <c:pt idx="226">
                  <c:v>34654</c:v>
                </c:pt>
                <c:pt idx="227">
                  <c:v>34655</c:v>
                </c:pt>
                <c:pt idx="228">
                  <c:v>34656</c:v>
                </c:pt>
                <c:pt idx="229">
                  <c:v>34659</c:v>
                </c:pt>
                <c:pt idx="230">
                  <c:v>34660</c:v>
                </c:pt>
                <c:pt idx="231">
                  <c:v>34661</c:v>
                </c:pt>
                <c:pt idx="232">
                  <c:v>34662</c:v>
                </c:pt>
                <c:pt idx="233">
                  <c:v>34663</c:v>
                </c:pt>
                <c:pt idx="234">
                  <c:v>34666</c:v>
                </c:pt>
                <c:pt idx="235">
                  <c:v>34667</c:v>
                </c:pt>
                <c:pt idx="236">
                  <c:v>34668</c:v>
                </c:pt>
                <c:pt idx="237">
                  <c:v>34669</c:v>
                </c:pt>
                <c:pt idx="238">
                  <c:v>34670</c:v>
                </c:pt>
                <c:pt idx="239">
                  <c:v>34673</c:v>
                </c:pt>
                <c:pt idx="240">
                  <c:v>34674</c:v>
                </c:pt>
                <c:pt idx="241">
                  <c:v>34675</c:v>
                </c:pt>
                <c:pt idx="242">
                  <c:v>34676</c:v>
                </c:pt>
                <c:pt idx="243">
                  <c:v>34677</c:v>
                </c:pt>
                <c:pt idx="244">
                  <c:v>34680</c:v>
                </c:pt>
                <c:pt idx="245">
                  <c:v>34681</c:v>
                </c:pt>
                <c:pt idx="246">
                  <c:v>34682</c:v>
                </c:pt>
                <c:pt idx="247">
                  <c:v>34683</c:v>
                </c:pt>
                <c:pt idx="248">
                  <c:v>34684</c:v>
                </c:pt>
                <c:pt idx="249">
                  <c:v>34687</c:v>
                </c:pt>
                <c:pt idx="250">
                  <c:v>34688</c:v>
                </c:pt>
                <c:pt idx="251">
                  <c:v>34689</c:v>
                </c:pt>
                <c:pt idx="252">
                  <c:v>34690</c:v>
                </c:pt>
                <c:pt idx="253">
                  <c:v>34691</c:v>
                </c:pt>
                <c:pt idx="254">
                  <c:v>34694</c:v>
                </c:pt>
                <c:pt idx="255">
                  <c:v>34695</c:v>
                </c:pt>
                <c:pt idx="256">
                  <c:v>34696</c:v>
                </c:pt>
                <c:pt idx="257">
                  <c:v>34697</c:v>
                </c:pt>
                <c:pt idx="258">
                  <c:v>34698</c:v>
                </c:pt>
                <c:pt idx="259">
                  <c:v>34701</c:v>
                </c:pt>
                <c:pt idx="260">
                  <c:v>34702</c:v>
                </c:pt>
                <c:pt idx="261">
                  <c:v>34703</c:v>
                </c:pt>
                <c:pt idx="262">
                  <c:v>34704</c:v>
                </c:pt>
                <c:pt idx="263">
                  <c:v>34705</c:v>
                </c:pt>
                <c:pt idx="264">
                  <c:v>34708</c:v>
                </c:pt>
                <c:pt idx="265">
                  <c:v>34709</c:v>
                </c:pt>
                <c:pt idx="266">
                  <c:v>34710</c:v>
                </c:pt>
                <c:pt idx="267">
                  <c:v>34711</c:v>
                </c:pt>
                <c:pt idx="268">
                  <c:v>34712</c:v>
                </c:pt>
                <c:pt idx="269">
                  <c:v>34715</c:v>
                </c:pt>
                <c:pt idx="270">
                  <c:v>34716</c:v>
                </c:pt>
                <c:pt idx="271">
                  <c:v>34717</c:v>
                </c:pt>
                <c:pt idx="272">
                  <c:v>34718</c:v>
                </c:pt>
                <c:pt idx="273">
                  <c:v>34719</c:v>
                </c:pt>
                <c:pt idx="274">
                  <c:v>34722</c:v>
                </c:pt>
                <c:pt idx="275">
                  <c:v>34723</c:v>
                </c:pt>
                <c:pt idx="276">
                  <c:v>34724</c:v>
                </c:pt>
                <c:pt idx="277">
                  <c:v>34725</c:v>
                </c:pt>
                <c:pt idx="278">
                  <c:v>34726</c:v>
                </c:pt>
                <c:pt idx="279">
                  <c:v>34729</c:v>
                </c:pt>
                <c:pt idx="280">
                  <c:v>34730</c:v>
                </c:pt>
                <c:pt idx="281">
                  <c:v>34731</c:v>
                </c:pt>
                <c:pt idx="282">
                  <c:v>34732</c:v>
                </c:pt>
                <c:pt idx="283">
                  <c:v>34733</c:v>
                </c:pt>
                <c:pt idx="284">
                  <c:v>34736</c:v>
                </c:pt>
                <c:pt idx="285">
                  <c:v>34737</c:v>
                </c:pt>
                <c:pt idx="286">
                  <c:v>34738</c:v>
                </c:pt>
                <c:pt idx="287">
                  <c:v>34739</c:v>
                </c:pt>
                <c:pt idx="288">
                  <c:v>34740</c:v>
                </c:pt>
                <c:pt idx="289">
                  <c:v>34743</c:v>
                </c:pt>
                <c:pt idx="290">
                  <c:v>34744</c:v>
                </c:pt>
                <c:pt idx="291">
                  <c:v>34745</c:v>
                </c:pt>
                <c:pt idx="292">
                  <c:v>34746</c:v>
                </c:pt>
                <c:pt idx="293">
                  <c:v>34747</c:v>
                </c:pt>
                <c:pt idx="294">
                  <c:v>34750</c:v>
                </c:pt>
                <c:pt idx="295">
                  <c:v>34751</c:v>
                </c:pt>
                <c:pt idx="296">
                  <c:v>34752</c:v>
                </c:pt>
                <c:pt idx="297">
                  <c:v>34753</c:v>
                </c:pt>
                <c:pt idx="298">
                  <c:v>34754</c:v>
                </c:pt>
                <c:pt idx="299">
                  <c:v>34757</c:v>
                </c:pt>
                <c:pt idx="300">
                  <c:v>34758</c:v>
                </c:pt>
                <c:pt idx="301">
                  <c:v>34759</c:v>
                </c:pt>
                <c:pt idx="302">
                  <c:v>34760</c:v>
                </c:pt>
                <c:pt idx="303">
                  <c:v>34761</c:v>
                </c:pt>
                <c:pt idx="304">
                  <c:v>34764</c:v>
                </c:pt>
                <c:pt idx="305">
                  <c:v>34765</c:v>
                </c:pt>
                <c:pt idx="306">
                  <c:v>34766</c:v>
                </c:pt>
                <c:pt idx="307">
                  <c:v>34767</c:v>
                </c:pt>
                <c:pt idx="308">
                  <c:v>34768</c:v>
                </c:pt>
                <c:pt idx="309">
                  <c:v>34771</c:v>
                </c:pt>
                <c:pt idx="310">
                  <c:v>34772</c:v>
                </c:pt>
                <c:pt idx="311">
                  <c:v>34773</c:v>
                </c:pt>
                <c:pt idx="312">
                  <c:v>34774</c:v>
                </c:pt>
                <c:pt idx="313">
                  <c:v>34775</c:v>
                </c:pt>
                <c:pt idx="314">
                  <c:v>34778</c:v>
                </c:pt>
                <c:pt idx="315">
                  <c:v>34779</c:v>
                </c:pt>
                <c:pt idx="316">
                  <c:v>34780</c:v>
                </c:pt>
                <c:pt idx="317">
                  <c:v>34781</c:v>
                </c:pt>
                <c:pt idx="318">
                  <c:v>34782</c:v>
                </c:pt>
                <c:pt idx="319">
                  <c:v>34785</c:v>
                </c:pt>
                <c:pt idx="320">
                  <c:v>34786</c:v>
                </c:pt>
                <c:pt idx="321">
                  <c:v>34787</c:v>
                </c:pt>
                <c:pt idx="322">
                  <c:v>34788</c:v>
                </c:pt>
                <c:pt idx="323">
                  <c:v>34789</c:v>
                </c:pt>
                <c:pt idx="324">
                  <c:v>34792</c:v>
                </c:pt>
                <c:pt idx="325">
                  <c:v>34793</c:v>
                </c:pt>
                <c:pt idx="326">
                  <c:v>34794</c:v>
                </c:pt>
                <c:pt idx="327">
                  <c:v>34795</c:v>
                </c:pt>
                <c:pt idx="328">
                  <c:v>34796</c:v>
                </c:pt>
                <c:pt idx="329">
                  <c:v>34799</c:v>
                </c:pt>
                <c:pt idx="330">
                  <c:v>34800</c:v>
                </c:pt>
                <c:pt idx="331">
                  <c:v>34801</c:v>
                </c:pt>
                <c:pt idx="332">
                  <c:v>34802</c:v>
                </c:pt>
                <c:pt idx="333">
                  <c:v>34803</c:v>
                </c:pt>
                <c:pt idx="334">
                  <c:v>34806</c:v>
                </c:pt>
                <c:pt idx="335">
                  <c:v>34807</c:v>
                </c:pt>
                <c:pt idx="336">
                  <c:v>34808</c:v>
                </c:pt>
                <c:pt idx="337">
                  <c:v>34809</c:v>
                </c:pt>
                <c:pt idx="338">
                  <c:v>34810</c:v>
                </c:pt>
                <c:pt idx="339">
                  <c:v>34813</c:v>
                </c:pt>
                <c:pt idx="340">
                  <c:v>34814</c:v>
                </c:pt>
                <c:pt idx="341">
                  <c:v>34815</c:v>
                </c:pt>
                <c:pt idx="342">
                  <c:v>34816</c:v>
                </c:pt>
                <c:pt idx="343">
                  <c:v>34817</c:v>
                </c:pt>
                <c:pt idx="344">
                  <c:v>34820</c:v>
                </c:pt>
                <c:pt idx="345">
                  <c:v>34821</c:v>
                </c:pt>
                <c:pt idx="346">
                  <c:v>34822</c:v>
                </c:pt>
                <c:pt idx="347">
                  <c:v>34823</c:v>
                </c:pt>
                <c:pt idx="348">
                  <c:v>34824</c:v>
                </c:pt>
                <c:pt idx="349">
                  <c:v>34827</c:v>
                </c:pt>
                <c:pt idx="350">
                  <c:v>34828</c:v>
                </c:pt>
                <c:pt idx="351">
                  <c:v>34829</c:v>
                </c:pt>
                <c:pt idx="352">
                  <c:v>34830</c:v>
                </c:pt>
                <c:pt idx="353">
                  <c:v>34831</c:v>
                </c:pt>
                <c:pt idx="354">
                  <c:v>34834</c:v>
                </c:pt>
                <c:pt idx="355">
                  <c:v>34835</c:v>
                </c:pt>
                <c:pt idx="356">
                  <c:v>34836</c:v>
                </c:pt>
                <c:pt idx="357">
                  <c:v>34837</c:v>
                </c:pt>
                <c:pt idx="358">
                  <c:v>34838</c:v>
                </c:pt>
                <c:pt idx="359">
                  <c:v>34841</c:v>
                </c:pt>
                <c:pt idx="360">
                  <c:v>34842</c:v>
                </c:pt>
                <c:pt idx="361">
                  <c:v>34843</c:v>
                </c:pt>
                <c:pt idx="362">
                  <c:v>34844</c:v>
                </c:pt>
                <c:pt idx="363">
                  <c:v>34845</c:v>
                </c:pt>
                <c:pt idx="364">
                  <c:v>34848</c:v>
                </c:pt>
                <c:pt idx="365">
                  <c:v>34849</c:v>
                </c:pt>
                <c:pt idx="366">
                  <c:v>34850</c:v>
                </c:pt>
                <c:pt idx="367">
                  <c:v>34851</c:v>
                </c:pt>
                <c:pt idx="368">
                  <c:v>34852</c:v>
                </c:pt>
                <c:pt idx="369">
                  <c:v>34855</c:v>
                </c:pt>
                <c:pt idx="370">
                  <c:v>34856</c:v>
                </c:pt>
                <c:pt idx="371">
                  <c:v>34857</c:v>
                </c:pt>
                <c:pt idx="372">
                  <c:v>34858</c:v>
                </c:pt>
                <c:pt idx="373">
                  <c:v>34859</c:v>
                </c:pt>
                <c:pt idx="374">
                  <c:v>34862</c:v>
                </c:pt>
                <c:pt idx="375">
                  <c:v>34863</c:v>
                </c:pt>
                <c:pt idx="376">
                  <c:v>34864</c:v>
                </c:pt>
                <c:pt idx="377">
                  <c:v>34865</c:v>
                </c:pt>
                <c:pt idx="378">
                  <c:v>34866</c:v>
                </c:pt>
                <c:pt idx="379">
                  <c:v>34869</c:v>
                </c:pt>
                <c:pt idx="380">
                  <c:v>34870</c:v>
                </c:pt>
                <c:pt idx="381">
                  <c:v>34871</c:v>
                </c:pt>
                <c:pt idx="382">
                  <c:v>34872</c:v>
                </c:pt>
                <c:pt idx="383">
                  <c:v>34873</c:v>
                </c:pt>
                <c:pt idx="384">
                  <c:v>34876</c:v>
                </c:pt>
                <c:pt idx="385">
                  <c:v>34877</c:v>
                </c:pt>
                <c:pt idx="386">
                  <c:v>34878</c:v>
                </c:pt>
                <c:pt idx="387">
                  <c:v>34879</c:v>
                </c:pt>
                <c:pt idx="388">
                  <c:v>34880</c:v>
                </c:pt>
                <c:pt idx="389">
                  <c:v>34883</c:v>
                </c:pt>
                <c:pt idx="390">
                  <c:v>34884</c:v>
                </c:pt>
                <c:pt idx="391">
                  <c:v>34885</c:v>
                </c:pt>
                <c:pt idx="392">
                  <c:v>34886</c:v>
                </c:pt>
                <c:pt idx="393">
                  <c:v>34887</c:v>
                </c:pt>
                <c:pt idx="394">
                  <c:v>34890</c:v>
                </c:pt>
                <c:pt idx="395">
                  <c:v>34891</c:v>
                </c:pt>
                <c:pt idx="396">
                  <c:v>34892</c:v>
                </c:pt>
                <c:pt idx="397">
                  <c:v>34893</c:v>
                </c:pt>
                <c:pt idx="398">
                  <c:v>34894</c:v>
                </c:pt>
                <c:pt idx="399">
                  <c:v>34897</c:v>
                </c:pt>
                <c:pt idx="400">
                  <c:v>34898</c:v>
                </c:pt>
                <c:pt idx="401">
                  <c:v>34899</c:v>
                </c:pt>
                <c:pt idx="402">
                  <c:v>34900</c:v>
                </c:pt>
                <c:pt idx="403">
                  <c:v>34901</c:v>
                </c:pt>
                <c:pt idx="404">
                  <c:v>34904</c:v>
                </c:pt>
                <c:pt idx="405">
                  <c:v>34905</c:v>
                </c:pt>
                <c:pt idx="406">
                  <c:v>34906</c:v>
                </c:pt>
                <c:pt idx="407">
                  <c:v>34907</c:v>
                </c:pt>
                <c:pt idx="408">
                  <c:v>34908</c:v>
                </c:pt>
                <c:pt idx="409">
                  <c:v>34911</c:v>
                </c:pt>
                <c:pt idx="410">
                  <c:v>34912</c:v>
                </c:pt>
                <c:pt idx="411">
                  <c:v>34913</c:v>
                </c:pt>
                <c:pt idx="412">
                  <c:v>34914</c:v>
                </c:pt>
                <c:pt idx="413">
                  <c:v>34915</c:v>
                </c:pt>
                <c:pt idx="414">
                  <c:v>34918</c:v>
                </c:pt>
                <c:pt idx="415">
                  <c:v>34919</c:v>
                </c:pt>
                <c:pt idx="416">
                  <c:v>34920</c:v>
                </c:pt>
                <c:pt idx="417">
                  <c:v>34921</c:v>
                </c:pt>
                <c:pt idx="418">
                  <c:v>34922</c:v>
                </c:pt>
                <c:pt idx="419">
                  <c:v>34925</c:v>
                </c:pt>
                <c:pt idx="420">
                  <c:v>34926</c:v>
                </c:pt>
                <c:pt idx="421">
                  <c:v>34927</c:v>
                </c:pt>
                <c:pt idx="422">
                  <c:v>34928</c:v>
                </c:pt>
                <c:pt idx="423">
                  <c:v>34929</c:v>
                </c:pt>
                <c:pt idx="424">
                  <c:v>34932</c:v>
                </c:pt>
                <c:pt idx="425">
                  <c:v>34933</c:v>
                </c:pt>
                <c:pt idx="426">
                  <c:v>34934</c:v>
                </c:pt>
                <c:pt idx="427">
                  <c:v>34935</c:v>
                </c:pt>
                <c:pt idx="428">
                  <c:v>34936</c:v>
                </c:pt>
                <c:pt idx="429">
                  <c:v>34939</c:v>
                </c:pt>
                <c:pt idx="430">
                  <c:v>34940</c:v>
                </c:pt>
                <c:pt idx="431">
                  <c:v>34941</c:v>
                </c:pt>
                <c:pt idx="432">
                  <c:v>34942</c:v>
                </c:pt>
                <c:pt idx="433">
                  <c:v>34943</c:v>
                </c:pt>
                <c:pt idx="434">
                  <c:v>34946</c:v>
                </c:pt>
                <c:pt idx="435">
                  <c:v>34947</c:v>
                </c:pt>
                <c:pt idx="436">
                  <c:v>34948</c:v>
                </c:pt>
                <c:pt idx="437">
                  <c:v>34949</c:v>
                </c:pt>
                <c:pt idx="438">
                  <c:v>34950</c:v>
                </c:pt>
                <c:pt idx="439">
                  <c:v>34953</c:v>
                </c:pt>
                <c:pt idx="440">
                  <c:v>34954</c:v>
                </c:pt>
                <c:pt idx="441">
                  <c:v>34955</c:v>
                </c:pt>
                <c:pt idx="442">
                  <c:v>34956</c:v>
                </c:pt>
                <c:pt idx="443">
                  <c:v>34957</c:v>
                </c:pt>
                <c:pt idx="444">
                  <c:v>34960</c:v>
                </c:pt>
                <c:pt idx="445">
                  <c:v>34961</c:v>
                </c:pt>
                <c:pt idx="446">
                  <c:v>34962</c:v>
                </c:pt>
                <c:pt idx="447">
                  <c:v>34963</c:v>
                </c:pt>
                <c:pt idx="448">
                  <c:v>34964</c:v>
                </c:pt>
                <c:pt idx="449">
                  <c:v>34967</c:v>
                </c:pt>
                <c:pt idx="450">
                  <c:v>34968</c:v>
                </c:pt>
                <c:pt idx="451">
                  <c:v>34969</c:v>
                </c:pt>
                <c:pt idx="452">
                  <c:v>34970</c:v>
                </c:pt>
                <c:pt idx="453">
                  <c:v>34971</c:v>
                </c:pt>
                <c:pt idx="454">
                  <c:v>34974</c:v>
                </c:pt>
                <c:pt idx="455">
                  <c:v>34975</c:v>
                </c:pt>
                <c:pt idx="456">
                  <c:v>34976</c:v>
                </c:pt>
                <c:pt idx="457">
                  <c:v>34977</c:v>
                </c:pt>
                <c:pt idx="458">
                  <c:v>34978</c:v>
                </c:pt>
                <c:pt idx="459">
                  <c:v>34981</c:v>
                </c:pt>
                <c:pt idx="460">
                  <c:v>34982</c:v>
                </c:pt>
                <c:pt idx="461">
                  <c:v>34983</c:v>
                </c:pt>
                <c:pt idx="462">
                  <c:v>34984</c:v>
                </c:pt>
                <c:pt idx="463">
                  <c:v>34985</c:v>
                </c:pt>
                <c:pt idx="464">
                  <c:v>34988</c:v>
                </c:pt>
                <c:pt idx="465">
                  <c:v>34989</c:v>
                </c:pt>
                <c:pt idx="466">
                  <c:v>34990</c:v>
                </c:pt>
                <c:pt idx="467">
                  <c:v>34991</c:v>
                </c:pt>
                <c:pt idx="468">
                  <c:v>34992</c:v>
                </c:pt>
                <c:pt idx="469">
                  <c:v>34995</c:v>
                </c:pt>
                <c:pt idx="470">
                  <c:v>34996</c:v>
                </c:pt>
                <c:pt idx="471">
                  <c:v>34997</c:v>
                </c:pt>
                <c:pt idx="472">
                  <c:v>34998</c:v>
                </c:pt>
                <c:pt idx="473">
                  <c:v>34999</c:v>
                </c:pt>
                <c:pt idx="474">
                  <c:v>35002</c:v>
                </c:pt>
                <c:pt idx="475">
                  <c:v>35003</c:v>
                </c:pt>
                <c:pt idx="476">
                  <c:v>35004</c:v>
                </c:pt>
                <c:pt idx="477">
                  <c:v>35005</c:v>
                </c:pt>
                <c:pt idx="478">
                  <c:v>35006</c:v>
                </c:pt>
                <c:pt idx="479">
                  <c:v>35009</c:v>
                </c:pt>
                <c:pt idx="480">
                  <c:v>35010</c:v>
                </c:pt>
                <c:pt idx="481">
                  <c:v>35011</c:v>
                </c:pt>
                <c:pt idx="482">
                  <c:v>35012</c:v>
                </c:pt>
                <c:pt idx="483">
                  <c:v>35013</c:v>
                </c:pt>
                <c:pt idx="484">
                  <c:v>35016</c:v>
                </c:pt>
                <c:pt idx="485">
                  <c:v>35017</c:v>
                </c:pt>
                <c:pt idx="486">
                  <c:v>35018</c:v>
                </c:pt>
                <c:pt idx="487">
                  <c:v>35019</c:v>
                </c:pt>
                <c:pt idx="488">
                  <c:v>35020</c:v>
                </c:pt>
                <c:pt idx="489">
                  <c:v>35023</c:v>
                </c:pt>
                <c:pt idx="490">
                  <c:v>35024</c:v>
                </c:pt>
                <c:pt idx="491">
                  <c:v>35025</c:v>
                </c:pt>
                <c:pt idx="492">
                  <c:v>35026</c:v>
                </c:pt>
                <c:pt idx="493">
                  <c:v>35027</c:v>
                </c:pt>
                <c:pt idx="494">
                  <c:v>35030</c:v>
                </c:pt>
                <c:pt idx="495">
                  <c:v>35031</c:v>
                </c:pt>
                <c:pt idx="496">
                  <c:v>35032</c:v>
                </c:pt>
                <c:pt idx="497">
                  <c:v>35033</c:v>
                </c:pt>
                <c:pt idx="498">
                  <c:v>35034</c:v>
                </c:pt>
                <c:pt idx="499">
                  <c:v>35037</c:v>
                </c:pt>
                <c:pt idx="500">
                  <c:v>35038</c:v>
                </c:pt>
                <c:pt idx="501">
                  <c:v>35039</c:v>
                </c:pt>
                <c:pt idx="502">
                  <c:v>35040</c:v>
                </c:pt>
                <c:pt idx="503">
                  <c:v>35041</c:v>
                </c:pt>
                <c:pt idx="504">
                  <c:v>35044</c:v>
                </c:pt>
                <c:pt idx="505">
                  <c:v>35045</c:v>
                </c:pt>
                <c:pt idx="506">
                  <c:v>35046</c:v>
                </c:pt>
                <c:pt idx="507">
                  <c:v>35047</c:v>
                </c:pt>
                <c:pt idx="508">
                  <c:v>35048</c:v>
                </c:pt>
                <c:pt idx="509">
                  <c:v>35051</c:v>
                </c:pt>
                <c:pt idx="510">
                  <c:v>35052</c:v>
                </c:pt>
                <c:pt idx="511">
                  <c:v>35053</c:v>
                </c:pt>
                <c:pt idx="512">
                  <c:v>35054</c:v>
                </c:pt>
                <c:pt idx="513">
                  <c:v>35055</c:v>
                </c:pt>
                <c:pt idx="514">
                  <c:v>35058</c:v>
                </c:pt>
                <c:pt idx="515">
                  <c:v>35059</c:v>
                </c:pt>
                <c:pt idx="516">
                  <c:v>35060</c:v>
                </c:pt>
                <c:pt idx="517">
                  <c:v>35061</c:v>
                </c:pt>
                <c:pt idx="518">
                  <c:v>35062</c:v>
                </c:pt>
                <c:pt idx="519">
                  <c:v>35065</c:v>
                </c:pt>
                <c:pt idx="520">
                  <c:v>35066</c:v>
                </c:pt>
                <c:pt idx="521">
                  <c:v>35067</c:v>
                </c:pt>
                <c:pt idx="522">
                  <c:v>35068</c:v>
                </c:pt>
                <c:pt idx="523">
                  <c:v>35069</c:v>
                </c:pt>
                <c:pt idx="524">
                  <c:v>35072</c:v>
                </c:pt>
                <c:pt idx="525">
                  <c:v>35073</c:v>
                </c:pt>
                <c:pt idx="526">
                  <c:v>35074</c:v>
                </c:pt>
                <c:pt idx="527">
                  <c:v>35075</c:v>
                </c:pt>
                <c:pt idx="528">
                  <c:v>35076</c:v>
                </c:pt>
                <c:pt idx="529">
                  <c:v>35079</c:v>
                </c:pt>
                <c:pt idx="530">
                  <c:v>35080</c:v>
                </c:pt>
                <c:pt idx="531">
                  <c:v>35081</c:v>
                </c:pt>
                <c:pt idx="532">
                  <c:v>35082</c:v>
                </c:pt>
                <c:pt idx="533">
                  <c:v>35083</c:v>
                </c:pt>
                <c:pt idx="534">
                  <c:v>35086</c:v>
                </c:pt>
                <c:pt idx="535">
                  <c:v>35087</c:v>
                </c:pt>
                <c:pt idx="536">
                  <c:v>35088</c:v>
                </c:pt>
                <c:pt idx="537">
                  <c:v>35089</c:v>
                </c:pt>
                <c:pt idx="538">
                  <c:v>35090</c:v>
                </c:pt>
                <c:pt idx="539">
                  <c:v>35093</c:v>
                </c:pt>
                <c:pt idx="540">
                  <c:v>35094</c:v>
                </c:pt>
                <c:pt idx="541">
                  <c:v>35095</c:v>
                </c:pt>
                <c:pt idx="542">
                  <c:v>35096</c:v>
                </c:pt>
                <c:pt idx="543">
                  <c:v>35097</c:v>
                </c:pt>
                <c:pt idx="544">
                  <c:v>35100</c:v>
                </c:pt>
                <c:pt idx="545">
                  <c:v>35101</c:v>
                </c:pt>
                <c:pt idx="546">
                  <c:v>35102</c:v>
                </c:pt>
                <c:pt idx="547">
                  <c:v>35103</c:v>
                </c:pt>
                <c:pt idx="548">
                  <c:v>35104</c:v>
                </c:pt>
                <c:pt idx="549">
                  <c:v>35107</c:v>
                </c:pt>
                <c:pt idx="550">
                  <c:v>35108</c:v>
                </c:pt>
                <c:pt idx="551">
                  <c:v>35109</c:v>
                </c:pt>
                <c:pt idx="552">
                  <c:v>35110</c:v>
                </c:pt>
                <c:pt idx="553">
                  <c:v>35111</c:v>
                </c:pt>
                <c:pt idx="554">
                  <c:v>35114</c:v>
                </c:pt>
                <c:pt idx="555">
                  <c:v>35115</c:v>
                </c:pt>
                <c:pt idx="556">
                  <c:v>35116</c:v>
                </c:pt>
                <c:pt idx="557">
                  <c:v>35117</c:v>
                </c:pt>
                <c:pt idx="558">
                  <c:v>35118</c:v>
                </c:pt>
                <c:pt idx="559">
                  <c:v>35121</c:v>
                </c:pt>
                <c:pt idx="560">
                  <c:v>35122</c:v>
                </c:pt>
                <c:pt idx="561">
                  <c:v>35123</c:v>
                </c:pt>
                <c:pt idx="562">
                  <c:v>35124</c:v>
                </c:pt>
                <c:pt idx="563">
                  <c:v>35125</c:v>
                </c:pt>
                <c:pt idx="564">
                  <c:v>35128</c:v>
                </c:pt>
                <c:pt idx="565">
                  <c:v>35129</c:v>
                </c:pt>
                <c:pt idx="566">
                  <c:v>35130</c:v>
                </c:pt>
                <c:pt idx="567">
                  <c:v>35131</c:v>
                </c:pt>
                <c:pt idx="568">
                  <c:v>35132</c:v>
                </c:pt>
                <c:pt idx="569">
                  <c:v>35135</c:v>
                </c:pt>
                <c:pt idx="570">
                  <c:v>35136</c:v>
                </c:pt>
                <c:pt idx="571">
                  <c:v>35137</c:v>
                </c:pt>
                <c:pt idx="572">
                  <c:v>35138</c:v>
                </c:pt>
                <c:pt idx="573">
                  <c:v>35139</c:v>
                </c:pt>
                <c:pt idx="574">
                  <c:v>35142</c:v>
                </c:pt>
                <c:pt idx="575">
                  <c:v>35143</c:v>
                </c:pt>
                <c:pt idx="576">
                  <c:v>35144</c:v>
                </c:pt>
                <c:pt idx="577">
                  <c:v>35145</c:v>
                </c:pt>
                <c:pt idx="578">
                  <c:v>35146</c:v>
                </c:pt>
                <c:pt idx="579">
                  <c:v>35149</c:v>
                </c:pt>
                <c:pt idx="580">
                  <c:v>35150</c:v>
                </c:pt>
                <c:pt idx="581">
                  <c:v>35151</c:v>
                </c:pt>
                <c:pt idx="582">
                  <c:v>35152</c:v>
                </c:pt>
                <c:pt idx="583">
                  <c:v>35153</c:v>
                </c:pt>
                <c:pt idx="584">
                  <c:v>35156</c:v>
                </c:pt>
                <c:pt idx="585">
                  <c:v>35157</c:v>
                </c:pt>
                <c:pt idx="586">
                  <c:v>35158</c:v>
                </c:pt>
                <c:pt idx="587">
                  <c:v>35159</c:v>
                </c:pt>
                <c:pt idx="588">
                  <c:v>35160</c:v>
                </c:pt>
                <c:pt idx="589">
                  <c:v>35163</c:v>
                </c:pt>
                <c:pt idx="590">
                  <c:v>35164</c:v>
                </c:pt>
                <c:pt idx="591">
                  <c:v>35165</c:v>
                </c:pt>
                <c:pt idx="592">
                  <c:v>35166</c:v>
                </c:pt>
                <c:pt idx="593">
                  <c:v>35167</c:v>
                </c:pt>
                <c:pt idx="594">
                  <c:v>35170</c:v>
                </c:pt>
                <c:pt idx="595">
                  <c:v>35171</c:v>
                </c:pt>
                <c:pt idx="596">
                  <c:v>35172</c:v>
                </c:pt>
                <c:pt idx="597">
                  <c:v>35173</c:v>
                </c:pt>
                <c:pt idx="598">
                  <c:v>35174</c:v>
                </c:pt>
                <c:pt idx="599">
                  <c:v>35177</c:v>
                </c:pt>
                <c:pt idx="600">
                  <c:v>35178</c:v>
                </c:pt>
                <c:pt idx="601">
                  <c:v>35179</c:v>
                </c:pt>
                <c:pt idx="602">
                  <c:v>35180</c:v>
                </c:pt>
                <c:pt idx="603">
                  <c:v>35181</c:v>
                </c:pt>
                <c:pt idx="604">
                  <c:v>35184</c:v>
                </c:pt>
                <c:pt idx="605">
                  <c:v>35185</c:v>
                </c:pt>
                <c:pt idx="606">
                  <c:v>35186</c:v>
                </c:pt>
                <c:pt idx="607">
                  <c:v>35187</c:v>
                </c:pt>
                <c:pt idx="608">
                  <c:v>35188</c:v>
                </c:pt>
                <c:pt idx="609">
                  <c:v>35191</c:v>
                </c:pt>
                <c:pt idx="610">
                  <c:v>35192</c:v>
                </c:pt>
                <c:pt idx="611">
                  <c:v>35193</c:v>
                </c:pt>
                <c:pt idx="612">
                  <c:v>35194</c:v>
                </c:pt>
                <c:pt idx="613">
                  <c:v>35195</c:v>
                </c:pt>
                <c:pt idx="614">
                  <c:v>35198</c:v>
                </c:pt>
                <c:pt idx="615">
                  <c:v>35199</c:v>
                </c:pt>
                <c:pt idx="616">
                  <c:v>35200</c:v>
                </c:pt>
                <c:pt idx="617">
                  <c:v>35201</c:v>
                </c:pt>
                <c:pt idx="618">
                  <c:v>35202</c:v>
                </c:pt>
                <c:pt idx="619">
                  <c:v>35205</c:v>
                </c:pt>
                <c:pt idx="620">
                  <c:v>35206</c:v>
                </c:pt>
                <c:pt idx="621">
                  <c:v>35207</c:v>
                </c:pt>
                <c:pt idx="622">
                  <c:v>35208</c:v>
                </c:pt>
                <c:pt idx="623">
                  <c:v>35209</c:v>
                </c:pt>
                <c:pt idx="624">
                  <c:v>35212</c:v>
                </c:pt>
                <c:pt idx="625">
                  <c:v>35213</c:v>
                </c:pt>
                <c:pt idx="626">
                  <c:v>35214</c:v>
                </c:pt>
                <c:pt idx="627">
                  <c:v>35215</c:v>
                </c:pt>
                <c:pt idx="628">
                  <c:v>35216</c:v>
                </c:pt>
                <c:pt idx="629">
                  <c:v>35219</c:v>
                </c:pt>
                <c:pt idx="630">
                  <c:v>35220</c:v>
                </c:pt>
                <c:pt idx="631">
                  <c:v>35221</c:v>
                </c:pt>
                <c:pt idx="632">
                  <c:v>35222</c:v>
                </c:pt>
                <c:pt idx="633">
                  <c:v>35223</c:v>
                </c:pt>
                <c:pt idx="634">
                  <c:v>35226</c:v>
                </c:pt>
                <c:pt idx="635">
                  <c:v>35227</c:v>
                </c:pt>
                <c:pt idx="636">
                  <c:v>35228</c:v>
                </c:pt>
                <c:pt idx="637">
                  <c:v>35229</c:v>
                </c:pt>
                <c:pt idx="638">
                  <c:v>35230</c:v>
                </c:pt>
                <c:pt idx="639">
                  <c:v>35233</c:v>
                </c:pt>
                <c:pt idx="640">
                  <c:v>35234</c:v>
                </c:pt>
                <c:pt idx="641">
                  <c:v>35235</c:v>
                </c:pt>
                <c:pt idx="642">
                  <c:v>35236</c:v>
                </c:pt>
                <c:pt idx="643">
                  <c:v>35237</c:v>
                </c:pt>
                <c:pt idx="644">
                  <c:v>35240</c:v>
                </c:pt>
                <c:pt idx="645">
                  <c:v>35241</c:v>
                </c:pt>
                <c:pt idx="646">
                  <c:v>35242</c:v>
                </c:pt>
                <c:pt idx="647">
                  <c:v>35243</c:v>
                </c:pt>
                <c:pt idx="648">
                  <c:v>35244</c:v>
                </c:pt>
                <c:pt idx="649">
                  <c:v>35247</c:v>
                </c:pt>
                <c:pt idx="650">
                  <c:v>35248</c:v>
                </c:pt>
                <c:pt idx="651">
                  <c:v>35249</c:v>
                </c:pt>
                <c:pt idx="652">
                  <c:v>35250</c:v>
                </c:pt>
                <c:pt idx="653">
                  <c:v>35251</c:v>
                </c:pt>
                <c:pt idx="654">
                  <c:v>35254</c:v>
                </c:pt>
                <c:pt idx="655">
                  <c:v>35255</c:v>
                </c:pt>
                <c:pt idx="656">
                  <c:v>35256</c:v>
                </c:pt>
                <c:pt idx="657">
                  <c:v>35257</c:v>
                </c:pt>
                <c:pt idx="658">
                  <c:v>35258</c:v>
                </c:pt>
                <c:pt idx="659">
                  <c:v>35261</c:v>
                </c:pt>
                <c:pt idx="660">
                  <c:v>35262</c:v>
                </c:pt>
                <c:pt idx="661">
                  <c:v>35263</c:v>
                </c:pt>
                <c:pt idx="662">
                  <c:v>35264</c:v>
                </c:pt>
                <c:pt idx="663">
                  <c:v>35265</c:v>
                </c:pt>
                <c:pt idx="664">
                  <c:v>35268</c:v>
                </c:pt>
                <c:pt idx="665">
                  <c:v>35269</c:v>
                </c:pt>
                <c:pt idx="666">
                  <c:v>35270</c:v>
                </c:pt>
                <c:pt idx="667">
                  <c:v>35271</c:v>
                </c:pt>
                <c:pt idx="668">
                  <c:v>35272</c:v>
                </c:pt>
                <c:pt idx="669">
                  <c:v>35275</c:v>
                </c:pt>
                <c:pt idx="670">
                  <c:v>35276</c:v>
                </c:pt>
                <c:pt idx="671">
                  <c:v>35277</c:v>
                </c:pt>
                <c:pt idx="672">
                  <c:v>35278</c:v>
                </c:pt>
                <c:pt idx="673">
                  <c:v>35279</c:v>
                </c:pt>
                <c:pt idx="674">
                  <c:v>35282</c:v>
                </c:pt>
                <c:pt idx="675">
                  <c:v>35283</c:v>
                </c:pt>
                <c:pt idx="676">
                  <c:v>35284</c:v>
                </c:pt>
                <c:pt idx="677">
                  <c:v>35285</c:v>
                </c:pt>
                <c:pt idx="678">
                  <c:v>35286</c:v>
                </c:pt>
                <c:pt idx="679">
                  <c:v>35289</c:v>
                </c:pt>
                <c:pt idx="680">
                  <c:v>35290</c:v>
                </c:pt>
                <c:pt idx="681">
                  <c:v>35291</c:v>
                </c:pt>
                <c:pt idx="682">
                  <c:v>35292</c:v>
                </c:pt>
                <c:pt idx="683">
                  <c:v>35293</c:v>
                </c:pt>
                <c:pt idx="684">
                  <c:v>35296</c:v>
                </c:pt>
                <c:pt idx="685">
                  <c:v>35297</c:v>
                </c:pt>
                <c:pt idx="686">
                  <c:v>35298</c:v>
                </c:pt>
                <c:pt idx="687">
                  <c:v>35299</c:v>
                </c:pt>
                <c:pt idx="688">
                  <c:v>35300</c:v>
                </c:pt>
                <c:pt idx="689">
                  <c:v>35303</c:v>
                </c:pt>
                <c:pt idx="690">
                  <c:v>35304</c:v>
                </c:pt>
                <c:pt idx="691">
                  <c:v>35305</c:v>
                </c:pt>
                <c:pt idx="692">
                  <c:v>35306</c:v>
                </c:pt>
                <c:pt idx="693">
                  <c:v>35307</c:v>
                </c:pt>
                <c:pt idx="694">
                  <c:v>35310</c:v>
                </c:pt>
                <c:pt idx="695">
                  <c:v>35311</c:v>
                </c:pt>
                <c:pt idx="696">
                  <c:v>35312</c:v>
                </c:pt>
                <c:pt idx="697">
                  <c:v>35313</c:v>
                </c:pt>
                <c:pt idx="698">
                  <c:v>35314</c:v>
                </c:pt>
                <c:pt idx="699">
                  <c:v>35317</c:v>
                </c:pt>
                <c:pt idx="700">
                  <c:v>35318</c:v>
                </c:pt>
                <c:pt idx="701">
                  <c:v>35319</c:v>
                </c:pt>
                <c:pt idx="702">
                  <c:v>35320</c:v>
                </c:pt>
                <c:pt idx="703">
                  <c:v>35321</c:v>
                </c:pt>
                <c:pt idx="704">
                  <c:v>35324</c:v>
                </c:pt>
                <c:pt idx="705">
                  <c:v>35325</c:v>
                </c:pt>
                <c:pt idx="706">
                  <c:v>35326</c:v>
                </c:pt>
                <c:pt idx="707">
                  <c:v>35327</c:v>
                </c:pt>
                <c:pt idx="708">
                  <c:v>35328</c:v>
                </c:pt>
                <c:pt idx="709">
                  <c:v>35331</c:v>
                </c:pt>
                <c:pt idx="710">
                  <c:v>35332</c:v>
                </c:pt>
                <c:pt idx="711">
                  <c:v>35333</c:v>
                </c:pt>
                <c:pt idx="712">
                  <c:v>35334</c:v>
                </c:pt>
                <c:pt idx="713">
                  <c:v>35335</c:v>
                </c:pt>
                <c:pt idx="714">
                  <c:v>35338</c:v>
                </c:pt>
                <c:pt idx="715">
                  <c:v>35339</c:v>
                </c:pt>
                <c:pt idx="716">
                  <c:v>35340</c:v>
                </c:pt>
                <c:pt idx="717">
                  <c:v>35341</c:v>
                </c:pt>
                <c:pt idx="718">
                  <c:v>35342</c:v>
                </c:pt>
                <c:pt idx="719">
                  <c:v>35345</c:v>
                </c:pt>
                <c:pt idx="720">
                  <c:v>35346</c:v>
                </c:pt>
                <c:pt idx="721">
                  <c:v>35347</c:v>
                </c:pt>
                <c:pt idx="722">
                  <c:v>35348</c:v>
                </c:pt>
                <c:pt idx="723">
                  <c:v>35349</c:v>
                </c:pt>
                <c:pt idx="724">
                  <c:v>35352</c:v>
                </c:pt>
                <c:pt idx="725">
                  <c:v>35353</c:v>
                </c:pt>
                <c:pt idx="726">
                  <c:v>35354</c:v>
                </c:pt>
                <c:pt idx="727">
                  <c:v>35355</c:v>
                </c:pt>
                <c:pt idx="728">
                  <c:v>35356</c:v>
                </c:pt>
                <c:pt idx="729">
                  <c:v>35359</c:v>
                </c:pt>
                <c:pt idx="730">
                  <c:v>35360</c:v>
                </c:pt>
                <c:pt idx="731">
                  <c:v>35361</c:v>
                </c:pt>
                <c:pt idx="732">
                  <c:v>35362</c:v>
                </c:pt>
                <c:pt idx="733">
                  <c:v>35363</c:v>
                </c:pt>
                <c:pt idx="734">
                  <c:v>35366</c:v>
                </c:pt>
                <c:pt idx="735">
                  <c:v>35367</c:v>
                </c:pt>
                <c:pt idx="736">
                  <c:v>35368</c:v>
                </c:pt>
                <c:pt idx="737">
                  <c:v>35369</c:v>
                </c:pt>
                <c:pt idx="738">
                  <c:v>35370</c:v>
                </c:pt>
                <c:pt idx="739">
                  <c:v>35373</c:v>
                </c:pt>
                <c:pt idx="740">
                  <c:v>35374</c:v>
                </c:pt>
                <c:pt idx="741">
                  <c:v>35375</c:v>
                </c:pt>
                <c:pt idx="742">
                  <c:v>35376</c:v>
                </c:pt>
                <c:pt idx="743">
                  <c:v>35377</c:v>
                </c:pt>
                <c:pt idx="744">
                  <c:v>35380</c:v>
                </c:pt>
                <c:pt idx="745">
                  <c:v>35381</c:v>
                </c:pt>
                <c:pt idx="746">
                  <c:v>35382</c:v>
                </c:pt>
                <c:pt idx="747">
                  <c:v>35383</c:v>
                </c:pt>
                <c:pt idx="748">
                  <c:v>35384</c:v>
                </c:pt>
                <c:pt idx="749">
                  <c:v>35387</c:v>
                </c:pt>
                <c:pt idx="750">
                  <c:v>35388</c:v>
                </c:pt>
                <c:pt idx="751">
                  <c:v>35389</c:v>
                </c:pt>
                <c:pt idx="752">
                  <c:v>35390</c:v>
                </c:pt>
                <c:pt idx="753">
                  <c:v>35391</c:v>
                </c:pt>
                <c:pt idx="754">
                  <c:v>35394</c:v>
                </c:pt>
                <c:pt idx="755">
                  <c:v>35395</c:v>
                </c:pt>
                <c:pt idx="756">
                  <c:v>35396</c:v>
                </c:pt>
                <c:pt idx="757">
                  <c:v>35397</c:v>
                </c:pt>
                <c:pt idx="758">
                  <c:v>35398</c:v>
                </c:pt>
                <c:pt idx="759">
                  <c:v>35401</c:v>
                </c:pt>
                <c:pt idx="760">
                  <c:v>35402</c:v>
                </c:pt>
                <c:pt idx="761">
                  <c:v>35403</c:v>
                </c:pt>
                <c:pt idx="762">
                  <c:v>35404</c:v>
                </c:pt>
                <c:pt idx="763">
                  <c:v>35405</c:v>
                </c:pt>
                <c:pt idx="764">
                  <c:v>35408</c:v>
                </c:pt>
                <c:pt idx="765">
                  <c:v>35409</c:v>
                </c:pt>
                <c:pt idx="766">
                  <c:v>35410</c:v>
                </c:pt>
                <c:pt idx="767">
                  <c:v>35411</c:v>
                </c:pt>
                <c:pt idx="768">
                  <c:v>35412</c:v>
                </c:pt>
                <c:pt idx="769">
                  <c:v>35415</c:v>
                </c:pt>
                <c:pt idx="770">
                  <c:v>35416</c:v>
                </c:pt>
                <c:pt idx="771">
                  <c:v>35417</c:v>
                </c:pt>
                <c:pt idx="772">
                  <c:v>35418</c:v>
                </c:pt>
                <c:pt idx="773">
                  <c:v>35419</c:v>
                </c:pt>
                <c:pt idx="774">
                  <c:v>35422</c:v>
                </c:pt>
                <c:pt idx="775">
                  <c:v>35423</c:v>
                </c:pt>
                <c:pt idx="776">
                  <c:v>35424</c:v>
                </c:pt>
                <c:pt idx="777">
                  <c:v>35425</c:v>
                </c:pt>
                <c:pt idx="778">
                  <c:v>35426</c:v>
                </c:pt>
                <c:pt idx="779">
                  <c:v>35429</c:v>
                </c:pt>
                <c:pt idx="780">
                  <c:v>35430</c:v>
                </c:pt>
                <c:pt idx="781">
                  <c:v>35431</c:v>
                </c:pt>
                <c:pt idx="782">
                  <c:v>35432</c:v>
                </c:pt>
                <c:pt idx="783">
                  <c:v>35433</c:v>
                </c:pt>
                <c:pt idx="784">
                  <c:v>35436</c:v>
                </c:pt>
                <c:pt idx="785">
                  <c:v>35437</c:v>
                </c:pt>
                <c:pt idx="786">
                  <c:v>35438</c:v>
                </c:pt>
                <c:pt idx="787">
                  <c:v>35439</c:v>
                </c:pt>
                <c:pt idx="788">
                  <c:v>35440</c:v>
                </c:pt>
                <c:pt idx="789">
                  <c:v>35443</c:v>
                </c:pt>
                <c:pt idx="790">
                  <c:v>35444</c:v>
                </c:pt>
                <c:pt idx="791">
                  <c:v>35445</c:v>
                </c:pt>
                <c:pt idx="792">
                  <c:v>35446</c:v>
                </c:pt>
                <c:pt idx="793">
                  <c:v>35447</c:v>
                </c:pt>
                <c:pt idx="794">
                  <c:v>35450</c:v>
                </c:pt>
                <c:pt idx="795">
                  <c:v>35451</c:v>
                </c:pt>
                <c:pt idx="796">
                  <c:v>35452</c:v>
                </c:pt>
                <c:pt idx="797">
                  <c:v>35453</c:v>
                </c:pt>
                <c:pt idx="798">
                  <c:v>35454</c:v>
                </c:pt>
                <c:pt idx="799">
                  <c:v>35457</c:v>
                </c:pt>
                <c:pt idx="800">
                  <c:v>35458</c:v>
                </c:pt>
                <c:pt idx="801">
                  <c:v>35459</c:v>
                </c:pt>
                <c:pt idx="802">
                  <c:v>35460</c:v>
                </c:pt>
                <c:pt idx="803">
                  <c:v>35461</c:v>
                </c:pt>
                <c:pt idx="804">
                  <c:v>35464</c:v>
                </c:pt>
                <c:pt idx="805">
                  <c:v>35465</c:v>
                </c:pt>
                <c:pt idx="806">
                  <c:v>35466</c:v>
                </c:pt>
                <c:pt idx="807">
                  <c:v>35467</c:v>
                </c:pt>
                <c:pt idx="808">
                  <c:v>35468</c:v>
                </c:pt>
                <c:pt idx="809">
                  <c:v>35471</c:v>
                </c:pt>
                <c:pt idx="810">
                  <c:v>35472</c:v>
                </c:pt>
                <c:pt idx="811">
                  <c:v>35473</c:v>
                </c:pt>
                <c:pt idx="812">
                  <c:v>35474</c:v>
                </c:pt>
                <c:pt idx="813">
                  <c:v>35475</c:v>
                </c:pt>
                <c:pt idx="814">
                  <c:v>35478</c:v>
                </c:pt>
                <c:pt idx="815">
                  <c:v>35479</c:v>
                </c:pt>
                <c:pt idx="816">
                  <c:v>35480</c:v>
                </c:pt>
                <c:pt idx="817">
                  <c:v>35481</c:v>
                </c:pt>
                <c:pt idx="818">
                  <c:v>35482</c:v>
                </c:pt>
                <c:pt idx="819">
                  <c:v>35485</c:v>
                </c:pt>
                <c:pt idx="820">
                  <c:v>35486</c:v>
                </c:pt>
                <c:pt idx="821">
                  <c:v>35487</c:v>
                </c:pt>
                <c:pt idx="822">
                  <c:v>35488</c:v>
                </c:pt>
                <c:pt idx="823">
                  <c:v>35489</c:v>
                </c:pt>
                <c:pt idx="824">
                  <c:v>35492</c:v>
                </c:pt>
                <c:pt idx="825">
                  <c:v>35493</c:v>
                </c:pt>
                <c:pt idx="826">
                  <c:v>35494</c:v>
                </c:pt>
                <c:pt idx="827">
                  <c:v>35495</c:v>
                </c:pt>
                <c:pt idx="828">
                  <c:v>35496</c:v>
                </c:pt>
                <c:pt idx="829">
                  <c:v>35499</c:v>
                </c:pt>
                <c:pt idx="830">
                  <c:v>35500</c:v>
                </c:pt>
                <c:pt idx="831">
                  <c:v>35501</c:v>
                </c:pt>
                <c:pt idx="832">
                  <c:v>35502</c:v>
                </c:pt>
                <c:pt idx="833">
                  <c:v>35503</c:v>
                </c:pt>
                <c:pt idx="834">
                  <c:v>35506</c:v>
                </c:pt>
                <c:pt idx="835">
                  <c:v>35507</c:v>
                </c:pt>
                <c:pt idx="836">
                  <c:v>35508</c:v>
                </c:pt>
                <c:pt idx="837">
                  <c:v>35509</c:v>
                </c:pt>
                <c:pt idx="838">
                  <c:v>35510</c:v>
                </c:pt>
                <c:pt idx="839">
                  <c:v>35513</c:v>
                </c:pt>
                <c:pt idx="840">
                  <c:v>35514</c:v>
                </c:pt>
                <c:pt idx="841">
                  <c:v>35515</c:v>
                </c:pt>
                <c:pt idx="842">
                  <c:v>35516</c:v>
                </c:pt>
                <c:pt idx="843">
                  <c:v>35517</c:v>
                </c:pt>
                <c:pt idx="844">
                  <c:v>35520</c:v>
                </c:pt>
                <c:pt idx="845">
                  <c:v>35521</c:v>
                </c:pt>
                <c:pt idx="846">
                  <c:v>35522</c:v>
                </c:pt>
                <c:pt idx="847">
                  <c:v>35523</c:v>
                </c:pt>
                <c:pt idx="848">
                  <c:v>35524</c:v>
                </c:pt>
                <c:pt idx="849">
                  <c:v>35527</c:v>
                </c:pt>
                <c:pt idx="850">
                  <c:v>35528</c:v>
                </c:pt>
                <c:pt idx="851">
                  <c:v>35529</c:v>
                </c:pt>
                <c:pt idx="852">
                  <c:v>35530</c:v>
                </c:pt>
                <c:pt idx="853">
                  <c:v>35531</c:v>
                </c:pt>
                <c:pt idx="854">
                  <c:v>35534</c:v>
                </c:pt>
                <c:pt idx="855">
                  <c:v>35535</c:v>
                </c:pt>
                <c:pt idx="856">
                  <c:v>35536</c:v>
                </c:pt>
                <c:pt idx="857">
                  <c:v>35537</c:v>
                </c:pt>
                <c:pt idx="858">
                  <c:v>35538</c:v>
                </c:pt>
                <c:pt idx="859">
                  <c:v>35541</c:v>
                </c:pt>
                <c:pt idx="860">
                  <c:v>35542</c:v>
                </c:pt>
                <c:pt idx="861">
                  <c:v>35543</c:v>
                </c:pt>
                <c:pt idx="862">
                  <c:v>35544</c:v>
                </c:pt>
                <c:pt idx="863">
                  <c:v>35545</c:v>
                </c:pt>
                <c:pt idx="864">
                  <c:v>35548</c:v>
                </c:pt>
                <c:pt idx="865">
                  <c:v>35549</c:v>
                </c:pt>
                <c:pt idx="866">
                  <c:v>35550</c:v>
                </c:pt>
                <c:pt idx="867">
                  <c:v>35551</c:v>
                </c:pt>
                <c:pt idx="868">
                  <c:v>35552</c:v>
                </c:pt>
                <c:pt idx="869">
                  <c:v>35555</c:v>
                </c:pt>
                <c:pt idx="870">
                  <c:v>35556</c:v>
                </c:pt>
                <c:pt idx="871">
                  <c:v>35557</c:v>
                </c:pt>
                <c:pt idx="872">
                  <c:v>35558</c:v>
                </c:pt>
                <c:pt idx="873">
                  <c:v>35559</c:v>
                </c:pt>
                <c:pt idx="874">
                  <c:v>35562</c:v>
                </c:pt>
                <c:pt idx="875">
                  <c:v>35563</c:v>
                </c:pt>
                <c:pt idx="876">
                  <c:v>35564</c:v>
                </c:pt>
                <c:pt idx="877">
                  <c:v>35565</c:v>
                </c:pt>
                <c:pt idx="878">
                  <c:v>35566</c:v>
                </c:pt>
                <c:pt idx="879">
                  <c:v>35569</c:v>
                </c:pt>
                <c:pt idx="880">
                  <c:v>35570</c:v>
                </c:pt>
                <c:pt idx="881">
                  <c:v>35571</c:v>
                </c:pt>
                <c:pt idx="882">
                  <c:v>35572</c:v>
                </c:pt>
                <c:pt idx="883">
                  <c:v>35573</c:v>
                </c:pt>
                <c:pt idx="884">
                  <c:v>35576</c:v>
                </c:pt>
                <c:pt idx="885">
                  <c:v>35577</c:v>
                </c:pt>
                <c:pt idx="886">
                  <c:v>35578</c:v>
                </c:pt>
                <c:pt idx="887">
                  <c:v>35579</c:v>
                </c:pt>
                <c:pt idx="888">
                  <c:v>35580</c:v>
                </c:pt>
                <c:pt idx="889">
                  <c:v>35583</c:v>
                </c:pt>
                <c:pt idx="890">
                  <c:v>35584</c:v>
                </c:pt>
                <c:pt idx="891">
                  <c:v>35585</c:v>
                </c:pt>
                <c:pt idx="892">
                  <c:v>35586</c:v>
                </c:pt>
                <c:pt idx="893">
                  <c:v>35587</c:v>
                </c:pt>
                <c:pt idx="894">
                  <c:v>35590</c:v>
                </c:pt>
                <c:pt idx="895">
                  <c:v>35591</c:v>
                </c:pt>
                <c:pt idx="896">
                  <c:v>35592</c:v>
                </c:pt>
                <c:pt idx="897">
                  <c:v>35593</c:v>
                </c:pt>
                <c:pt idx="898">
                  <c:v>35594</c:v>
                </c:pt>
                <c:pt idx="899">
                  <c:v>35597</c:v>
                </c:pt>
                <c:pt idx="900">
                  <c:v>35598</c:v>
                </c:pt>
                <c:pt idx="901">
                  <c:v>35599</c:v>
                </c:pt>
                <c:pt idx="902">
                  <c:v>35600</c:v>
                </c:pt>
                <c:pt idx="903">
                  <c:v>35601</c:v>
                </c:pt>
                <c:pt idx="904">
                  <c:v>35604</c:v>
                </c:pt>
                <c:pt idx="905">
                  <c:v>35605</c:v>
                </c:pt>
                <c:pt idx="906">
                  <c:v>35606</c:v>
                </c:pt>
                <c:pt idx="907">
                  <c:v>35607</c:v>
                </c:pt>
                <c:pt idx="908">
                  <c:v>35608</c:v>
                </c:pt>
                <c:pt idx="909">
                  <c:v>35611</c:v>
                </c:pt>
                <c:pt idx="910">
                  <c:v>35612</c:v>
                </c:pt>
                <c:pt idx="911">
                  <c:v>35613</c:v>
                </c:pt>
                <c:pt idx="912">
                  <c:v>35614</c:v>
                </c:pt>
                <c:pt idx="913">
                  <c:v>35615</c:v>
                </c:pt>
                <c:pt idx="914">
                  <c:v>35618</c:v>
                </c:pt>
                <c:pt idx="915">
                  <c:v>35619</c:v>
                </c:pt>
                <c:pt idx="916">
                  <c:v>35620</c:v>
                </c:pt>
                <c:pt idx="917">
                  <c:v>35621</c:v>
                </c:pt>
                <c:pt idx="918">
                  <c:v>35622</c:v>
                </c:pt>
                <c:pt idx="919">
                  <c:v>35625</c:v>
                </c:pt>
                <c:pt idx="920">
                  <c:v>35626</c:v>
                </c:pt>
                <c:pt idx="921">
                  <c:v>35627</c:v>
                </c:pt>
                <c:pt idx="922">
                  <c:v>35628</c:v>
                </c:pt>
                <c:pt idx="923">
                  <c:v>35629</c:v>
                </c:pt>
                <c:pt idx="924">
                  <c:v>35632</c:v>
                </c:pt>
                <c:pt idx="925">
                  <c:v>35633</c:v>
                </c:pt>
                <c:pt idx="926">
                  <c:v>35634</c:v>
                </c:pt>
                <c:pt idx="927">
                  <c:v>35635</c:v>
                </c:pt>
                <c:pt idx="928">
                  <c:v>35636</c:v>
                </c:pt>
                <c:pt idx="929">
                  <c:v>35639</c:v>
                </c:pt>
                <c:pt idx="930">
                  <c:v>35640</c:v>
                </c:pt>
                <c:pt idx="931">
                  <c:v>35641</c:v>
                </c:pt>
                <c:pt idx="932">
                  <c:v>35642</c:v>
                </c:pt>
                <c:pt idx="933">
                  <c:v>35643</c:v>
                </c:pt>
                <c:pt idx="934">
                  <c:v>35646</c:v>
                </c:pt>
                <c:pt idx="935">
                  <c:v>35647</c:v>
                </c:pt>
                <c:pt idx="936">
                  <c:v>35648</c:v>
                </c:pt>
                <c:pt idx="937">
                  <c:v>35649</c:v>
                </c:pt>
                <c:pt idx="938">
                  <c:v>35650</c:v>
                </c:pt>
                <c:pt idx="939">
                  <c:v>35653</c:v>
                </c:pt>
                <c:pt idx="940">
                  <c:v>35654</c:v>
                </c:pt>
                <c:pt idx="941">
                  <c:v>35655</c:v>
                </c:pt>
                <c:pt idx="942">
                  <c:v>35656</c:v>
                </c:pt>
                <c:pt idx="943">
                  <c:v>35657</c:v>
                </c:pt>
                <c:pt idx="944">
                  <c:v>35660</c:v>
                </c:pt>
                <c:pt idx="945">
                  <c:v>35661</c:v>
                </c:pt>
                <c:pt idx="946">
                  <c:v>35662</c:v>
                </c:pt>
                <c:pt idx="947">
                  <c:v>35663</c:v>
                </c:pt>
                <c:pt idx="948">
                  <c:v>35664</c:v>
                </c:pt>
                <c:pt idx="949">
                  <c:v>35667</c:v>
                </c:pt>
                <c:pt idx="950">
                  <c:v>35668</c:v>
                </c:pt>
                <c:pt idx="951">
                  <c:v>35669</c:v>
                </c:pt>
                <c:pt idx="952">
                  <c:v>35670</c:v>
                </c:pt>
                <c:pt idx="953">
                  <c:v>35671</c:v>
                </c:pt>
                <c:pt idx="954">
                  <c:v>35674</c:v>
                </c:pt>
                <c:pt idx="955">
                  <c:v>35675</c:v>
                </c:pt>
                <c:pt idx="956">
                  <c:v>35676</c:v>
                </c:pt>
                <c:pt idx="957">
                  <c:v>35677</c:v>
                </c:pt>
                <c:pt idx="958">
                  <c:v>35678</c:v>
                </c:pt>
                <c:pt idx="959">
                  <c:v>35681</c:v>
                </c:pt>
                <c:pt idx="960">
                  <c:v>35682</c:v>
                </c:pt>
                <c:pt idx="961">
                  <c:v>35683</c:v>
                </c:pt>
                <c:pt idx="962">
                  <c:v>35684</c:v>
                </c:pt>
                <c:pt idx="963">
                  <c:v>35685</c:v>
                </c:pt>
                <c:pt idx="964">
                  <c:v>35688</c:v>
                </c:pt>
                <c:pt idx="965">
                  <c:v>35689</c:v>
                </c:pt>
                <c:pt idx="966">
                  <c:v>35690</c:v>
                </c:pt>
                <c:pt idx="967">
                  <c:v>35691</c:v>
                </c:pt>
                <c:pt idx="968">
                  <c:v>35692</c:v>
                </c:pt>
                <c:pt idx="969">
                  <c:v>35695</c:v>
                </c:pt>
                <c:pt idx="970">
                  <c:v>35696</c:v>
                </c:pt>
                <c:pt idx="971">
                  <c:v>35697</c:v>
                </c:pt>
                <c:pt idx="972">
                  <c:v>35698</c:v>
                </c:pt>
                <c:pt idx="973">
                  <c:v>35699</c:v>
                </c:pt>
                <c:pt idx="974">
                  <c:v>35702</c:v>
                </c:pt>
                <c:pt idx="975">
                  <c:v>35703</c:v>
                </c:pt>
                <c:pt idx="976">
                  <c:v>35704</c:v>
                </c:pt>
                <c:pt idx="977">
                  <c:v>35705</c:v>
                </c:pt>
                <c:pt idx="978">
                  <c:v>35706</c:v>
                </c:pt>
                <c:pt idx="979">
                  <c:v>35709</c:v>
                </c:pt>
                <c:pt idx="980">
                  <c:v>35710</c:v>
                </c:pt>
                <c:pt idx="981">
                  <c:v>35711</c:v>
                </c:pt>
                <c:pt idx="982">
                  <c:v>35712</c:v>
                </c:pt>
                <c:pt idx="983">
                  <c:v>35713</c:v>
                </c:pt>
                <c:pt idx="984">
                  <c:v>35716</c:v>
                </c:pt>
                <c:pt idx="985">
                  <c:v>35717</c:v>
                </c:pt>
                <c:pt idx="986">
                  <c:v>35718</c:v>
                </c:pt>
                <c:pt idx="987">
                  <c:v>35719</c:v>
                </c:pt>
                <c:pt idx="988">
                  <c:v>35720</c:v>
                </c:pt>
                <c:pt idx="989">
                  <c:v>35723</c:v>
                </c:pt>
                <c:pt idx="990">
                  <c:v>35724</c:v>
                </c:pt>
                <c:pt idx="991">
                  <c:v>35725</c:v>
                </c:pt>
                <c:pt idx="992">
                  <c:v>35726</c:v>
                </c:pt>
                <c:pt idx="993">
                  <c:v>35727</c:v>
                </c:pt>
                <c:pt idx="994">
                  <c:v>35730</c:v>
                </c:pt>
                <c:pt idx="995">
                  <c:v>35731</c:v>
                </c:pt>
                <c:pt idx="996">
                  <c:v>35732</c:v>
                </c:pt>
                <c:pt idx="997">
                  <c:v>35733</c:v>
                </c:pt>
                <c:pt idx="998">
                  <c:v>35734</c:v>
                </c:pt>
                <c:pt idx="999">
                  <c:v>35737</c:v>
                </c:pt>
                <c:pt idx="1000">
                  <c:v>35738</c:v>
                </c:pt>
                <c:pt idx="1001">
                  <c:v>35739</c:v>
                </c:pt>
                <c:pt idx="1002">
                  <c:v>35740</c:v>
                </c:pt>
                <c:pt idx="1003">
                  <c:v>35741</c:v>
                </c:pt>
                <c:pt idx="1004">
                  <c:v>35744</c:v>
                </c:pt>
                <c:pt idx="1005">
                  <c:v>35745</c:v>
                </c:pt>
                <c:pt idx="1006">
                  <c:v>35746</c:v>
                </c:pt>
                <c:pt idx="1007">
                  <c:v>35747</c:v>
                </c:pt>
                <c:pt idx="1008">
                  <c:v>35748</c:v>
                </c:pt>
                <c:pt idx="1009">
                  <c:v>35751</c:v>
                </c:pt>
                <c:pt idx="1010">
                  <c:v>35752</c:v>
                </c:pt>
                <c:pt idx="1011">
                  <c:v>35753</c:v>
                </c:pt>
                <c:pt idx="1012">
                  <c:v>35754</c:v>
                </c:pt>
                <c:pt idx="1013">
                  <c:v>35755</c:v>
                </c:pt>
                <c:pt idx="1014">
                  <c:v>35758</c:v>
                </c:pt>
                <c:pt idx="1015">
                  <c:v>35759</c:v>
                </c:pt>
                <c:pt idx="1016">
                  <c:v>35760</c:v>
                </c:pt>
                <c:pt idx="1017">
                  <c:v>35761</c:v>
                </c:pt>
                <c:pt idx="1018">
                  <c:v>35762</c:v>
                </c:pt>
                <c:pt idx="1019">
                  <c:v>35765</c:v>
                </c:pt>
                <c:pt idx="1020">
                  <c:v>35766</c:v>
                </c:pt>
                <c:pt idx="1021">
                  <c:v>35767</c:v>
                </c:pt>
                <c:pt idx="1022">
                  <c:v>35768</c:v>
                </c:pt>
                <c:pt idx="1023">
                  <c:v>35769</c:v>
                </c:pt>
                <c:pt idx="1024">
                  <c:v>35772</c:v>
                </c:pt>
                <c:pt idx="1025">
                  <c:v>35773</c:v>
                </c:pt>
                <c:pt idx="1026">
                  <c:v>35774</c:v>
                </c:pt>
                <c:pt idx="1027">
                  <c:v>35775</c:v>
                </c:pt>
                <c:pt idx="1028">
                  <c:v>35776</c:v>
                </c:pt>
                <c:pt idx="1029">
                  <c:v>35779</c:v>
                </c:pt>
                <c:pt idx="1030">
                  <c:v>35780</c:v>
                </c:pt>
                <c:pt idx="1031">
                  <c:v>35781</c:v>
                </c:pt>
                <c:pt idx="1032">
                  <c:v>35782</c:v>
                </c:pt>
                <c:pt idx="1033">
                  <c:v>35783</c:v>
                </c:pt>
                <c:pt idx="1034">
                  <c:v>35786</c:v>
                </c:pt>
                <c:pt idx="1035">
                  <c:v>35787</c:v>
                </c:pt>
                <c:pt idx="1036">
                  <c:v>35788</c:v>
                </c:pt>
                <c:pt idx="1037">
                  <c:v>35789</c:v>
                </c:pt>
                <c:pt idx="1038">
                  <c:v>35790</c:v>
                </c:pt>
                <c:pt idx="1039">
                  <c:v>35793</c:v>
                </c:pt>
                <c:pt idx="1040">
                  <c:v>35794</c:v>
                </c:pt>
                <c:pt idx="1041">
                  <c:v>35795</c:v>
                </c:pt>
                <c:pt idx="1042">
                  <c:v>35796</c:v>
                </c:pt>
                <c:pt idx="1043">
                  <c:v>35797</c:v>
                </c:pt>
                <c:pt idx="1044">
                  <c:v>35800</c:v>
                </c:pt>
                <c:pt idx="1045">
                  <c:v>35801</c:v>
                </c:pt>
                <c:pt idx="1046">
                  <c:v>35802</c:v>
                </c:pt>
                <c:pt idx="1047">
                  <c:v>35803</c:v>
                </c:pt>
                <c:pt idx="1048">
                  <c:v>35804</c:v>
                </c:pt>
                <c:pt idx="1049">
                  <c:v>35807</c:v>
                </c:pt>
                <c:pt idx="1050">
                  <c:v>35808</c:v>
                </c:pt>
                <c:pt idx="1051">
                  <c:v>35809</c:v>
                </c:pt>
                <c:pt idx="1052">
                  <c:v>35810</c:v>
                </c:pt>
                <c:pt idx="1053">
                  <c:v>35811</c:v>
                </c:pt>
                <c:pt idx="1054">
                  <c:v>35814</c:v>
                </c:pt>
                <c:pt idx="1055">
                  <c:v>35815</c:v>
                </c:pt>
                <c:pt idx="1056">
                  <c:v>35816</c:v>
                </c:pt>
                <c:pt idx="1057">
                  <c:v>35817</c:v>
                </c:pt>
                <c:pt idx="1058">
                  <c:v>35818</c:v>
                </c:pt>
                <c:pt idx="1059">
                  <c:v>35821</c:v>
                </c:pt>
                <c:pt idx="1060">
                  <c:v>35822</c:v>
                </c:pt>
                <c:pt idx="1061">
                  <c:v>35823</c:v>
                </c:pt>
                <c:pt idx="1062">
                  <c:v>35824</c:v>
                </c:pt>
                <c:pt idx="1063">
                  <c:v>35825</c:v>
                </c:pt>
                <c:pt idx="1064">
                  <c:v>35828</c:v>
                </c:pt>
                <c:pt idx="1065">
                  <c:v>35829</c:v>
                </c:pt>
                <c:pt idx="1066">
                  <c:v>35830</c:v>
                </c:pt>
                <c:pt idx="1067">
                  <c:v>35831</c:v>
                </c:pt>
                <c:pt idx="1068">
                  <c:v>35832</c:v>
                </c:pt>
                <c:pt idx="1069">
                  <c:v>35835</c:v>
                </c:pt>
                <c:pt idx="1070">
                  <c:v>35836</c:v>
                </c:pt>
                <c:pt idx="1071">
                  <c:v>35837</c:v>
                </c:pt>
                <c:pt idx="1072">
                  <c:v>35838</c:v>
                </c:pt>
                <c:pt idx="1073">
                  <c:v>35839</c:v>
                </c:pt>
                <c:pt idx="1074">
                  <c:v>35842</c:v>
                </c:pt>
                <c:pt idx="1075">
                  <c:v>35843</c:v>
                </c:pt>
                <c:pt idx="1076">
                  <c:v>35844</c:v>
                </c:pt>
                <c:pt idx="1077">
                  <c:v>35845</c:v>
                </c:pt>
                <c:pt idx="1078">
                  <c:v>35846</c:v>
                </c:pt>
                <c:pt idx="1079">
                  <c:v>35849</c:v>
                </c:pt>
                <c:pt idx="1080">
                  <c:v>35850</c:v>
                </c:pt>
                <c:pt idx="1081">
                  <c:v>35851</c:v>
                </c:pt>
                <c:pt idx="1082">
                  <c:v>35852</c:v>
                </c:pt>
                <c:pt idx="1083">
                  <c:v>35853</c:v>
                </c:pt>
                <c:pt idx="1084">
                  <c:v>35856</c:v>
                </c:pt>
                <c:pt idx="1085">
                  <c:v>35857</c:v>
                </c:pt>
                <c:pt idx="1086">
                  <c:v>35858</c:v>
                </c:pt>
                <c:pt idx="1087">
                  <c:v>35859</c:v>
                </c:pt>
                <c:pt idx="1088">
                  <c:v>35860</c:v>
                </c:pt>
                <c:pt idx="1089">
                  <c:v>35863</c:v>
                </c:pt>
                <c:pt idx="1090">
                  <c:v>35864</c:v>
                </c:pt>
                <c:pt idx="1091">
                  <c:v>35865</c:v>
                </c:pt>
                <c:pt idx="1092">
                  <c:v>35866</c:v>
                </c:pt>
                <c:pt idx="1093">
                  <c:v>35867</c:v>
                </c:pt>
                <c:pt idx="1094">
                  <c:v>35870</c:v>
                </c:pt>
                <c:pt idx="1095">
                  <c:v>35871</c:v>
                </c:pt>
                <c:pt idx="1096">
                  <c:v>35872</c:v>
                </c:pt>
                <c:pt idx="1097">
                  <c:v>35873</c:v>
                </c:pt>
                <c:pt idx="1098">
                  <c:v>35874</c:v>
                </c:pt>
                <c:pt idx="1099">
                  <c:v>35877</c:v>
                </c:pt>
                <c:pt idx="1100">
                  <c:v>35878</c:v>
                </c:pt>
                <c:pt idx="1101">
                  <c:v>35879</c:v>
                </c:pt>
                <c:pt idx="1102">
                  <c:v>35880</c:v>
                </c:pt>
                <c:pt idx="1103">
                  <c:v>35881</c:v>
                </c:pt>
                <c:pt idx="1104">
                  <c:v>35884</c:v>
                </c:pt>
                <c:pt idx="1105">
                  <c:v>35885</c:v>
                </c:pt>
                <c:pt idx="1106">
                  <c:v>35886</c:v>
                </c:pt>
                <c:pt idx="1107">
                  <c:v>35887</c:v>
                </c:pt>
                <c:pt idx="1108">
                  <c:v>35888</c:v>
                </c:pt>
                <c:pt idx="1109">
                  <c:v>35891</c:v>
                </c:pt>
                <c:pt idx="1110">
                  <c:v>35892</c:v>
                </c:pt>
                <c:pt idx="1111">
                  <c:v>35893</c:v>
                </c:pt>
                <c:pt idx="1112">
                  <c:v>35894</c:v>
                </c:pt>
                <c:pt idx="1113">
                  <c:v>35895</c:v>
                </c:pt>
                <c:pt idx="1114">
                  <c:v>35898</c:v>
                </c:pt>
                <c:pt idx="1115">
                  <c:v>35899</c:v>
                </c:pt>
                <c:pt idx="1116">
                  <c:v>35900</c:v>
                </c:pt>
                <c:pt idx="1117">
                  <c:v>35901</c:v>
                </c:pt>
                <c:pt idx="1118">
                  <c:v>35902</c:v>
                </c:pt>
                <c:pt idx="1119">
                  <c:v>35905</c:v>
                </c:pt>
                <c:pt idx="1120">
                  <c:v>35906</c:v>
                </c:pt>
                <c:pt idx="1121">
                  <c:v>35907</c:v>
                </c:pt>
                <c:pt idx="1122">
                  <c:v>35908</c:v>
                </c:pt>
                <c:pt idx="1123">
                  <c:v>35909</c:v>
                </c:pt>
                <c:pt idx="1124">
                  <c:v>35912</c:v>
                </c:pt>
                <c:pt idx="1125">
                  <c:v>35913</c:v>
                </c:pt>
                <c:pt idx="1126">
                  <c:v>35914</c:v>
                </c:pt>
                <c:pt idx="1127">
                  <c:v>35915</c:v>
                </c:pt>
                <c:pt idx="1128">
                  <c:v>35916</c:v>
                </c:pt>
                <c:pt idx="1129">
                  <c:v>35919</c:v>
                </c:pt>
                <c:pt idx="1130">
                  <c:v>35920</c:v>
                </c:pt>
                <c:pt idx="1131">
                  <c:v>35921</c:v>
                </c:pt>
                <c:pt idx="1132">
                  <c:v>35922</c:v>
                </c:pt>
                <c:pt idx="1133">
                  <c:v>35923</c:v>
                </c:pt>
                <c:pt idx="1134">
                  <c:v>35926</c:v>
                </c:pt>
                <c:pt idx="1135">
                  <c:v>35927</c:v>
                </c:pt>
                <c:pt idx="1136">
                  <c:v>35928</c:v>
                </c:pt>
                <c:pt idx="1137">
                  <c:v>35929</c:v>
                </c:pt>
                <c:pt idx="1138">
                  <c:v>35930</c:v>
                </c:pt>
                <c:pt idx="1139">
                  <c:v>35933</c:v>
                </c:pt>
                <c:pt idx="1140">
                  <c:v>35934</c:v>
                </c:pt>
                <c:pt idx="1141">
                  <c:v>35935</c:v>
                </c:pt>
                <c:pt idx="1142">
                  <c:v>35936</c:v>
                </c:pt>
                <c:pt idx="1143">
                  <c:v>35937</c:v>
                </c:pt>
                <c:pt idx="1144">
                  <c:v>35940</c:v>
                </c:pt>
                <c:pt idx="1145">
                  <c:v>35941</c:v>
                </c:pt>
                <c:pt idx="1146">
                  <c:v>35942</c:v>
                </c:pt>
                <c:pt idx="1147">
                  <c:v>35943</c:v>
                </c:pt>
                <c:pt idx="1148">
                  <c:v>35944</c:v>
                </c:pt>
                <c:pt idx="1149">
                  <c:v>35947</c:v>
                </c:pt>
                <c:pt idx="1150">
                  <c:v>35948</c:v>
                </c:pt>
                <c:pt idx="1151">
                  <c:v>35949</c:v>
                </c:pt>
                <c:pt idx="1152">
                  <c:v>35950</c:v>
                </c:pt>
                <c:pt idx="1153">
                  <c:v>35951</c:v>
                </c:pt>
                <c:pt idx="1154">
                  <c:v>35954</c:v>
                </c:pt>
                <c:pt idx="1155">
                  <c:v>35955</c:v>
                </c:pt>
                <c:pt idx="1156">
                  <c:v>35956</c:v>
                </c:pt>
                <c:pt idx="1157">
                  <c:v>35957</c:v>
                </c:pt>
                <c:pt idx="1158">
                  <c:v>35958</c:v>
                </c:pt>
                <c:pt idx="1159">
                  <c:v>35961</c:v>
                </c:pt>
                <c:pt idx="1160">
                  <c:v>35962</c:v>
                </c:pt>
                <c:pt idx="1161">
                  <c:v>35963</c:v>
                </c:pt>
                <c:pt idx="1162">
                  <c:v>35964</c:v>
                </c:pt>
                <c:pt idx="1163">
                  <c:v>35965</c:v>
                </c:pt>
                <c:pt idx="1164">
                  <c:v>35968</c:v>
                </c:pt>
                <c:pt idx="1165">
                  <c:v>35969</c:v>
                </c:pt>
                <c:pt idx="1166">
                  <c:v>35970</c:v>
                </c:pt>
                <c:pt idx="1167">
                  <c:v>35971</c:v>
                </c:pt>
                <c:pt idx="1168">
                  <c:v>35972</c:v>
                </c:pt>
                <c:pt idx="1169">
                  <c:v>35975</c:v>
                </c:pt>
                <c:pt idx="1170">
                  <c:v>35976</c:v>
                </c:pt>
                <c:pt idx="1171">
                  <c:v>35977</c:v>
                </c:pt>
                <c:pt idx="1172">
                  <c:v>35978</c:v>
                </c:pt>
                <c:pt idx="1173">
                  <c:v>35979</c:v>
                </c:pt>
                <c:pt idx="1174">
                  <c:v>35982</c:v>
                </c:pt>
                <c:pt idx="1175">
                  <c:v>35983</c:v>
                </c:pt>
                <c:pt idx="1176">
                  <c:v>35984</c:v>
                </c:pt>
                <c:pt idx="1177">
                  <c:v>35985</c:v>
                </c:pt>
                <c:pt idx="1178">
                  <c:v>35986</c:v>
                </c:pt>
                <c:pt idx="1179">
                  <c:v>35989</c:v>
                </c:pt>
                <c:pt idx="1180">
                  <c:v>35990</c:v>
                </c:pt>
                <c:pt idx="1181">
                  <c:v>35991</c:v>
                </c:pt>
                <c:pt idx="1182">
                  <c:v>35992</c:v>
                </c:pt>
                <c:pt idx="1183">
                  <c:v>35993</c:v>
                </c:pt>
                <c:pt idx="1184">
                  <c:v>35996</c:v>
                </c:pt>
                <c:pt idx="1185">
                  <c:v>35997</c:v>
                </c:pt>
                <c:pt idx="1186">
                  <c:v>35998</c:v>
                </c:pt>
                <c:pt idx="1187">
                  <c:v>35999</c:v>
                </c:pt>
                <c:pt idx="1188">
                  <c:v>36000</c:v>
                </c:pt>
                <c:pt idx="1189">
                  <c:v>36003</c:v>
                </c:pt>
                <c:pt idx="1190">
                  <c:v>36004</c:v>
                </c:pt>
                <c:pt idx="1191">
                  <c:v>36005</c:v>
                </c:pt>
                <c:pt idx="1192">
                  <c:v>36006</c:v>
                </c:pt>
                <c:pt idx="1193">
                  <c:v>36007</c:v>
                </c:pt>
                <c:pt idx="1194">
                  <c:v>36010</c:v>
                </c:pt>
                <c:pt idx="1195">
                  <c:v>36011</c:v>
                </c:pt>
                <c:pt idx="1196">
                  <c:v>36012</c:v>
                </c:pt>
                <c:pt idx="1197">
                  <c:v>36013</c:v>
                </c:pt>
                <c:pt idx="1198">
                  <c:v>36014</c:v>
                </c:pt>
                <c:pt idx="1199">
                  <c:v>36017</c:v>
                </c:pt>
                <c:pt idx="1200">
                  <c:v>36018</c:v>
                </c:pt>
                <c:pt idx="1201">
                  <c:v>36019</c:v>
                </c:pt>
                <c:pt idx="1202">
                  <c:v>36020</c:v>
                </c:pt>
                <c:pt idx="1203">
                  <c:v>36021</c:v>
                </c:pt>
                <c:pt idx="1204">
                  <c:v>36024</c:v>
                </c:pt>
                <c:pt idx="1205">
                  <c:v>36025</c:v>
                </c:pt>
                <c:pt idx="1206">
                  <c:v>36026</c:v>
                </c:pt>
                <c:pt idx="1207">
                  <c:v>36027</c:v>
                </c:pt>
                <c:pt idx="1208">
                  <c:v>36028</c:v>
                </c:pt>
                <c:pt idx="1209">
                  <c:v>36031</c:v>
                </c:pt>
                <c:pt idx="1210">
                  <c:v>36032</c:v>
                </c:pt>
                <c:pt idx="1211">
                  <c:v>36033</c:v>
                </c:pt>
                <c:pt idx="1212">
                  <c:v>36034</c:v>
                </c:pt>
                <c:pt idx="1213">
                  <c:v>36035</c:v>
                </c:pt>
                <c:pt idx="1214">
                  <c:v>36038</c:v>
                </c:pt>
                <c:pt idx="1215">
                  <c:v>36039</c:v>
                </c:pt>
                <c:pt idx="1216">
                  <c:v>36040</c:v>
                </c:pt>
                <c:pt idx="1217">
                  <c:v>36041</c:v>
                </c:pt>
                <c:pt idx="1218">
                  <c:v>36042</c:v>
                </c:pt>
                <c:pt idx="1219">
                  <c:v>36045</c:v>
                </c:pt>
                <c:pt idx="1220">
                  <c:v>36046</c:v>
                </c:pt>
                <c:pt idx="1221">
                  <c:v>36047</c:v>
                </c:pt>
                <c:pt idx="1222">
                  <c:v>36048</c:v>
                </c:pt>
                <c:pt idx="1223">
                  <c:v>36049</c:v>
                </c:pt>
                <c:pt idx="1224">
                  <c:v>36052</c:v>
                </c:pt>
                <c:pt idx="1225">
                  <c:v>36053</c:v>
                </c:pt>
                <c:pt idx="1226">
                  <c:v>36054</c:v>
                </c:pt>
                <c:pt idx="1227">
                  <c:v>36055</c:v>
                </c:pt>
                <c:pt idx="1228">
                  <c:v>36056</c:v>
                </c:pt>
                <c:pt idx="1229">
                  <c:v>36059</c:v>
                </c:pt>
                <c:pt idx="1230">
                  <c:v>36060</c:v>
                </c:pt>
                <c:pt idx="1231">
                  <c:v>36061</c:v>
                </c:pt>
                <c:pt idx="1232">
                  <c:v>36062</c:v>
                </c:pt>
                <c:pt idx="1233">
                  <c:v>36063</c:v>
                </c:pt>
                <c:pt idx="1234">
                  <c:v>36066</c:v>
                </c:pt>
                <c:pt idx="1235">
                  <c:v>36067</c:v>
                </c:pt>
                <c:pt idx="1236">
                  <c:v>36068</c:v>
                </c:pt>
                <c:pt idx="1237">
                  <c:v>36069</c:v>
                </c:pt>
                <c:pt idx="1238">
                  <c:v>36070</c:v>
                </c:pt>
                <c:pt idx="1239">
                  <c:v>36073</c:v>
                </c:pt>
                <c:pt idx="1240">
                  <c:v>36074</c:v>
                </c:pt>
                <c:pt idx="1241">
                  <c:v>36075</c:v>
                </c:pt>
                <c:pt idx="1242">
                  <c:v>36076</c:v>
                </c:pt>
                <c:pt idx="1243">
                  <c:v>36077</c:v>
                </c:pt>
                <c:pt idx="1244">
                  <c:v>36080</c:v>
                </c:pt>
                <c:pt idx="1245">
                  <c:v>36081</c:v>
                </c:pt>
                <c:pt idx="1246">
                  <c:v>36082</c:v>
                </c:pt>
                <c:pt idx="1247">
                  <c:v>36083</c:v>
                </c:pt>
                <c:pt idx="1248">
                  <c:v>36084</c:v>
                </c:pt>
                <c:pt idx="1249">
                  <c:v>36087</c:v>
                </c:pt>
                <c:pt idx="1250">
                  <c:v>36088</c:v>
                </c:pt>
                <c:pt idx="1251">
                  <c:v>36089</c:v>
                </c:pt>
                <c:pt idx="1252">
                  <c:v>36090</c:v>
                </c:pt>
                <c:pt idx="1253">
                  <c:v>36091</c:v>
                </c:pt>
                <c:pt idx="1254">
                  <c:v>36094</c:v>
                </c:pt>
                <c:pt idx="1255">
                  <c:v>36095</c:v>
                </c:pt>
                <c:pt idx="1256">
                  <c:v>36096</c:v>
                </c:pt>
                <c:pt idx="1257">
                  <c:v>36097</c:v>
                </c:pt>
                <c:pt idx="1258">
                  <c:v>36098</c:v>
                </c:pt>
                <c:pt idx="1259">
                  <c:v>36101</c:v>
                </c:pt>
                <c:pt idx="1260">
                  <c:v>36102</c:v>
                </c:pt>
                <c:pt idx="1261">
                  <c:v>36103</c:v>
                </c:pt>
                <c:pt idx="1262">
                  <c:v>36104</c:v>
                </c:pt>
                <c:pt idx="1263">
                  <c:v>36105</c:v>
                </c:pt>
                <c:pt idx="1264">
                  <c:v>36108</c:v>
                </c:pt>
                <c:pt idx="1265">
                  <c:v>36109</c:v>
                </c:pt>
                <c:pt idx="1266">
                  <c:v>36110</c:v>
                </c:pt>
                <c:pt idx="1267">
                  <c:v>36111</c:v>
                </c:pt>
                <c:pt idx="1268">
                  <c:v>36112</c:v>
                </c:pt>
                <c:pt idx="1269">
                  <c:v>36115</c:v>
                </c:pt>
                <c:pt idx="1270">
                  <c:v>36116</c:v>
                </c:pt>
                <c:pt idx="1271">
                  <c:v>36117</c:v>
                </c:pt>
                <c:pt idx="1272">
                  <c:v>36118</c:v>
                </c:pt>
                <c:pt idx="1273">
                  <c:v>36119</c:v>
                </c:pt>
                <c:pt idx="1274">
                  <c:v>36122</c:v>
                </c:pt>
                <c:pt idx="1275">
                  <c:v>36123</c:v>
                </c:pt>
                <c:pt idx="1276">
                  <c:v>36124</c:v>
                </c:pt>
                <c:pt idx="1277">
                  <c:v>36125</c:v>
                </c:pt>
                <c:pt idx="1278">
                  <c:v>36126</c:v>
                </c:pt>
                <c:pt idx="1279">
                  <c:v>36129</c:v>
                </c:pt>
                <c:pt idx="1280">
                  <c:v>36130</c:v>
                </c:pt>
                <c:pt idx="1281">
                  <c:v>36131</c:v>
                </c:pt>
                <c:pt idx="1282">
                  <c:v>36132</c:v>
                </c:pt>
                <c:pt idx="1283">
                  <c:v>36133</c:v>
                </c:pt>
                <c:pt idx="1284">
                  <c:v>36136</c:v>
                </c:pt>
                <c:pt idx="1285">
                  <c:v>36137</c:v>
                </c:pt>
                <c:pt idx="1286">
                  <c:v>36138</c:v>
                </c:pt>
                <c:pt idx="1287">
                  <c:v>36139</c:v>
                </c:pt>
                <c:pt idx="1288">
                  <c:v>36140</c:v>
                </c:pt>
                <c:pt idx="1289">
                  <c:v>36143</c:v>
                </c:pt>
                <c:pt idx="1290">
                  <c:v>36144</c:v>
                </c:pt>
                <c:pt idx="1291">
                  <c:v>36145</c:v>
                </c:pt>
                <c:pt idx="1292">
                  <c:v>36146</c:v>
                </c:pt>
                <c:pt idx="1293">
                  <c:v>36147</c:v>
                </c:pt>
                <c:pt idx="1294">
                  <c:v>36150</c:v>
                </c:pt>
                <c:pt idx="1295">
                  <c:v>36151</c:v>
                </c:pt>
                <c:pt idx="1296">
                  <c:v>36152</c:v>
                </c:pt>
                <c:pt idx="1297">
                  <c:v>36153</c:v>
                </c:pt>
                <c:pt idx="1298">
                  <c:v>36154</c:v>
                </c:pt>
                <c:pt idx="1299">
                  <c:v>36157</c:v>
                </c:pt>
                <c:pt idx="1300">
                  <c:v>36158</c:v>
                </c:pt>
                <c:pt idx="1301">
                  <c:v>36159</c:v>
                </c:pt>
                <c:pt idx="1302">
                  <c:v>36160</c:v>
                </c:pt>
                <c:pt idx="1303">
                  <c:v>36161</c:v>
                </c:pt>
                <c:pt idx="1304">
                  <c:v>36164</c:v>
                </c:pt>
                <c:pt idx="1305">
                  <c:v>36165</c:v>
                </c:pt>
                <c:pt idx="1306">
                  <c:v>36166</c:v>
                </c:pt>
                <c:pt idx="1307">
                  <c:v>36167</c:v>
                </c:pt>
                <c:pt idx="1308">
                  <c:v>36168</c:v>
                </c:pt>
                <c:pt idx="1309">
                  <c:v>36171</c:v>
                </c:pt>
                <c:pt idx="1310">
                  <c:v>36172</c:v>
                </c:pt>
                <c:pt idx="1311">
                  <c:v>36173</c:v>
                </c:pt>
                <c:pt idx="1312">
                  <c:v>36174</c:v>
                </c:pt>
                <c:pt idx="1313">
                  <c:v>36175</c:v>
                </c:pt>
                <c:pt idx="1314">
                  <c:v>36178</c:v>
                </c:pt>
                <c:pt idx="1315">
                  <c:v>36179</c:v>
                </c:pt>
                <c:pt idx="1316">
                  <c:v>36180</c:v>
                </c:pt>
                <c:pt idx="1317">
                  <c:v>36181</c:v>
                </c:pt>
                <c:pt idx="1318">
                  <c:v>36182</c:v>
                </c:pt>
                <c:pt idx="1319">
                  <c:v>36185</c:v>
                </c:pt>
                <c:pt idx="1320">
                  <c:v>36186</c:v>
                </c:pt>
                <c:pt idx="1321">
                  <c:v>36187</c:v>
                </c:pt>
                <c:pt idx="1322">
                  <c:v>36188</c:v>
                </c:pt>
                <c:pt idx="1323">
                  <c:v>36189</c:v>
                </c:pt>
                <c:pt idx="1324">
                  <c:v>36192</c:v>
                </c:pt>
                <c:pt idx="1325">
                  <c:v>36193</c:v>
                </c:pt>
                <c:pt idx="1326">
                  <c:v>36194</c:v>
                </c:pt>
                <c:pt idx="1327">
                  <c:v>36195</c:v>
                </c:pt>
                <c:pt idx="1328">
                  <c:v>36196</c:v>
                </c:pt>
                <c:pt idx="1329">
                  <c:v>36199</c:v>
                </c:pt>
                <c:pt idx="1330">
                  <c:v>36200</c:v>
                </c:pt>
                <c:pt idx="1331">
                  <c:v>36201</c:v>
                </c:pt>
                <c:pt idx="1332">
                  <c:v>36202</c:v>
                </c:pt>
                <c:pt idx="1333">
                  <c:v>36203</c:v>
                </c:pt>
                <c:pt idx="1334">
                  <c:v>36206</c:v>
                </c:pt>
                <c:pt idx="1335">
                  <c:v>36207</c:v>
                </c:pt>
                <c:pt idx="1336">
                  <c:v>36208</c:v>
                </c:pt>
                <c:pt idx="1337">
                  <c:v>36209</c:v>
                </c:pt>
                <c:pt idx="1338">
                  <c:v>36210</c:v>
                </c:pt>
                <c:pt idx="1339">
                  <c:v>36213</c:v>
                </c:pt>
                <c:pt idx="1340">
                  <c:v>36214</c:v>
                </c:pt>
                <c:pt idx="1341">
                  <c:v>36215</c:v>
                </c:pt>
                <c:pt idx="1342">
                  <c:v>36216</c:v>
                </c:pt>
                <c:pt idx="1343">
                  <c:v>36217</c:v>
                </c:pt>
                <c:pt idx="1344">
                  <c:v>36220</c:v>
                </c:pt>
                <c:pt idx="1345">
                  <c:v>36221</c:v>
                </c:pt>
                <c:pt idx="1346">
                  <c:v>36222</c:v>
                </c:pt>
                <c:pt idx="1347">
                  <c:v>36223</c:v>
                </c:pt>
                <c:pt idx="1348">
                  <c:v>36224</c:v>
                </c:pt>
                <c:pt idx="1349">
                  <c:v>36227</c:v>
                </c:pt>
                <c:pt idx="1350">
                  <c:v>36228</c:v>
                </c:pt>
                <c:pt idx="1351">
                  <c:v>36229</c:v>
                </c:pt>
                <c:pt idx="1352">
                  <c:v>36230</c:v>
                </c:pt>
                <c:pt idx="1353">
                  <c:v>36231</c:v>
                </c:pt>
                <c:pt idx="1354">
                  <c:v>36234</c:v>
                </c:pt>
                <c:pt idx="1355">
                  <c:v>36235</c:v>
                </c:pt>
                <c:pt idx="1356">
                  <c:v>36236</c:v>
                </c:pt>
                <c:pt idx="1357">
                  <c:v>36237</c:v>
                </c:pt>
                <c:pt idx="1358">
                  <c:v>36238</c:v>
                </c:pt>
                <c:pt idx="1359">
                  <c:v>36241</c:v>
                </c:pt>
                <c:pt idx="1360">
                  <c:v>36242</c:v>
                </c:pt>
                <c:pt idx="1361">
                  <c:v>36243</c:v>
                </c:pt>
                <c:pt idx="1362">
                  <c:v>36244</c:v>
                </c:pt>
                <c:pt idx="1363">
                  <c:v>36245</c:v>
                </c:pt>
                <c:pt idx="1364">
                  <c:v>36248</c:v>
                </c:pt>
                <c:pt idx="1365">
                  <c:v>36249</c:v>
                </c:pt>
                <c:pt idx="1366">
                  <c:v>36250</c:v>
                </c:pt>
                <c:pt idx="1367">
                  <c:v>36251</c:v>
                </c:pt>
                <c:pt idx="1368">
                  <c:v>36252</c:v>
                </c:pt>
                <c:pt idx="1369">
                  <c:v>36255</c:v>
                </c:pt>
                <c:pt idx="1370">
                  <c:v>36256</c:v>
                </c:pt>
                <c:pt idx="1371">
                  <c:v>36257</c:v>
                </c:pt>
                <c:pt idx="1372">
                  <c:v>36258</c:v>
                </c:pt>
                <c:pt idx="1373">
                  <c:v>36259</c:v>
                </c:pt>
                <c:pt idx="1374">
                  <c:v>36262</c:v>
                </c:pt>
                <c:pt idx="1375">
                  <c:v>36263</c:v>
                </c:pt>
                <c:pt idx="1376">
                  <c:v>36264</c:v>
                </c:pt>
                <c:pt idx="1377">
                  <c:v>36265</c:v>
                </c:pt>
                <c:pt idx="1378">
                  <c:v>36266</c:v>
                </c:pt>
                <c:pt idx="1379">
                  <c:v>36269</c:v>
                </c:pt>
                <c:pt idx="1380">
                  <c:v>36270</c:v>
                </c:pt>
                <c:pt idx="1381">
                  <c:v>36271</c:v>
                </c:pt>
                <c:pt idx="1382">
                  <c:v>36272</c:v>
                </c:pt>
                <c:pt idx="1383">
                  <c:v>36273</c:v>
                </c:pt>
                <c:pt idx="1384">
                  <c:v>36276</c:v>
                </c:pt>
                <c:pt idx="1385">
                  <c:v>36277</c:v>
                </c:pt>
                <c:pt idx="1386">
                  <c:v>36278</c:v>
                </c:pt>
                <c:pt idx="1387">
                  <c:v>36279</c:v>
                </c:pt>
                <c:pt idx="1388">
                  <c:v>36280</c:v>
                </c:pt>
                <c:pt idx="1389">
                  <c:v>36283</c:v>
                </c:pt>
                <c:pt idx="1390">
                  <c:v>36284</c:v>
                </c:pt>
                <c:pt idx="1391">
                  <c:v>36285</c:v>
                </c:pt>
                <c:pt idx="1392">
                  <c:v>36286</c:v>
                </c:pt>
                <c:pt idx="1393">
                  <c:v>36287</c:v>
                </c:pt>
                <c:pt idx="1394">
                  <c:v>36290</c:v>
                </c:pt>
                <c:pt idx="1395">
                  <c:v>36291</c:v>
                </c:pt>
                <c:pt idx="1396">
                  <c:v>36292</c:v>
                </c:pt>
                <c:pt idx="1397">
                  <c:v>36293</c:v>
                </c:pt>
                <c:pt idx="1398">
                  <c:v>36294</c:v>
                </c:pt>
                <c:pt idx="1399">
                  <c:v>36297</c:v>
                </c:pt>
                <c:pt idx="1400">
                  <c:v>36298</c:v>
                </c:pt>
                <c:pt idx="1401">
                  <c:v>36299</c:v>
                </c:pt>
                <c:pt idx="1402">
                  <c:v>36300</c:v>
                </c:pt>
                <c:pt idx="1403">
                  <c:v>36301</c:v>
                </c:pt>
                <c:pt idx="1404">
                  <c:v>36304</c:v>
                </c:pt>
                <c:pt idx="1405">
                  <c:v>36305</c:v>
                </c:pt>
                <c:pt idx="1406">
                  <c:v>36306</c:v>
                </c:pt>
                <c:pt idx="1407">
                  <c:v>36307</c:v>
                </c:pt>
                <c:pt idx="1408">
                  <c:v>36308</c:v>
                </c:pt>
                <c:pt idx="1409">
                  <c:v>36311</c:v>
                </c:pt>
                <c:pt idx="1410">
                  <c:v>36312</c:v>
                </c:pt>
                <c:pt idx="1411">
                  <c:v>36313</c:v>
                </c:pt>
                <c:pt idx="1412">
                  <c:v>36314</c:v>
                </c:pt>
                <c:pt idx="1413">
                  <c:v>36315</c:v>
                </c:pt>
                <c:pt idx="1414">
                  <c:v>36318</c:v>
                </c:pt>
                <c:pt idx="1415">
                  <c:v>36319</c:v>
                </c:pt>
                <c:pt idx="1416">
                  <c:v>36320</c:v>
                </c:pt>
                <c:pt idx="1417">
                  <c:v>36321</c:v>
                </c:pt>
                <c:pt idx="1418">
                  <c:v>36322</c:v>
                </c:pt>
                <c:pt idx="1419">
                  <c:v>36325</c:v>
                </c:pt>
                <c:pt idx="1420">
                  <c:v>36326</c:v>
                </c:pt>
                <c:pt idx="1421">
                  <c:v>36327</c:v>
                </c:pt>
                <c:pt idx="1422">
                  <c:v>36328</c:v>
                </c:pt>
                <c:pt idx="1423">
                  <c:v>36329</c:v>
                </c:pt>
                <c:pt idx="1424">
                  <c:v>36332</c:v>
                </c:pt>
                <c:pt idx="1425">
                  <c:v>36333</c:v>
                </c:pt>
                <c:pt idx="1426">
                  <c:v>36334</c:v>
                </c:pt>
                <c:pt idx="1427">
                  <c:v>36335</c:v>
                </c:pt>
                <c:pt idx="1428">
                  <c:v>36336</c:v>
                </c:pt>
                <c:pt idx="1429">
                  <c:v>36339</c:v>
                </c:pt>
                <c:pt idx="1430">
                  <c:v>36340</c:v>
                </c:pt>
                <c:pt idx="1431">
                  <c:v>36341</c:v>
                </c:pt>
                <c:pt idx="1432">
                  <c:v>36342</c:v>
                </c:pt>
                <c:pt idx="1433">
                  <c:v>36343</c:v>
                </c:pt>
                <c:pt idx="1434">
                  <c:v>36346</c:v>
                </c:pt>
                <c:pt idx="1435">
                  <c:v>36347</c:v>
                </c:pt>
                <c:pt idx="1436">
                  <c:v>36348</c:v>
                </c:pt>
                <c:pt idx="1437">
                  <c:v>36349</c:v>
                </c:pt>
                <c:pt idx="1438">
                  <c:v>36350</c:v>
                </c:pt>
                <c:pt idx="1439">
                  <c:v>36353</c:v>
                </c:pt>
                <c:pt idx="1440">
                  <c:v>36354</c:v>
                </c:pt>
                <c:pt idx="1441">
                  <c:v>36355</c:v>
                </c:pt>
                <c:pt idx="1442">
                  <c:v>36356</c:v>
                </c:pt>
                <c:pt idx="1443">
                  <c:v>36357</c:v>
                </c:pt>
                <c:pt idx="1444">
                  <c:v>36360</c:v>
                </c:pt>
                <c:pt idx="1445">
                  <c:v>36361</c:v>
                </c:pt>
                <c:pt idx="1446">
                  <c:v>36362</c:v>
                </c:pt>
                <c:pt idx="1447">
                  <c:v>36363</c:v>
                </c:pt>
                <c:pt idx="1448">
                  <c:v>36364</c:v>
                </c:pt>
                <c:pt idx="1449">
                  <c:v>36367</c:v>
                </c:pt>
                <c:pt idx="1450">
                  <c:v>36368</c:v>
                </c:pt>
                <c:pt idx="1451">
                  <c:v>36369</c:v>
                </c:pt>
                <c:pt idx="1452">
                  <c:v>36370</c:v>
                </c:pt>
                <c:pt idx="1453">
                  <c:v>36371</c:v>
                </c:pt>
                <c:pt idx="1454">
                  <c:v>36374</c:v>
                </c:pt>
                <c:pt idx="1455">
                  <c:v>36375</c:v>
                </c:pt>
                <c:pt idx="1456">
                  <c:v>36376</c:v>
                </c:pt>
                <c:pt idx="1457">
                  <c:v>36377</c:v>
                </c:pt>
                <c:pt idx="1458">
                  <c:v>36378</c:v>
                </c:pt>
                <c:pt idx="1459">
                  <c:v>36381</c:v>
                </c:pt>
                <c:pt idx="1460">
                  <c:v>36382</c:v>
                </c:pt>
                <c:pt idx="1461">
                  <c:v>36383</c:v>
                </c:pt>
                <c:pt idx="1462">
                  <c:v>36384</c:v>
                </c:pt>
                <c:pt idx="1463">
                  <c:v>36385</c:v>
                </c:pt>
                <c:pt idx="1464">
                  <c:v>36388</c:v>
                </c:pt>
                <c:pt idx="1465">
                  <c:v>36389</c:v>
                </c:pt>
                <c:pt idx="1466">
                  <c:v>36390</c:v>
                </c:pt>
                <c:pt idx="1467">
                  <c:v>36391</c:v>
                </c:pt>
                <c:pt idx="1468">
                  <c:v>36392</c:v>
                </c:pt>
                <c:pt idx="1469">
                  <c:v>36395</c:v>
                </c:pt>
                <c:pt idx="1470">
                  <c:v>36396</c:v>
                </c:pt>
                <c:pt idx="1471">
                  <c:v>36397</c:v>
                </c:pt>
                <c:pt idx="1472">
                  <c:v>36398</c:v>
                </c:pt>
                <c:pt idx="1473">
                  <c:v>36399</c:v>
                </c:pt>
                <c:pt idx="1474">
                  <c:v>36402</c:v>
                </c:pt>
                <c:pt idx="1475">
                  <c:v>36403</c:v>
                </c:pt>
                <c:pt idx="1476">
                  <c:v>36404</c:v>
                </c:pt>
                <c:pt idx="1477">
                  <c:v>36405</c:v>
                </c:pt>
                <c:pt idx="1478">
                  <c:v>36406</c:v>
                </c:pt>
                <c:pt idx="1479">
                  <c:v>36409</c:v>
                </c:pt>
                <c:pt idx="1480">
                  <c:v>36410</c:v>
                </c:pt>
                <c:pt idx="1481">
                  <c:v>36411</c:v>
                </c:pt>
                <c:pt idx="1482">
                  <c:v>36412</c:v>
                </c:pt>
                <c:pt idx="1483">
                  <c:v>36413</c:v>
                </c:pt>
                <c:pt idx="1484">
                  <c:v>36416</c:v>
                </c:pt>
                <c:pt idx="1485">
                  <c:v>36417</c:v>
                </c:pt>
                <c:pt idx="1486">
                  <c:v>36418</c:v>
                </c:pt>
                <c:pt idx="1487">
                  <c:v>36419</c:v>
                </c:pt>
                <c:pt idx="1488">
                  <c:v>36420</c:v>
                </c:pt>
                <c:pt idx="1489">
                  <c:v>36423</c:v>
                </c:pt>
                <c:pt idx="1490">
                  <c:v>36424</c:v>
                </c:pt>
                <c:pt idx="1491">
                  <c:v>36425</c:v>
                </c:pt>
                <c:pt idx="1492">
                  <c:v>36426</c:v>
                </c:pt>
                <c:pt idx="1493">
                  <c:v>36427</c:v>
                </c:pt>
                <c:pt idx="1494">
                  <c:v>36430</c:v>
                </c:pt>
                <c:pt idx="1495">
                  <c:v>36431</c:v>
                </c:pt>
                <c:pt idx="1496">
                  <c:v>36432</c:v>
                </c:pt>
                <c:pt idx="1497">
                  <c:v>36433</c:v>
                </c:pt>
                <c:pt idx="1498">
                  <c:v>36434</c:v>
                </c:pt>
                <c:pt idx="1499">
                  <c:v>36437</c:v>
                </c:pt>
                <c:pt idx="1500">
                  <c:v>36438</c:v>
                </c:pt>
                <c:pt idx="1501">
                  <c:v>36439</c:v>
                </c:pt>
                <c:pt idx="1502">
                  <c:v>36440</c:v>
                </c:pt>
                <c:pt idx="1503">
                  <c:v>36441</c:v>
                </c:pt>
                <c:pt idx="1504">
                  <c:v>36444</c:v>
                </c:pt>
                <c:pt idx="1505">
                  <c:v>36445</c:v>
                </c:pt>
                <c:pt idx="1506">
                  <c:v>36446</c:v>
                </c:pt>
                <c:pt idx="1507">
                  <c:v>36447</c:v>
                </c:pt>
                <c:pt idx="1508">
                  <c:v>36448</c:v>
                </c:pt>
                <c:pt idx="1509">
                  <c:v>36451</c:v>
                </c:pt>
                <c:pt idx="1510">
                  <c:v>36452</c:v>
                </c:pt>
                <c:pt idx="1511">
                  <c:v>36453</c:v>
                </c:pt>
                <c:pt idx="1512">
                  <c:v>36454</c:v>
                </c:pt>
                <c:pt idx="1513">
                  <c:v>36455</c:v>
                </c:pt>
                <c:pt idx="1514">
                  <c:v>36458</c:v>
                </c:pt>
                <c:pt idx="1515">
                  <c:v>36459</c:v>
                </c:pt>
                <c:pt idx="1516">
                  <c:v>36460</c:v>
                </c:pt>
                <c:pt idx="1517">
                  <c:v>36461</c:v>
                </c:pt>
                <c:pt idx="1518">
                  <c:v>36462</c:v>
                </c:pt>
                <c:pt idx="1519">
                  <c:v>36465</c:v>
                </c:pt>
                <c:pt idx="1520">
                  <c:v>36466</c:v>
                </c:pt>
                <c:pt idx="1521">
                  <c:v>36467</c:v>
                </c:pt>
                <c:pt idx="1522">
                  <c:v>36468</c:v>
                </c:pt>
                <c:pt idx="1523">
                  <c:v>36469</c:v>
                </c:pt>
                <c:pt idx="1524">
                  <c:v>36472</c:v>
                </c:pt>
                <c:pt idx="1525">
                  <c:v>36473</c:v>
                </c:pt>
                <c:pt idx="1526">
                  <c:v>36474</c:v>
                </c:pt>
                <c:pt idx="1527">
                  <c:v>36475</c:v>
                </c:pt>
                <c:pt idx="1528">
                  <c:v>36476</c:v>
                </c:pt>
                <c:pt idx="1529">
                  <c:v>36479</c:v>
                </c:pt>
                <c:pt idx="1530">
                  <c:v>36480</c:v>
                </c:pt>
                <c:pt idx="1531">
                  <c:v>36481</c:v>
                </c:pt>
                <c:pt idx="1532">
                  <c:v>36482</c:v>
                </c:pt>
                <c:pt idx="1533">
                  <c:v>36483</c:v>
                </c:pt>
                <c:pt idx="1534">
                  <c:v>36486</c:v>
                </c:pt>
                <c:pt idx="1535">
                  <c:v>36487</c:v>
                </c:pt>
                <c:pt idx="1536">
                  <c:v>36488</c:v>
                </c:pt>
                <c:pt idx="1537">
                  <c:v>36489</c:v>
                </c:pt>
                <c:pt idx="1538">
                  <c:v>36490</c:v>
                </c:pt>
                <c:pt idx="1539">
                  <c:v>36493</c:v>
                </c:pt>
                <c:pt idx="1540">
                  <c:v>36494</c:v>
                </c:pt>
                <c:pt idx="1541">
                  <c:v>36495</c:v>
                </c:pt>
                <c:pt idx="1542">
                  <c:v>36496</c:v>
                </c:pt>
                <c:pt idx="1543">
                  <c:v>36497</c:v>
                </c:pt>
                <c:pt idx="1544">
                  <c:v>36500</c:v>
                </c:pt>
                <c:pt idx="1545">
                  <c:v>36501</c:v>
                </c:pt>
                <c:pt idx="1546">
                  <c:v>36502</c:v>
                </c:pt>
                <c:pt idx="1547">
                  <c:v>36503</c:v>
                </c:pt>
                <c:pt idx="1548">
                  <c:v>36504</c:v>
                </c:pt>
                <c:pt idx="1549">
                  <c:v>36507</c:v>
                </c:pt>
                <c:pt idx="1550">
                  <c:v>36508</c:v>
                </c:pt>
                <c:pt idx="1551">
                  <c:v>36509</c:v>
                </c:pt>
                <c:pt idx="1552">
                  <c:v>36510</c:v>
                </c:pt>
                <c:pt idx="1553">
                  <c:v>36511</c:v>
                </c:pt>
                <c:pt idx="1554">
                  <c:v>36514</c:v>
                </c:pt>
                <c:pt idx="1555">
                  <c:v>36515</c:v>
                </c:pt>
                <c:pt idx="1556">
                  <c:v>36516</c:v>
                </c:pt>
                <c:pt idx="1557">
                  <c:v>36517</c:v>
                </c:pt>
                <c:pt idx="1558">
                  <c:v>36518</c:v>
                </c:pt>
                <c:pt idx="1559">
                  <c:v>36521</c:v>
                </c:pt>
                <c:pt idx="1560">
                  <c:v>36522</c:v>
                </c:pt>
                <c:pt idx="1561">
                  <c:v>36523</c:v>
                </c:pt>
                <c:pt idx="1562">
                  <c:v>36524</c:v>
                </c:pt>
                <c:pt idx="1563">
                  <c:v>36525</c:v>
                </c:pt>
                <c:pt idx="1564">
                  <c:v>36528</c:v>
                </c:pt>
                <c:pt idx="1565">
                  <c:v>36529</c:v>
                </c:pt>
                <c:pt idx="1566">
                  <c:v>36530</c:v>
                </c:pt>
                <c:pt idx="1567">
                  <c:v>36531</c:v>
                </c:pt>
                <c:pt idx="1568">
                  <c:v>36532</c:v>
                </c:pt>
                <c:pt idx="1569">
                  <c:v>36535</c:v>
                </c:pt>
                <c:pt idx="1570">
                  <c:v>36536</c:v>
                </c:pt>
                <c:pt idx="1571">
                  <c:v>36537</c:v>
                </c:pt>
                <c:pt idx="1572">
                  <c:v>36538</c:v>
                </c:pt>
                <c:pt idx="1573">
                  <c:v>36539</c:v>
                </c:pt>
                <c:pt idx="1574">
                  <c:v>36542</c:v>
                </c:pt>
                <c:pt idx="1575">
                  <c:v>36543</c:v>
                </c:pt>
                <c:pt idx="1576">
                  <c:v>36544</c:v>
                </c:pt>
                <c:pt idx="1577">
                  <c:v>36545</c:v>
                </c:pt>
                <c:pt idx="1578">
                  <c:v>36546</c:v>
                </c:pt>
                <c:pt idx="1579">
                  <c:v>36549</c:v>
                </c:pt>
                <c:pt idx="1580">
                  <c:v>36550</c:v>
                </c:pt>
                <c:pt idx="1581">
                  <c:v>36551</c:v>
                </c:pt>
                <c:pt idx="1582">
                  <c:v>36552</c:v>
                </c:pt>
                <c:pt idx="1583">
                  <c:v>36553</c:v>
                </c:pt>
                <c:pt idx="1584">
                  <c:v>36556</c:v>
                </c:pt>
                <c:pt idx="1585">
                  <c:v>36557</c:v>
                </c:pt>
                <c:pt idx="1586">
                  <c:v>36558</c:v>
                </c:pt>
                <c:pt idx="1587">
                  <c:v>36559</c:v>
                </c:pt>
                <c:pt idx="1588">
                  <c:v>36560</c:v>
                </c:pt>
                <c:pt idx="1589">
                  <c:v>36563</c:v>
                </c:pt>
                <c:pt idx="1590">
                  <c:v>36564</c:v>
                </c:pt>
                <c:pt idx="1591">
                  <c:v>36565</c:v>
                </c:pt>
                <c:pt idx="1592">
                  <c:v>36566</c:v>
                </c:pt>
                <c:pt idx="1593">
                  <c:v>36567</c:v>
                </c:pt>
                <c:pt idx="1594">
                  <c:v>36570</c:v>
                </c:pt>
                <c:pt idx="1595">
                  <c:v>36571</c:v>
                </c:pt>
                <c:pt idx="1596">
                  <c:v>36572</c:v>
                </c:pt>
                <c:pt idx="1597">
                  <c:v>36573</c:v>
                </c:pt>
                <c:pt idx="1598">
                  <c:v>36574</c:v>
                </c:pt>
                <c:pt idx="1599">
                  <c:v>36577</c:v>
                </c:pt>
                <c:pt idx="1600">
                  <c:v>36578</c:v>
                </c:pt>
                <c:pt idx="1601">
                  <c:v>36579</c:v>
                </c:pt>
                <c:pt idx="1602">
                  <c:v>36580</c:v>
                </c:pt>
                <c:pt idx="1603">
                  <c:v>36581</c:v>
                </c:pt>
                <c:pt idx="1604">
                  <c:v>36584</c:v>
                </c:pt>
                <c:pt idx="1605">
                  <c:v>36585</c:v>
                </c:pt>
                <c:pt idx="1606">
                  <c:v>36586</c:v>
                </c:pt>
                <c:pt idx="1607">
                  <c:v>36587</c:v>
                </c:pt>
                <c:pt idx="1608">
                  <c:v>36588</c:v>
                </c:pt>
                <c:pt idx="1609">
                  <c:v>36591</c:v>
                </c:pt>
                <c:pt idx="1610">
                  <c:v>36592</c:v>
                </c:pt>
                <c:pt idx="1611">
                  <c:v>36593</c:v>
                </c:pt>
                <c:pt idx="1612">
                  <c:v>36594</c:v>
                </c:pt>
                <c:pt idx="1613">
                  <c:v>36595</c:v>
                </c:pt>
                <c:pt idx="1614">
                  <c:v>36598</c:v>
                </c:pt>
                <c:pt idx="1615">
                  <c:v>36599</c:v>
                </c:pt>
                <c:pt idx="1616">
                  <c:v>36600</c:v>
                </c:pt>
                <c:pt idx="1617">
                  <c:v>36601</c:v>
                </c:pt>
                <c:pt idx="1618">
                  <c:v>36602</c:v>
                </c:pt>
                <c:pt idx="1619">
                  <c:v>36605</c:v>
                </c:pt>
                <c:pt idx="1620">
                  <c:v>36606</c:v>
                </c:pt>
                <c:pt idx="1621">
                  <c:v>36607</c:v>
                </c:pt>
                <c:pt idx="1622">
                  <c:v>36608</c:v>
                </c:pt>
                <c:pt idx="1623">
                  <c:v>36609</c:v>
                </c:pt>
                <c:pt idx="1624">
                  <c:v>36612</c:v>
                </c:pt>
                <c:pt idx="1625">
                  <c:v>36613</c:v>
                </c:pt>
                <c:pt idx="1626">
                  <c:v>36614</c:v>
                </c:pt>
                <c:pt idx="1627">
                  <c:v>36615</c:v>
                </c:pt>
                <c:pt idx="1628">
                  <c:v>36616</c:v>
                </c:pt>
                <c:pt idx="1629">
                  <c:v>36619</c:v>
                </c:pt>
                <c:pt idx="1630">
                  <c:v>36620</c:v>
                </c:pt>
                <c:pt idx="1631">
                  <c:v>36621</c:v>
                </c:pt>
                <c:pt idx="1632">
                  <c:v>36622</c:v>
                </c:pt>
                <c:pt idx="1633">
                  <c:v>36623</c:v>
                </c:pt>
                <c:pt idx="1634">
                  <c:v>36626</c:v>
                </c:pt>
                <c:pt idx="1635">
                  <c:v>36627</c:v>
                </c:pt>
                <c:pt idx="1636">
                  <c:v>36628</c:v>
                </c:pt>
                <c:pt idx="1637">
                  <c:v>36629</c:v>
                </c:pt>
                <c:pt idx="1638">
                  <c:v>36630</c:v>
                </c:pt>
                <c:pt idx="1639">
                  <c:v>36633</c:v>
                </c:pt>
                <c:pt idx="1640">
                  <c:v>36634</c:v>
                </c:pt>
                <c:pt idx="1641">
                  <c:v>36635</c:v>
                </c:pt>
                <c:pt idx="1642">
                  <c:v>36636</c:v>
                </c:pt>
                <c:pt idx="1643">
                  <c:v>36637</c:v>
                </c:pt>
                <c:pt idx="1644">
                  <c:v>36640</c:v>
                </c:pt>
                <c:pt idx="1645">
                  <c:v>36641</c:v>
                </c:pt>
                <c:pt idx="1646">
                  <c:v>36642</c:v>
                </c:pt>
                <c:pt idx="1647">
                  <c:v>36643</c:v>
                </c:pt>
                <c:pt idx="1648">
                  <c:v>36644</c:v>
                </c:pt>
                <c:pt idx="1649">
                  <c:v>36647</c:v>
                </c:pt>
                <c:pt idx="1650">
                  <c:v>36648</c:v>
                </c:pt>
                <c:pt idx="1651">
                  <c:v>36649</c:v>
                </c:pt>
                <c:pt idx="1652">
                  <c:v>36650</c:v>
                </c:pt>
                <c:pt idx="1653">
                  <c:v>36651</c:v>
                </c:pt>
                <c:pt idx="1654">
                  <c:v>36654</c:v>
                </c:pt>
                <c:pt idx="1655">
                  <c:v>36655</c:v>
                </c:pt>
                <c:pt idx="1656">
                  <c:v>36656</c:v>
                </c:pt>
                <c:pt idx="1657">
                  <c:v>36657</c:v>
                </c:pt>
                <c:pt idx="1658">
                  <c:v>36658</c:v>
                </c:pt>
                <c:pt idx="1659">
                  <c:v>36661</c:v>
                </c:pt>
                <c:pt idx="1660">
                  <c:v>36662</c:v>
                </c:pt>
                <c:pt idx="1661">
                  <c:v>36663</c:v>
                </c:pt>
                <c:pt idx="1662">
                  <c:v>36664</c:v>
                </c:pt>
                <c:pt idx="1663">
                  <c:v>36665</c:v>
                </c:pt>
                <c:pt idx="1664">
                  <c:v>36668</c:v>
                </c:pt>
                <c:pt idx="1665">
                  <c:v>36669</c:v>
                </c:pt>
                <c:pt idx="1666">
                  <c:v>36670</c:v>
                </c:pt>
                <c:pt idx="1667">
                  <c:v>36671</c:v>
                </c:pt>
                <c:pt idx="1668">
                  <c:v>36672</c:v>
                </c:pt>
                <c:pt idx="1669">
                  <c:v>36675</c:v>
                </c:pt>
                <c:pt idx="1670">
                  <c:v>36676</c:v>
                </c:pt>
                <c:pt idx="1671">
                  <c:v>36677</c:v>
                </c:pt>
                <c:pt idx="1672">
                  <c:v>36678</c:v>
                </c:pt>
                <c:pt idx="1673">
                  <c:v>36679</c:v>
                </c:pt>
                <c:pt idx="1674">
                  <c:v>36682</c:v>
                </c:pt>
                <c:pt idx="1675">
                  <c:v>36683</c:v>
                </c:pt>
                <c:pt idx="1676">
                  <c:v>36684</c:v>
                </c:pt>
                <c:pt idx="1677">
                  <c:v>36685</c:v>
                </c:pt>
                <c:pt idx="1678">
                  <c:v>36686</c:v>
                </c:pt>
                <c:pt idx="1679">
                  <c:v>36689</c:v>
                </c:pt>
                <c:pt idx="1680">
                  <c:v>36690</c:v>
                </c:pt>
                <c:pt idx="1681">
                  <c:v>36691</c:v>
                </c:pt>
                <c:pt idx="1682">
                  <c:v>36692</c:v>
                </c:pt>
                <c:pt idx="1683">
                  <c:v>36693</c:v>
                </c:pt>
                <c:pt idx="1684">
                  <c:v>36696</c:v>
                </c:pt>
                <c:pt idx="1685">
                  <c:v>36697</c:v>
                </c:pt>
                <c:pt idx="1686">
                  <c:v>36698</c:v>
                </c:pt>
                <c:pt idx="1687">
                  <c:v>36699</c:v>
                </c:pt>
                <c:pt idx="1688">
                  <c:v>36700</c:v>
                </c:pt>
                <c:pt idx="1689">
                  <c:v>36703</c:v>
                </c:pt>
                <c:pt idx="1690">
                  <c:v>36704</c:v>
                </c:pt>
                <c:pt idx="1691">
                  <c:v>36705</c:v>
                </c:pt>
                <c:pt idx="1692">
                  <c:v>36706</c:v>
                </c:pt>
                <c:pt idx="1693">
                  <c:v>36707</c:v>
                </c:pt>
                <c:pt idx="1694">
                  <c:v>36710</c:v>
                </c:pt>
                <c:pt idx="1695">
                  <c:v>36711</c:v>
                </c:pt>
                <c:pt idx="1696">
                  <c:v>36712</c:v>
                </c:pt>
                <c:pt idx="1697">
                  <c:v>36713</c:v>
                </c:pt>
                <c:pt idx="1698">
                  <c:v>36714</c:v>
                </c:pt>
                <c:pt idx="1699">
                  <c:v>36717</c:v>
                </c:pt>
                <c:pt idx="1700">
                  <c:v>36718</c:v>
                </c:pt>
                <c:pt idx="1701">
                  <c:v>36719</c:v>
                </c:pt>
                <c:pt idx="1702">
                  <c:v>36720</c:v>
                </c:pt>
                <c:pt idx="1703">
                  <c:v>36721</c:v>
                </c:pt>
                <c:pt idx="1704">
                  <c:v>36724</c:v>
                </c:pt>
                <c:pt idx="1705">
                  <c:v>36725</c:v>
                </c:pt>
                <c:pt idx="1706">
                  <c:v>36726</c:v>
                </c:pt>
                <c:pt idx="1707">
                  <c:v>36727</c:v>
                </c:pt>
                <c:pt idx="1708">
                  <c:v>36728</c:v>
                </c:pt>
                <c:pt idx="1709">
                  <c:v>36731</c:v>
                </c:pt>
                <c:pt idx="1710">
                  <c:v>36732</c:v>
                </c:pt>
                <c:pt idx="1711">
                  <c:v>36733</c:v>
                </c:pt>
                <c:pt idx="1712">
                  <c:v>36734</c:v>
                </c:pt>
                <c:pt idx="1713">
                  <c:v>36735</c:v>
                </c:pt>
                <c:pt idx="1714">
                  <c:v>36738</c:v>
                </c:pt>
                <c:pt idx="1715">
                  <c:v>36739</c:v>
                </c:pt>
                <c:pt idx="1716">
                  <c:v>36740</c:v>
                </c:pt>
                <c:pt idx="1717">
                  <c:v>36741</c:v>
                </c:pt>
                <c:pt idx="1718">
                  <c:v>36742</c:v>
                </c:pt>
                <c:pt idx="1719">
                  <c:v>36745</c:v>
                </c:pt>
                <c:pt idx="1720">
                  <c:v>36746</c:v>
                </c:pt>
                <c:pt idx="1721">
                  <c:v>36747</c:v>
                </c:pt>
                <c:pt idx="1722">
                  <c:v>36748</c:v>
                </c:pt>
                <c:pt idx="1723">
                  <c:v>36749</c:v>
                </c:pt>
                <c:pt idx="1724">
                  <c:v>36752</c:v>
                </c:pt>
                <c:pt idx="1725">
                  <c:v>36753</c:v>
                </c:pt>
                <c:pt idx="1726">
                  <c:v>36754</c:v>
                </c:pt>
                <c:pt idx="1727">
                  <c:v>36755</c:v>
                </c:pt>
                <c:pt idx="1728">
                  <c:v>36756</c:v>
                </c:pt>
                <c:pt idx="1729">
                  <c:v>36759</c:v>
                </c:pt>
                <c:pt idx="1730">
                  <c:v>36760</c:v>
                </c:pt>
                <c:pt idx="1731">
                  <c:v>36761</c:v>
                </c:pt>
                <c:pt idx="1732">
                  <c:v>36762</c:v>
                </c:pt>
                <c:pt idx="1733">
                  <c:v>36763</c:v>
                </c:pt>
                <c:pt idx="1734">
                  <c:v>36766</c:v>
                </c:pt>
                <c:pt idx="1735">
                  <c:v>36767</c:v>
                </c:pt>
                <c:pt idx="1736">
                  <c:v>36768</c:v>
                </c:pt>
                <c:pt idx="1737">
                  <c:v>36769</c:v>
                </c:pt>
                <c:pt idx="1738">
                  <c:v>36770</c:v>
                </c:pt>
                <c:pt idx="1739">
                  <c:v>36773</c:v>
                </c:pt>
                <c:pt idx="1740">
                  <c:v>36774</c:v>
                </c:pt>
                <c:pt idx="1741">
                  <c:v>36775</c:v>
                </c:pt>
                <c:pt idx="1742">
                  <c:v>36776</c:v>
                </c:pt>
                <c:pt idx="1743">
                  <c:v>36777</c:v>
                </c:pt>
                <c:pt idx="1744">
                  <c:v>36780</c:v>
                </c:pt>
                <c:pt idx="1745">
                  <c:v>36781</c:v>
                </c:pt>
                <c:pt idx="1746">
                  <c:v>36782</c:v>
                </c:pt>
                <c:pt idx="1747">
                  <c:v>36783</c:v>
                </c:pt>
                <c:pt idx="1748">
                  <c:v>36784</c:v>
                </c:pt>
                <c:pt idx="1749">
                  <c:v>36787</c:v>
                </c:pt>
                <c:pt idx="1750">
                  <c:v>36788</c:v>
                </c:pt>
                <c:pt idx="1751">
                  <c:v>36789</c:v>
                </c:pt>
                <c:pt idx="1752">
                  <c:v>36790</c:v>
                </c:pt>
                <c:pt idx="1753">
                  <c:v>36791</c:v>
                </c:pt>
                <c:pt idx="1754">
                  <c:v>36794</c:v>
                </c:pt>
                <c:pt idx="1755">
                  <c:v>36795</c:v>
                </c:pt>
                <c:pt idx="1756">
                  <c:v>36796</c:v>
                </c:pt>
                <c:pt idx="1757">
                  <c:v>36797</c:v>
                </c:pt>
                <c:pt idx="1758">
                  <c:v>36798</c:v>
                </c:pt>
                <c:pt idx="1759">
                  <c:v>36801</c:v>
                </c:pt>
                <c:pt idx="1760">
                  <c:v>36802</c:v>
                </c:pt>
                <c:pt idx="1761">
                  <c:v>36803</c:v>
                </c:pt>
                <c:pt idx="1762">
                  <c:v>36804</c:v>
                </c:pt>
                <c:pt idx="1763">
                  <c:v>36805</c:v>
                </c:pt>
                <c:pt idx="1764">
                  <c:v>36808</c:v>
                </c:pt>
                <c:pt idx="1765">
                  <c:v>36809</c:v>
                </c:pt>
                <c:pt idx="1766">
                  <c:v>36810</c:v>
                </c:pt>
                <c:pt idx="1767">
                  <c:v>36811</c:v>
                </c:pt>
                <c:pt idx="1768">
                  <c:v>36812</c:v>
                </c:pt>
                <c:pt idx="1769">
                  <c:v>36815</c:v>
                </c:pt>
                <c:pt idx="1770">
                  <c:v>36816</c:v>
                </c:pt>
                <c:pt idx="1771">
                  <c:v>36817</c:v>
                </c:pt>
                <c:pt idx="1772">
                  <c:v>36818</c:v>
                </c:pt>
                <c:pt idx="1773">
                  <c:v>36819</c:v>
                </c:pt>
                <c:pt idx="1774">
                  <c:v>36822</c:v>
                </c:pt>
                <c:pt idx="1775">
                  <c:v>36823</c:v>
                </c:pt>
                <c:pt idx="1776">
                  <c:v>36824</c:v>
                </c:pt>
                <c:pt idx="1777">
                  <c:v>36825</c:v>
                </c:pt>
                <c:pt idx="1778">
                  <c:v>36826</c:v>
                </c:pt>
                <c:pt idx="1779">
                  <c:v>36829</c:v>
                </c:pt>
                <c:pt idx="1780">
                  <c:v>36830</c:v>
                </c:pt>
                <c:pt idx="1781">
                  <c:v>36831</c:v>
                </c:pt>
                <c:pt idx="1782">
                  <c:v>36832</c:v>
                </c:pt>
                <c:pt idx="1783">
                  <c:v>36833</c:v>
                </c:pt>
                <c:pt idx="1784">
                  <c:v>36836</c:v>
                </c:pt>
                <c:pt idx="1785">
                  <c:v>36837</c:v>
                </c:pt>
                <c:pt idx="1786">
                  <c:v>36838</c:v>
                </c:pt>
                <c:pt idx="1787">
                  <c:v>36839</c:v>
                </c:pt>
                <c:pt idx="1788">
                  <c:v>36840</c:v>
                </c:pt>
                <c:pt idx="1789">
                  <c:v>36843</c:v>
                </c:pt>
                <c:pt idx="1790">
                  <c:v>36844</c:v>
                </c:pt>
                <c:pt idx="1791">
                  <c:v>36845</c:v>
                </c:pt>
                <c:pt idx="1792">
                  <c:v>36846</c:v>
                </c:pt>
                <c:pt idx="1793">
                  <c:v>36847</c:v>
                </c:pt>
                <c:pt idx="1794">
                  <c:v>36850</c:v>
                </c:pt>
                <c:pt idx="1795">
                  <c:v>36851</c:v>
                </c:pt>
                <c:pt idx="1796">
                  <c:v>36852</c:v>
                </c:pt>
                <c:pt idx="1797">
                  <c:v>36853</c:v>
                </c:pt>
                <c:pt idx="1798">
                  <c:v>36854</c:v>
                </c:pt>
                <c:pt idx="1799">
                  <c:v>36857</c:v>
                </c:pt>
                <c:pt idx="1800">
                  <c:v>36858</c:v>
                </c:pt>
                <c:pt idx="1801">
                  <c:v>36859</c:v>
                </c:pt>
                <c:pt idx="1802">
                  <c:v>36860</c:v>
                </c:pt>
                <c:pt idx="1803">
                  <c:v>36861</c:v>
                </c:pt>
                <c:pt idx="1804">
                  <c:v>36864</c:v>
                </c:pt>
                <c:pt idx="1805">
                  <c:v>36865</c:v>
                </c:pt>
                <c:pt idx="1806">
                  <c:v>36866</c:v>
                </c:pt>
                <c:pt idx="1807">
                  <c:v>36867</c:v>
                </c:pt>
                <c:pt idx="1808">
                  <c:v>36868</c:v>
                </c:pt>
                <c:pt idx="1809">
                  <c:v>36871</c:v>
                </c:pt>
                <c:pt idx="1810">
                  <c:v>36872</c:v>
                </c:pt>
                <c:pt idx="1811">
                  <c:v>36873</c:v>
                </c:pt>
                <c:pt idx="1812">
                  <c:v>36874</c:v>
                </c:pt>
                <c:pt idx="1813">
                  <c:v>36875</c:v>
                </c:pt>
                <c:pt idx="1814">
                  <c:v>36878</c:v>
                </c:pt>
                <c:pt idx="1815">
                  <c:v>36879</c:v>
                </c:pt>
                <c:pt idx="1816">
                  <c:v>36880</c:v>
                </c:pt>
                <c:pt idx="1817">
                  <c:v>36881</c:v>
                </c:pt>
                <c:pt idx="1818">
                  <c:v>36882</c:v>
                </c:pt>
                <c:pt idx="1819">
                  <c:v>36885</c:v>
                </c:pt>
                <c:pt idx="1820">
                  <c:v>36886</c:v>
                </c:pt>
                <c:pt idx="1821">
                  <c:v>36887</c:v>
                </c:pt>
                <c:pt idx="1822">
                  <c:v>36888</c:v>
                </c:pt>
                <c:pt idx="1823">
                  <c:v>36889</c:v>
                </c:pt>
                <c:pt idx="1824">
                  <c:v>36892</c:v>
                </c:pt>
                <c:pt idx="1825">
                  <c:v>36893</c:v>
                </c:pt>
                <c:pt idx="1826">
                  <c:v>36894</c:v>
                </c:pt>
                <c:pt idx="1827">
                  <c:v>36895</c:v>
                </c:pt>
                <c:pt idx="1828">
                  <c:v>36896</c:v>
                </c:pt>
                <c:pt idx="1829">
                  <c:v>36899</c:v>
                </c:pt>
                <c:pt idx="1830">
                  <c:v>36900</c:v>
                </c:pt>
                <c:pt idx="1831">
                  <c:v>36901</c:v>
                </c:pt>
                <c:pt idx="1832">
                  <c:v>36902</c:v>
                </c:pt>
                <c:pt idx="1833">
                  <c:v>36903</c:v>
                </c:pt>
                <c:pt idx="1834">
                  <c:v>36906</c:v>
                </c:pt>
                <c:pt idx="1835">
                  <c:v>36907</c:v>
                </c:pt>
                <c:pt idx="1836">
                  <c:v>36908</c:v>
                </c:pt>
                <c:pt idx="1837">
                  <c:v>36909</c:v>
                </c:pt>
                <c:pt idx="1838">
                  <c:v>36910</c:v>
                </c:pt>
                <c:pt idx="1839">
                  <c:v>36913</c:v>
                </c:pt>
                <c:pt idx="1840">
                  <c:v>36914</c:v>
                </c:pt>
                <c:pt idx="1841">
                  <c:v>36915</c:v>
                </c:pt>
                <c:pt idx="1842">
                  <c:v>36916</c:v>
                </c:pt>
                <c:pt idx="1843">
                  <c:v>36917</c:v>
                </c:pt>
                <c:pt idx="1844">
                  <c:v>36920</c:v>
                </c:pt>
                <c:pt idx="1845">
                  <c:v>36921</c:v>
                </c:pt>
                <c:pt idx="1846">
                  <c:v>36922</c:v>
                </c:pt>
                <c:pt idx="1847">
                  <c:v>36923</c:v>
                </c:pt>
                <c:pt idx="1848">
                  <c:v>36924</c:v>
                </c:pt>
                <c:pt idx="1849">
                  <c:v>36927</c:v>
                </c:pt>
                <c:pt idx="1850">
                  <c:v>36928</c:v>
                </c:pt>
                <c:pt idx="1851">
                  <c:v>36929</c:v>
                </c:pt>
                <c:pt idx="1852">
                  <c:v>36930</c:v>
                </c:pt>
                <c:pt idx="1853">
                  <c:v>36931</c:v>
                </c:pt>
                <c:pt idx="1854">
                  <c:v>36934</c:v>
                </c:pt>
                <c:pt idx="1855">
                  <c:v>36935</c:v>
                </c:pt>
                <c:pt idx="1856">
                  <c:v>36936</c:v>
                </c:pt>
                <c:pt idx="1857">
                  <c:v>36937</c:v>
                </c:pt>
                <c:pt idx="1858">
                  <c:v>36938</c:v>
                </c:pt>
                <c:pt idx="1859">
                  <c:v>36941</c:v>
                </c:pt>
                <c:pt idx="1860">
                  <c:v>36942</c:v>
                </c:pt>
                <c:pt idx="1861">
                  <c:v>36943</c:v>
                </c:pt>
                <c:pt idx="1862">
                  <c:v>36944</c:v>
                </c:pt>
                <c:pt idx="1863">
                  <c:v>36945</c:v>
                </c:pt>
                <c:pt idx="1864">
                  <c:v>36948</c:v>
                </c:pt>
                <c:pt idx="1865">
                  <c:v>36949</c:v>
                </c:pt>
                <c:pt idx="1866">
                  <c:v>36950</c:v>
                </c:pt>
                <c:pt idx="1867">
                  <c:v>36951</c:v>
                </c:pt>
                <c:pt idx="1868">
                  <c:v>36952</c:v>
                </c:pt>
                <c:pt idx="1869">
                  <c:v>36955</c:v>
                </c:pt>
                <c:pt idx="1870">
                  <c:v>36956</c:v>
                </c:pt>
                <c:pt idx="1871">
                  <c:v>36957</c:v>
                </c:pt>
                <c:pt idx="1872">
                  <c:v>36958</c:v>
                </c:pt>
                <c:pt idx="1873">
                  <c:v>36959</c:v>
                </c:pt>
                <c:pt idx="1874">
                  <c:v>36962</c:v>
                </c:pt>
                <c:pt idx="1875">
                  <c:v>36963</c:v>
                </c:pt>
                <c:pt idx="1876">
                  <c:v>36964</c:v>
                </c:pt>
                <c:pt idx="1877">
                  <c:v>36965</c:v>
                </c:pt>
                <c:pt idx="1878">
                  <c:v>36966</c:v>
                </c:pt>
                <c:pt idx="1879">
                  <c:v>36969</c:v>
                </c:pt>
                <c:pt idx="1880">
                  <c:v>36970</c:v>
                </c:pt>
                <c:pt idx="1881">
                  <c:v>36971</c:v>
                </c:pt>
                <c:pt idx="1882">
                  <c:v>36972</c:v>
                </c:pt>
                <c:pt idx="1883">
                  <c:v>36973</c:v>
                </c:pt>
                <c:pt idx="1884">
                  <c:v>36976</c:v>
                </c:pt>
                <c:pt idx="1885">
                  <c:v>36977</c:v>
                </c:pt>
                <c:pt idx="1886">
                  <c:v>36978</c:v>
                </c:pt>
                <c:pt idx="1887">
                  <c:v>36979</c:v>
                </c:pt>
                <c:pt idx="1888">
                  <c:v>36980</c:v>
                </c:pt>
                <c:pt idx="1889">
                  <c:v>36983</c:v>
                </c:pt>
                <c:pt idx="1890">
                  <c:v>36984</c:v>
                </c:pt>
                <c:pt idx="1891">
                  <c:v>36985</c:v>
                </c:pt>
                <c:pt idx="1892">
                  <c:v>36986</c:v>
                </c:pt>
                <c:pt idx="1893">
                  <c:v>36987</c:v>
                </c:pt>
                <c:pt idx="1894">
                  <c:v>36990</c:v>
                </c:pt>
                <c:pt idx="1895">
                  <c:v>36991</c:v>
                </c:pt>
                <c:pt idx="1896">
                  <c:v>36992</c:v>
                </c:pt>
                <c:pt idx="1897">
                  <c:v>36993</c:v>
                </c:pt>
                <c:pt idx="1898">
                  <c:v>36994</c:v>
                </c:pt>
                <c:pt idx="1899">
                  <c:v>36997</c:v>
                </c:pt>
                <c:pt idx="1900">
                  <c:v>36998</c:v>
                </c:pt>
                <c:pt idx="1901">
                  <c:v>36999</c:v>
                </c:pt>
                <c:pt idx="1902">
                  <c:v>37000</c:v>
                </c:pt>
                <c:pt idx="1903">
                  <c:v>37001</c:v>
                </c:pt>
                <c:pt idx="1904">
                  <c:v>37004</c:v>
                </c:pt>
                <c:pt idx="1905">
                  <c:v>37005</c:v>
                </c:pt>
                <c:pt idx="1906">
                  <c:v>37006</c:v>
                </c:pt>
                <c:pt idx="1907">
                  <c:v>37007</c:v>
                </c:pt>
                <c:pt idx="1908">
                  <c:v>37008</c:v>
                </c:pt>
                <c:pt idx="1909">
                  <c:v>37011</c:v>
                </c:pt>
                <c:pt idx="1910">
                  <c:v>37012</c:v>
                </c:pt>
                <c:pt idx="1911">
                  <c:v>37013</c:v>
                </c:pt>
                <c:pt idx="1912">
                  <c:v>37014</c:v>
                </c:pt>
                <c:pt idx="1913">
                  <c:v>37015</c:v>
                </c:pt>
                <c:pt idx="1914">
                  <c:v>37018</c:v>
                </c:pt>
                <c:pt idx="1915">
                  <c:v>37019</c:v>
                </c:pt>
                <c:pt idx="1916">
                  <c:v>37020</c:v>
                </c:pt>
                <c:pt idx="1917">
                  <c:v>37021</c:v>
                </c:pt>
                <c:pt idx="1918">
                  <c:v>37022</c:v>
                </c:pt>
                <c:pt idx="1919">
                  <c:v>37025</c:v>
                </c:pt>
                <c:pt idx="1920">
                  <c:v>37026</c:v>
                </c:pt>
                <c:pt idx="1921">
                  <c:v>37027</c:v>
                </c:pt>
                <c:pt idx="1922">
                  <c:v>37028</c:v>
                </c:pt>
                <c:pt idx="1923">
                  <c:v>37029</c:v>
                </c:pt>
                <c:pt idx="1924">
                  <c:v>37032</c:v>
                </c:pt>
                <c:pt idx="1925">
                  <c:v>37033</c:v>
                </c:pt>
                <c:pt idx="1926">
                  <c:v>37034</c:v>
                </c:pt>
                <c:pt idx="1927">
                  <c:v>37035</c:v>
                </c:pt>
                <c:pt idx="1928">
                  <c:v>37036</c:v>
                </c:pt>
                <c:pt idx="1929">
                  <c:v>37039</c:v>
                </c:pt>
                <c:pt idx="1930">
                  <c:v>37040</c:v>
                </c:pt>
                <c:pt idx="1931">
                  <c:v>37041</c:v>
                </c:pt>
                <c:pt idx="1932">
                  <c:v>37042</c:v>
                </c:pt>
                <c:pt idx="1933">
                  <c:v>37043</c:v>
                </c:pt>
                <c:pt idx="1934">
                  <c:v>37046</c:v>
                </c:pt>
                <c:pt idx="1935">
                  <c:v>37047</c:v>
                </c:pt>
                <c:pt idx="1936">
                  <c:v>37048</c:v>
                </c:pt>
                <c:pt idx="1937">
                  <c:v>37049</c:v>
                </c:pt>
                <c:pt idx="1938">
                  <c:v>37050</c:v>
                </c:pt>
                <c:pt idx="1939">
                  <c:v>37053</c:v>
                </c:pt>
                <c:pt idx="1940">
                  <c:v>37054</c:v>
                </c:pt>
                <c:pt idx="1941">
                  <c:v>37055</c:v>
                </c:pt>
                <c:pt idx="1942">
                  <c:v>37056</c:v>
                </c:pt>
                <c:pt idx="1943">
                  <c:v>37057</c:v>
                </c:pt>
                <c:pt idx="1944">
                  <c:v>37060</c:v>
                </c:pt>
                <c:pt idx="1945">
                  <c:v>37061</c:v>
                </c:pt>
                <c:pt idx="1946">
                  <c:v>37062</c:v>
                </c:pt>
                <c:pt idx="1947">
                  <c:v>37063</c:v>
                </c:pt>
                <c:pt idx="1948">
                  <c:v>37064</c:v>
                </c:pt>
                <c:pt idx="1949">
                  <c:v>37067</c:v>
                </c:pt>
                <c:pt idx="1950">
                  <c:v>37068</c:v>
                </c:pt>
                <c:pt idx="1951">
                  <c:v>37069</c:v>
                </c:pt>
                <c:pt idx="1952">
                  <c:v>37070</c:v>
                </c:pt>
                <c:pt idx="1953">
                  <c:v>37071</c:v>
                </c:pt>
                <c:pt idx="1954">
                  <c:v>37074</c:v>
                </c:pt>
                <c:pt idx="1955">
                  <c:v>37075</c:v>
                </c:pt>
                <c:pt idx="1956">
                  <c:v>37076</c:v>
                </c:pt>
                <c:pt idx="1957">
                  <c:v>37077</c:v>
                </c:pt>
                <c:pt idx="1958">
                  <c:v>37078</c:v>
                </c:pt>
                <c:pt idx="1959">
                  <c:v>37081</c:v>
                </c:pt>
                <c:pt idx="1960">
                  <c:v>37082</c:v>
                </c:pt>
                <c:pt idx="1961">
                  <c:v>37083</c:v>
                </c:pt>
                <c:pt idx="1962">
                  <c:v>37084</c:v>
                </c:pt>
                <c:pt idx="1963">
                  <c:v>37085</c:v>
                </c:pt>
                <c:pt idx="1964">
                  <c:v>37088</c:v>
                </c:pt>
                <c:pt idx="1965">
                  <c:v>37089</c:v>
                </c:pt>
                <c:pt idx="1966">
                  <c:v>37090</c:v>
                </c:pt>
                <c:pt idx="1967">
                  <c:v>37091</c:v>
                </c:pt>
                <c:pt idx="1968">
                  <c:v>37092</c:v>
                </c:pt>
                <c:pt idx="1969">
                  <c:v>37095</c:v>
                </c:pt>
                <c:pt idx="1970">
                  <c:v>37096</c:v>
                </c:pt>
                <c:pt idx="1971">
                  <c:v>37097</c:v>
                </c:pt>
                <c:pt idx="1972">
                  <c:v>37098</c:v>
                </c:pt>
                <c:pt idx="1973">
                  <c:v>37099</c:v>
                </c:pt>
                <c:pt idx="1974">
                  <c:v>37102</c:v>
                </c:pt>
                <c:pt idx="1975">
                  <c:v>37103</c:v>
                </c:pt>
                <c:pt idx="1976">
                  <c:v>37104</c:v>
                </c:pt>
                <c:pt idx="1977">
                  <c:v>37105</c:v>
                </c:pt>
                <c:pt idx="1978">
                  <c:v>37106</c:v>
                </c:pt>
                <c:pt idx="1979">
                  <c:v>37109</c:v>
                </c:pt>
                <c:pt idx="1980">
                  <c:v>37110</c:v>
                </c:pt>
                <c:pt idx="1981">
                  <c:v>37111</c:v>
                </c:pt>
                <c:pt idx="1982">
                  <c:v>37112</c:v>
                </c:pt>
                <c:pt idx="1983">
                  <c:v>37113</c:v>
                </c:pt>
                <c:pt idx="1984">
                  <c:v>37116</c:v>
                </c:pt>
                <c:pt idx="1985">
                  <c:v>37117</c:v>
                </c:pt>
                <c:pt idx="1986">
                  <c:v>37118</c:v>
                </c:pt>
                <c:pt idx="1987">
                  <c:v>37119</c:v>
                </c:pt>
                <c:pt idx="1988">
                  <c:v>37120</c:v>
                </c:pt>
                <c:pt idx="1989">
                  <c:v>37123</c:v>
                </c:pt>
                <c:pt idx="1990">
                  <c:v>37124</c:v>
                </c:pt>
                <c:pt idx="1991">
                  <c:v>37125</c:v>
                </c:pt>
                <c:pt idx="1992">
                  <c:v>37126</c:v>
                </c:pt>
                <c:pt idx="1993">
                  <c:v>37127</c:v>
                </c:pt>
                <c:pt idx="1994">
                  <c:v>37130</c:v>
                </c:pt>
                <c:pt idx="1995">
                  <c:v>37131</c:v>
                </c:pt>
                <c:pt idx="1996">
                  <c:v>37132</c:v>
                </c:pt>
                <c:pt idx="1997">
                  <c:v>37133</c:v>
                </c:pt>
                <c:pt idx="1998">
                  <c:v>37134</c:v>
                </c:pt>
                <c:pt idx="1999">
                  <c:v>37137</c:v>
                </c:pt>
                <c:pt idx="2000">
                  <c:v>37138</c:v>
                </c:pt>
                <c:pt idx="2001">
                  <c:v>37139</c:v>
                </c:pt>
                <c:pt idx="2002">
                  <c:v>37140</c:v>
                </c:pt>
                <c:pt idx="2003">
                  <c:v>37141</c:v>
                </c:pt>
                <c:pt idx="2004">
                  <c:v>37144</c:v>
                </c:pt>
                <c:pt idx="2005">
                  <c:v>37145</c:v>
                </c:pt>
                <c:pt idx="2006">
                  <c:v>37146</c:v>
                </c:pt>
                <c:pt idx="2007">
                  <c:v>37147</c:v>
                </c:pt>
                <c:pt idx="2008">
                  <c:v>37148</c:v>
                </c:pt>
                <c:pt idx="2009">
                  <c:v>37151</c:v>
                </c:pt>
                <c:pt idx="2010">
                  <c:v>37152</c:v>
                </c:pt>
                <c:pt idx="2011">
                  <c:v>37153</c:v>
                </c:pt>
                <c:pt idx="2012">
                  <c:v>37154</c:v>
                </c:pt>
                <c:pt idx="2013">
                  <c:v>37155</c:v>
                </c:pt>
                <c:pt idx="2014">
                  <c:v>37158</c:v>
                </c:pt>
                <c:pt idx="2015">
                  <c:v>37159</c:v>
                </c:pt>
                <c:pt idx="2016">
                  <c:v>37160</c:v>
                </c:pt>
                <c:pt idx="2017">
                  <c:v>37161</c:v>
                </c:pt>
                <c:pt idx="2018">
                  <c:v>37162</c:v>
                </c:pt>
                <c:pt idx="2019">
                  <c:v>37165</c:v>
                </c:pt>
                <c:pt idx="2020">
                  <c:v>37166</c:v>
                </c:pt>
                <c:pt idx="2021">
                  <c:v>37167</c:v>
                </c:pt>
                <c:pt idx="2022">
                  <c:v>37168</c:v>
                </c:pt>
                <c:pt idx="2023">
                  <c:v>37169</c:v>
                </c:pt>
                <c:pt idx="2024">
                  <c:v>37172</c:v>
                </c:pt>
                <c:pt idx="2025">
                  <c:v>37173</c:v>
                </c:pt>
                <c:pt idx="2026">
                  <c:v>37174</c:v>
                </c:pt>
                <c:pt idx="2027">
                  <c:v>37175</c:v>
                </c:pt>
                <c:pt idx="2028">
                  <c:v>37176</c:v>
                </c:pt>
                <c:pt idx="2029">
                  <c:v>37179</c:v>
                </c:pt>
                <c:pt idx="2030">
                  <c:v>37180</c:v>
                </c:pt>
                <c:pt idx="2031">
                  <c:v>37181</c:v>
                </c:pt>
                <c:pt idx="2032">
                  <c:v>37182</c:v>
                </c:pt>
                <c:pt idx="2033">
                  <c:v>37183</c:v>
                </c:pt>
                <c:pt idx="2034">
                  <c:v>37186</c:v>
                </c:pt>
                <c:pt idx="2035">
                  <c:v>37187</c:v>
                </c:pt>
                <c:pt idx="2036">
                  <c:v>37188</c:v>
                </c:pt>
                <c:pt idx="2037">
                  <c:v>37189</c:v>
                </c:pt>
                <c:pt idx="2038">
                  <c:v>37190</c:v>
                </c:pt>
                <c:pt idx="2039">
                  <c:v>37193</c:v>
                </c:pt>
                <c:pt idx="2040">
                  <c:v>37194</c:v>
                </c:pt>
                <c:pt idx="2041">
                  <c:v>37195</c:v>
                </c:pt>
                <c:pt idx="2042">
                  <c:v>37196</c:v>
                </c:pt>
                <c:pt idx="2043">
                  <c:v>37197</c:v>
                </c:pt>
                <c:pt idx="2044">
                  <c:v>37200</c:v>
                </c:pt>
                <c:pt idx="2045">
                  <c:v>37201</c:v>
                </c:pt>
                <c:pt idx="2046">
                  <c:v>37202</c:v>
                </c:pt>
                <c:pt idx="2047">
                  <c:v>37203</c:v>
                </c:pt>
                <c:pt idx="2048">
                  <c:v>37204</c:v>
                </c:pt>
                <c:pt idx="2049">
                  <c:v>37207</c:v>
                </c:pt>
                <c:pt idx="2050">
                  <c:v>37208</c:v>
                </c:pt>
                <c:pt idx="2051">
                  <c:v>37209</c:v>
                </c:pt>
                <c:pt idx="2052">
                  <c:v>37210</c:v>
                </c:pt>
                <c:pt idx="2053">
                  <c:v>37211</c:v>
                </c:pt>
                <c:pt idx="2054">
                  <c:v>37214</c:v>
                </c:pt>
                <c:pt idx="2055">
                  <c:v>37215</c:v>
                </c:pt>
                <c:pt idx="2056">
                  <c:v>37216</c:v>
                </c:pt>
                <c:pt idx="2057">
                  <c:v>37217</c:v>
                </c:pt>
                <c:pt idx="2058">
                  <c:v>37218</c:v>
                </c:pt>
                <c:pt idx="2059">
                  <c:v>37221</c:v>
                </c:pt>
                <c:pt idx="2060">
                  <c:v>37222</c:v>
                </c:pt>
                <c:pt idx="2061">
                  <c:v>37223</c:v>
                </c:pt>
                <c:pt idx="2062">
                  <c:v>37224</c:v>
                </c:pt>
                <c:pt idx="2063">
                  <c:v>37225</c:v>
                </c:pt>
                <c:pt idx="2064">
                  <c:v>37228</c:v>
                </c:pt>
                <c:pt idx="2065">
                  <c:v>37229</c:v>
                </c:pt>
                <c:pt idx="2066">
                  <c:v>37230</c:v>
                </c:pt>
                <c:pt idx="2067">
                  <c:v>37231</c:v>
                </c:pt>
                <c:pt idx="2068">
                  <c:v>37232</c:v>
                </c:pt>
                <c:pt idx="2069">
                  <c:v>37235</c:v>
                </c:pt>
                <c:pt idx="2070">
                  <c:v>37236</c:v>
                </c:pt>
                <c:pt idx="2071">
                  <c:v>37237</c:v>
                </c:pt>
                <c:pt idx="2072">
                  <c:v>37238</c:v>
                </c:pt>
                <c:pt idx="2073">
                  <c:v>37239</c:v>
                </c:pt>
                <c:pt idx="2074">
                  <c:v>37242</c:v>
                </c:pt>
                <c:pt idx="2075">
                  <c:v>37243</c:v>
                </c:pt>
                <c:pt idx="2076">
                  <c:v>37244</c:v>
                </c:pt>
                <c:pt idx="2077">
                  <c:v>37245</c:v>
                </c:pt>
                <c:pt idx="2078">
                  <c:v>37246</c:v>
                </c:pt>
                <c:pt idx="2079">
                  <c:v>37249</c:v>
                </c:pt>
                <c:pt idx="2080">
                  <c:v>37250</c:v>
                </c:pt>
                <c:pt idx="2081">
                  <c:v>37251</c:v>
                </c:pt>
                <c:pt idx="2082">
                  <c:v>37252</c:v>
                </c:pt>
                <c:pt idx="2083">
                  <c:v>37253</c:v>
                </c:pt>
                <c:pt idx="2084">
                  <c:v>37256</c:v>
                </c:pt>
                <c:pt idx="2085">
                  <c:v>37257</c:v>
                </c:pt>
                <c:pt idx="2086">
                  <c:v>37258</c:v>
                </c:pt>
                <c:pt idx="2087">
                  <c:v>37259</c:v>
                </c:pt>
                <c:pt idx="2088">
                  <c:v>37260</c:v>
                </c:pt>
                <c:pt idx="2089">
                  <c:v>37263</c:v>
                </c:pt>
                <c:pt idx="2090">
                  <c:v>37264</c:v>
                </c:pt>
                <c:pt idx="2091">
                  <c:v>37265</c:v>
                </c:pt>
                <c:pt idx="2092">
                  <c:v>37266</c:v>
                </c:pt>
                <c:pt idx="2093">
                  <c:v>37267</c:v>
                </c:pt>
                <c:pt idx="2094">
                  <c:v>37270</c:v>
                </c:pt>
                <c:pt idx="2095">
                  <c:v>37271</c:v>
                </c:pt>
                <c:pt idx="2096">
                  <c:v>37272</c:v>
                </c:pt>
                <c:pt idx="2097">
                  <c:v>37273</c:v>
                </c:pt>
                <c:pt idx="2098">
                  <c:v>37274</c:v>
                </c:pt>
                <c:pt idx="2099">
                  <c:v>37277</c:v>
                </c:pt>
                <c:pt idx="2100">
                  <c:v>37278</c:v>
                </c:pt>
                <c:pt idx="2101">
                  <c:v>37279</c:v>
                </c:pt>
                <c:pt idx="2102">
                  <c:v>37280</c:v>
                </c:pt>
                <c:pt idx="2103">
                  <c:v>37281</c:v>
                </c:pt>
                <c:pt idx="2104">
                  <c:v>37284</c:v>
                </c:pt>
                <c:pt idx="2105">
                  <c:v>37285</c:v>
                </c:pt>
                <c:pt idx="2106">
                  <c:v>37286</c:v>
                </c:pt>
                <c:pt idx="2107">
                  <c:v>37287</c:v>
                </c:pt>
                <c:pt idx="2108">
                  <c:v>37288</c:v>
                </c:pt>
                <c:pt idx="2109">
                  <c:v>37291</c:v>
                </c:pt>
                <c:pt idx="2110">
                  <c:v>37292</c:v>
                </c:pt>
                <c:pt idx="2111">
                  <c:v>37293</c:v>
                </c:pt>
                <c:pt idx="2112">
                  <c:v>37294</c:v>
                </c:pt>
                <c:pt idx="2113">
                  <c:v>37295</c:v>
                </c:pt>
                <c:pt idx="2114">
                  <c:v>37298</c:v>
                </c:pt>
                <c:pt idx="2115">
                  <c:v>37299</c:v>
                </c:pt>
                <c:pt idx="2116">
                  <c:v>37300</c:v>
                </c:pt>
                <c:pt idx="2117">
                  <c:v>37301</c:v>
                </c:pt>
                <c:pt idx="2118">
                  <c:v>37302</c:v>
                </c:pt>
                <c:pt idx="2119">
                  <c:v>37305</c:v>
                </c:pt>
                <c:pt idx="2120">
                  <c:v>37306</c:v>
                </c:pt>
                <c:pt idx="2121">
                  <c:v>37307</c:v>
                </c:pt>
                <c:pt idx="2122">
                  <c:v>37308</c:v>
                </c:pt>
                <c:pt idx="2123">
                  <c:v>37309</c:v>
                </c:pt>
                <c:pt idx="2124">
                  <c:v>37312</c:v>
                </c:pt>
                <c:pt idx="2125">
                  <c:v>37313</c:v>
                </c:pt>
                <c:pt idx="2126">
                  <c:v>37314</c:v>
                </c:pt>
                <c:pt idx="2127">
                  <c:v>37315</c:v>
                </c:pt>
                <c:pt idx="2128">
                  <c:v>37316</c:v>
                </c:pt>
                <c:pt idx="2129">
                  <c:v>37319</c:v>
                </c:pt>
                <c:pt idx="2130">
                  <c:v>37320</c:v>
                </c:pt>
                <c:pt idx="2131">
                  <c:v>37321</c:v>
                </c:pt>
                <c:pt idx="2132">
                  <c:v>37322</c:v>
                </c:pt>
                <c:pt idx="2133">
                  <c:v>37323</c:v>
                </c:pt>
                <c:pt idx="2134">
                  <c:v>37326</c:v>
                </c:pt>
                <c:pt idx="2135">
                  <c:v>37327</c:v>
                </c:pt>
                <c:pt idx="2136">
                  <c:v>37328</c:v>
                </c:pt>
                <c:pt idx="2137">
                  <c:v>37329</c:v>
                </c:pt>
                <c:pt idx="2138">
                  <c:v>37330</c:v>
                </c:pt>
                <c:pt idx="2139">
                  <c:v>37333</c:v>
                </c:pt>
                <c:pt idx="2140">
                  <c:v>37334</c:v>
                </c:pt>
                <c:pt idx="2141">
                  <c:v>37335</c:v>
                </c:pt>
                <c:pt idx="2142">
                  <c:v>37336</c:v>
                </c:pt>
                <c:pt idx="2143">
                  <c:v>37337</c:v>
                </c:pt>
                <c:pt idx="2144">
                  <c:v>37340</c:v>
                </c:pt>
                <c:pt idx="2145">
                  <c:v>37341</c:v>
                </c:pt>
                <c:pt idx="2146">
                  <c:v>37342</c:v>
                </c:pt>
                <c:pt idx="2147">
                  <c:v>37343</c:v>
                </c:pt>
                <c:pt idx="2148">
                  <c:v>37344</c:v>
                </c:pt>
                <c:pt idx="2149">
                  <c:v>37347</c:v>
                </c:pt>
                <c:pt idx="2150">
                  <c:v>37348</c:v>
                </c:pt>
                <c:pt idx="2151">
                  <c:v>37349</c:v>
                </c:pt>
                <c:pt idx="2152">
                  <c:v>37350</c:v>
                </c:pt>
                <c:pt idx="2153">
                  <c:v>37351</c:v>
                </c:pt>
                <c:pt idx="2154">
                  <c:v>37354</c:v>
                </c:pt>
                <c:pt idx="2155">
                  <c:v>37355</c:v>
                </c:pt>
                <c:pt idx="2156">
                  <c:v>37356</c:v>
                </c:pt>
                <c:pt idx="2157">
                  <c:v>37357</c:v>
                </c:pt>
                <c:pt idx="2158">
                  <c:v>37358</c:v>
                </c:pt>
                <c:pt idx="2159">
                  <c:v>37361</c:v>
                </c:pt>
                <c:pt idx="2160">
                  <c:v>37362</c:v>
                </c:pt>
                <c:pt idx="2161">
                  <c:v>37363</c:v>
                </c:pt>
                <c:pt idx="2162">
                  <c:v>37364</c:v>
                </c:pt>
                <c:pt idx="2163">
                  <c:v>37365</c:v>
                </c:pt>
                <c:pt idx="2164">
                  <c:v>37368</c:v>
                </c:pt>
                <c:pt idx="2165">
                  <c:v>37369</c:v>
                </c:pt>
                <c:pt idx="2166">
                  <c:v>37370</c:v>
                </c:pt>
                <c:pt idx="2167">
                  <c:v>37371</c:v>
                </c:pt>
                <c:pt idx="2168">
                  <c:v>37372</c:v>
                </c:pt>
                <c:pt idx="2169">
                  <c:v>37375</c:v>
                </c:pt>
                <c:pt idx="2170">
                  <c:v>37376</c:v>
                </c:pt>
                <c:pt idx="2171">
                  <c:v>37377</c:v>
                </c:pt>
                <c:pt idx="2172">
                  <c:v>37378</c:v>
                </c:pt>
                <c:pt idx="2173">
                  <c:v>37379</c:v>
                </c:pt>
                <c:pt idx="2174">
                  <c:v>37382</c:v>
                </c:pt>
                <c:pt idx="2175">
                  <c:v>37383</c:v>
                </c:pt>
                <c:pt idx="2176">
                  <c:v>37384</c:v>
                </c:pt>
                <c:pt idx="2177">
                  <c:v>37385</c:v>
                </c:pt>
                <c:pt idx="2178">
                  <c:v>37386</c:v>
                </c:pt>
                <c:pt idx="2179">
                  <c:v>37389</c:v>
                </c:pt>
                <c:pt idx="2180">
                  <c:v>37390</c:v>
                </c:pt>
                <c:pt idx="2181">
                  <c:v>37391</c:v>
                </c:pt>
                <c:pt idx="2182">
                  <c:v>37392</c:v>
                </c:pt>
                <c:pt idx="2183">
                  <c:v>37393</c:v>
                </c:pt>
                <c:pt idx="2184">
                  <c:v>37396</c:v>
                </c:pt>
                <c:pt idx="2185">
                  <c:v>37397</c:v>
                </c:pt>
                <c:pt idx="2186">
                  <c:v>37398</c:v>
                </c:pt>
                <c:pt idx="2187">
                  <c:v>37399</c:v>
                </c:pt>
                <c:pt idx="2188">
                  <c:v>37400</c:v>
                </c:pt>
                <c:pt idx="2189">
                  <c:v>37403</c:v>
                </c:pt>
                <c:pt idx="2190">
                  <c:v>37404</c:v>
                </c:pt>
                <c:pt idx="2191">
                  <c:v>37405</c:v>
                </c:pt>
                <c:pt idx="2192">
                  <c:v>37406</c:v>
                </c:pt>
                <c:pt idx="2193">
                  <c:v>37407</c:v>
                </c:pt>
                <c:pt idx="2194">
                  <c:v>37410</c:v>
                </c:pt>
                <c:pt idx="2195">
                  <c:v>37411</c:v>
                </c:pt>
                <c:pt idx="2196">
                  <c:v>37412</c:v>
                </c:pt>
                <c:pt idx="2197">
                  <c:v>37413</c:v>
                </c:pt>
                <c:pt idx="2198">
                  <c:v>37414</c:v>
                </c:pt>
                <c:pt idx="2199">
                  <c:v>37417</c:v>
                </c:pt>
                <c:pt idx="2200">
                  <c:v>37418</c:v>
                </c:pt>
                <c:pt idx="2201">
                  <c:v>37419</c:v>
                </c:pt>
                <c:pt idx="2202">
                  <c:v>37420</c:v>
                </c:pt>
                <c:pt idx="2203">
                  <c:v>37421</c:v>
                </c:pt>
                <c:pt idx="2204">
                  <c:v>37424</c:v>
                </c:pt>
                <c:pt idx="2205">
                  <c:v>37425</c:v>
                </c:pt>
                <c:pt idx="2206">
                  <c:v>37426</c:v>
                </c:pt>
                <c:pt idx="2207">
                  <c:v>37427</c:v>
                </c:pt>
                <c:pt idx="2208">
                  <c:v>37428</c:v>
                </c:pt>
                <c:pt idx="2209">
                  <c:v>37431</c:v>
                </c:pt>
                <c:pt idx="2210">
                  <c:v>37432</c:v>
                </c:pt>
                <c:pt idx="2211">
                  <c:v>37433</c:v>
                </c:pt>
                <c:pt idx="2212">
                  <c:v>37434</c:v>
                </c:pt>
                <c:pt idx="2213">
                  <c:v>37435</c:v>
                </c:pt>
                <c:pt idx="2214">
                  <c:v>37438</c:v>
                </c:pt>
                <c:pt idx="2215">
                  <c:v>37439</c:v>
                </c:pt>
                <c:pt idx="2216">
                  <c:v>37440</c:v>
                </c:pt>
                <c:pt idx="2217">
                  <c:v>37441</c:v>
                </c:pt>
                <c:pt idx="2218">
                  <c:v>37442</c:v>
                </c:pt>
                <c:pt idx="2219">
                  <c:v>37445</c:v>
                </c:pt>
                <c:pt idx="2220">
                  <c:v>37446</c:v>
                </c:pt>
                <c:pt idx="2221">
                  <c:v>37447</c:v>
                </c:pt>
                <c:pt idx="2222">
                  <c:v>37448</c:v>
                </c:pt>
                <c:pt idx="2223">
                  <c:v>37449</c:v>
                </c:pt>
                <c:pt idx="2224">
                  <c:v>37452</c:v>
                </c:pt>
                <c:pt idx="2225">
                  <c:v>37453</c:v>
                </c:pt>
                <c:pt idx="2226">
                  <c:v>37454</c:v>
                </c:pt>
                <c:pt idx="2227">
                  <c:v>37455</c:v>
                </c:pt>
                <c:pt idx="2228">
                  <c:v>37456</c:v>
                </c:pt>
                <c:pt idx="2229">
                  <c:v>37459</c:v>
                </c:pt>
                <c:pt idx="2230">
                  <c:v>37460</c:v>
                </c:pt>
                <c:pt idx="2231">
                  <c:v>37461</c:v>
                </c:pt>
                <c:pt idx="2232">
                  <c:v>37462</c:v>
                </c:pt>
                <c:pt idx="2233">
                  <c:v>37463</c:v>
                </c:pt>
                <c:pt idx="2234">
                  <c:v>37466</c:v>
                </c:pt>
                <c:pt idx="2235">
                  <c:v>37467</c:v>
                </c:pt>
                <c:pt idx="2236">
                  <c:v>37468</c:v>
                </c:pt>
                <c:pt idx="2237">
                  <c:v>37469</c:v>
                </c:pt>
                <c:pt idx="2238">
                  <c:v>37470</c:v>
                </c:pt>
                <c:pt idx="2239">
                  <c:v>37473</c:v>
                </c:pt>
                <c:pt idx="2240">
                  <c:v>37474</c:v>
                </c:pt>
                <c:pt idx="2241">
                  <c:v>37475</c:v>
                </c:pt>
                <c:pt idx="2242">
                  <c:v>37476</c:v>
                </c:pt>
                <c:pt idx="2243">
                  <c:v>37477</c:v>
                </c:pt>
                <c:pt idx="2244">
                  <c:v>37480</c:v>
                </c:pt>
                <c:pt idx="2245">
                  <c:v>37481</c:v>
                </c:pt>
                <c:pt idx="2246">
                  <c:v>37482</c:v>
                </c:pt>
                <c:pt idx="2247">
                  <c:v>37483</c:v>
                </c:pt>
                <c:pt idx="2248">
                  <c:v>37484</c:v>
                </c:pt>
                <c:pt idx="2249">
                  <c:v>37487</c:v>
                </c:pt>
                <c:pt idx="2250">
                  <c:v>37488</c:v>
                </c:pt>
                <c:pt idx="2251">
                  <c:v>37489</c:v>
                </c:pt>
                <c:pt idx="2252">
                  <c:v>37490</c:v>
                </c:pt>
                <c:pt idx="2253">
                  <c:v>37491</c:v>
                </c:pt>
                <c:pt idx="2254">
                  <c:v>37494</c:v>
                </c:pt>
                <c:pt idx="2255">
                  <c:v>37495</c:v>
                </c:pt>
                <c:pt idx="2256">
                  <c:v>37496</c:v>
                </c:pt>
                <c:pt idx="2257">
                  <c:v>37497</c:v>
                </c:pt>
                <c:pt idx="2258">
                  <c:v>37498</c:v>
                </c:pt>
                <c:pt idx="2259">
                  <c:v>37501</c:v>
                </c:pt>
                <c:pt idx="2260">
                  <c:v>37502</c:v>
                </c:pt>
                <c:pt idx="2261">
                  <c:v>37503</c:v>
                </c:pt>
                <c:pt idx="2262">
                  <c:v>37504</c:v>
                </c:pt>
                <c:pt idx="2263">
                  <c:v>37505</c:v>
                </c:pt>
                <c:pt idx="2264">
                  <c:v>37508</c:v>
                </c:pt>
                <c:pt idx="2265">
                  <c:v>37509</c:v>
                </c:pt>
                <c:pt idx="2266">
                  <c:v>37510</c:v>
                </c:pt>
                <c:pt idx="2267">
                  <c:v>37511</c:v>
                </c:pt>
                <c:pt idx="2268">
                  <c:v>37512</c:v>
                </c:pt>
                <c:pt idx="2269">
                  <c:v>37515</c:v>
                </c:pt>
                <c:pt idx="2270">
                  <c:v>37516</c:v>
                </c:pt>
                <c:pt idx="2271">
                  <c:v>37517</c:v>
                </c:pt>
                <c:pt idx="2272">
                  <c:v>37518</c:v>
                </c:pt>
                <c:pt idx="2273">
                  <c:v>37519</c:v>
                </c:pt>
                <c:pt idx="2274">
                  <c:v>37522</c:v>
                </c:pt>
                <c:pt idx="2275">
                  <c:v>37523</c:v>
                </c:pt>
                <c:pt idx="2276">
                  <c:v>37524</c:v>
                </c:pt>
                <c:pt idx="2277">
                  <c:v>37525</c:v>
                </c:pt>
                <c:pt idx="2278">
                  <c:v>37526</c:v>
                </c:pt>
                <c:pt idx="2279">
                  <c:v>37529</c:v>
                </c:pt>
                <c:pt idx="2280">
                  <c:v>37530</c:v>
                </c:pt>
                <c:pt idx="2281">
                  <c:v>37531</c:v>
                </c:pt>
                <c:pt idx="2282">
                  <c:v>37532</c:v>
                </c:pt>
                <c:pt idx="2283">
                  <c:v>37533</c:v>
                </c:pt>
                <c:pt idx="2284">
                  <c:v>37536</c:v>
                </c:pt>
                <c:pt idx="2285">
                  <c:v>37537</c:v>
                </c:pt>
                <c:pt idx="2286">
                  <c:v>37538</c:v>
                </c:pt>
                <c:pt idx="2287">
                  <c:v>37539</c:v>
                </c:pt>
                <c:pt idx="2288">
                  <c:v>37540</c:v>
                </c:pt>
                <c:pt idx="2289">
                  <c:v>37543</c:v>
                </c:pt>
                <c:pt idx="2290">
                  <c:v>37544</c:v>
                </c:pt>
                <c:pt idx="2291">
                  <c:v>37545</c:v>
                </c:pt>
                <c:pt idx="2292">
                  <c:v>37546</c:v>
                </c:pt>
                <c:pt idx="2293">
                  <c:v>37547</c:v>
                </c:pt>
                <c:pt idx="2294">
                  <c:v>37550</c:v>
                </c:pt>
                <c:pt idx="2295">
                  <c:v>37551</c:v>
                </c:pt>
                <c:pt idx="2296">
                  <c:v>37552</c:v>
                </c:pt>
                <c:pt idx="2297">
                  <c:v>37553</c:v>
                </c:pt>
                <c:pt idx="2298">
                  <c:v>37554</c:v>
                </c:pt>
                <c:pt idx="2299">
                  <c:v>37557</c:v>
                </c:pt>
                <c:pt idx="2300">
                  <c:v>37558</c:v>
                </c:pt>
                <c:pt idx="2301">
                  <c:v>37559</c:v>
                </c:pt>
                <c:pt idx="2302">
                  <c:v>37560</c:v>
                </c:pt>
                <c:pt idx="2303">
                  <c:v>37561</c:v>
                </c:pt>
                <c:pt idx="2304">
                  <c:v>37564</c:v>
                </c:pt>
                <c:pt idx="2305">
                  <c:v>37565</c:v>
                </c:pt>
                <c:pt idx="2306">
                  <c:v>37566</c:v>
                </c:pt>
                <c:pt idx="2307">
                  <c:v>37567</c:v>
                </c:pt>
                <c:pt idx="2308">
                  <c:v>37568</c:v>
                </c:pt>
                <c:pt idx="2309">
                  <c:v>37571</c:v>
                </c:pt>
                <c:pt idx="2310">
                  <c:v>37572</c:v>
                </c:pt>
                <c:pt idx="2311">
                  <c:v>37573</c:v>
                </c:pt>
                <c:pt idx="2312">
                  <c:v>37574</c:v>
                </c:pt>
                <c:pt idx="2313">
                  <c:v>37575</c:v>
                </c:pt>
                <c:pt idx="2314">
                  <c:v>37578</c:v>
                </c:pt>
                <c:pt idx="2315">
                  <c:v>37579</c:v>
                </c:pt>
                <c:pt idx="2316">
                  <c:v>37580</c:v>
                </c:pt>
                <c:pt idx="2317">
                  <c:v>37581</c:v>
                </c:pt>
                <c:pt idx="2318">
                  <c:v>37582</c:v>
                </c:pt>
                <c:pt idx="2319">
                  <c:v>37585</c:v>
                </c:pt>
                <c:pt idx="2320">
                  <c:v>37586</c:v>
                </c:pt>
                <c:pt idx="2321">
                  <c:v>37587</c:v>
                </c:pt>
                <c:pt idx="2322">
                  <c:v>37588</c:v>
                </c:pt>
                <c:pt idx="2323">
                  <c:v>37589</c:v>
                </c:pt>
                <c:pt idx="2324">
                  <c:v>37592</c:v>
                </c:pt>
                <c:pt idx="2325">
                  <c:v>37593</c:v>
                </c:pt>
                <c:pt idx="2326">
                  <c:v>37594</c:v>
                </c:pt>
                <c:pt idx="2327">
                  <c:v>37595</c:v>
                </c:pt>
                <c:pt idx="2328">
                  <c:v>37596</c:v>
                </c:pt>
                <c:pt idx="2329">
                  <c:v>37599</c:v>
                </c:pt>
                <c:pt idx="2330">
                  <c:v>37600</c:v>
                </c:pt>
                <c:pt idx="2331">
                  <c:v>37601</c:v>
                </c:pt>
                <c:pt idx="2332">
                  <c:v>37602</c:v>
                </c:pt>
                <c:pt idx="2333">
                  <c:v>37603</c:v>
                </c:pt>
                <c:pt idx="2334">
                  <c:v>37606</c:v>
                </c:pt>
                <c:pt idx="2335">
                  <c:v>37607</c:v>
                </c:pt>
                <c:pt idx="2336">
                  <c:v>37608</c:v>
                </c:pt>
                <c:pt idx="2337">
                  <c:v>37609</c:v>
                </c:pt>
                <c:pt idx="2338">
                  <c:v>37610</c:v>
                </c:pt>
                <c:pt idx="2339">
                  <c:v>37613</c:v>
                </c:pt>
                <c:pt idx="2340">
                  <c:v>37614</c:v>
                </c:pt>
                <c:pt idx="2341">
                  <c:v>37615</c:v>
                </c:pt>
                <c:pt idx="2342">
                  <c:v>37616</c:v>
                </c:pt>
                <c:pt idx="2343">
                  <c:v>37617</c:v>
                </c:pt>
                <c:pt idx="2344">
                  <c:v>37620</c:v>
                </c:pt>
                <c:pt idx="2345">
                  <c:v>37621</c:v>
                </c:pt>
                <c:pt idx="2346">
                  <c:v>37622</c:v>
                </c:pt>
                <c:pt idx="2347">
                  <c:v>37623</c:v>
                </c:pt>
                <c:pt idx="2348">
                  <c:v>37624</c:v>
                </c:pt>
                <c:pt idx="2349">
                  <c:v>37627</c:v>
                </c:pt>
                <c:pt idx="2350">
                  <c:v>37628</c:v>
                </c:pt>
                <c:pt idx="2351">
                  <c:v>37629</c:v>
                </c:pt>
                <c:pt idx="2352">
                  <c:v>37630</c:v>
                </c:pt>
                <c:pt idx="2353">
                  <c:v>37631</c:v>
                </c:pt>
                <c:pt idx="2354">
                  <c:v>37634</c:v>
                </c:pt>
                <c:pt idx="2355">
                  <c:v>37635</c:v>
                </c:pt>
                <c:pt idx="2356">
                  <c:v>37636</c:v>
                </c:pt>
                <c:pt idx="2357">
                  <c:v>37637</c:v>
                </c:pt>
                <c:pt idx="2358">
                  <c:v>37638</c:v>
                </c:pt>
                <c:pt idx="2359">
                  <c:v>37641</c:v>
                </c:pt>
                <c:pt idx="2360">
                  <c:v>37642</c:v>
                </c:pt>
                <c:pt idx="2361">
                  <c:v>37643</c:v>
                </c:pt>
                <c:pt idx="2362">
                  <c:v>37644</c:v>
                </c:pt>
                <c:pt idx="2363">
                  <c:v>37645</c:v>
                </c:pt>
                <c:pt idx="2364">
                  <c:v>37648</c:v>
                </c:pt>
                <c:pt idx="2365">
                  <c:v>37649</c:v>
                </c:pt>
                <c:pt idx="2366">
                  <c:v>37650</c:v>
                </c:pt>
                <c:pt idx="2367">
                  <c:v>37651</c:v>
                </c:pt>
                <c:pt idx="2368">
                  <c:v>37652</c:v>
                </c:pt>
                <c:pt idx="2369">
                  <c:v>37655</c:v>
                </c:pt>
                <c:pt idx="2370">
                  <c:v>37656</c:v>
                </c:pt>
                <c:pt idx="2371">
                  <c:v>37657</c:v>
                </c:pt>
                <c:pt idx="2372">
                  <c:v>37658</c:v>
                </c:pt>
                <c:pt idx="2373">
                  <c:v>37659</c:v>
                </c:pt>
                <c:pt idx="2374">
                  <c:v>37662</c:v>
                </c:pt>
                <c:pt idx="2375">
                  <c:v>37663</c:v>
                </c:pt>
                <c:pt idx="2376">
                  <c:v>37664</c:v>
                </c:pt>
                <c:pt idx="2377">
                  <c:v>37665</c:v>
                </c:pt>
                <c:pt idx="2378">
                  <c:v>37666</c:v>
                </c:pt>
                <c:pt idx="2379">
                  <c:v>37669</c:v>
                </c:pt>
                <c:pt idx="2380">
                  <c:v>37670</c:v>
                </c:pt>
                <c:pt idx="2381">
                  <c:v>37671</c:v>
                </c:pt>
                <c:pt idx="2382">
                  <c:v>37672</c:v>
                </c:pt>
                <c:pt idx="2383">
                  <c:v>37673</c:v>
                </c:pt>
                <c:pt idx="2384">
                  <c:v>37676</c:v>
                </c:pt>
                <c:pt idx="2385">
                  <c:v>37677</c:v>
                </c:pt>
                <c:pt idx="2386">
                  <c:v>37678</c:v>
                </c:pt>
                <c:pt idx="2387">
                  <c:v>37679</c:v>
                </c:pt>
                <c:pt idx="2388">
                  <c:v>37680</c:v>
                </c:pt>
                <c:pt idx="2389">
                  <c:v>37683</c:v>
                </c:pt>
                <c:pt idx="2390">
                  <c:v>37684</c:v>
                </c:pt>
                <c:pt idx="2391">
                  <c:v>37685</c:v>
                </c:pt>
                <c:pt idx="2392">
                  <c:v>37686</c:v>
                </c:pt>
                <c:pt idx="2393">
                  <c:v>37687</c:v>
                </c:pt>
                <c:pt idx="2394">
                  <c:v>37690</c:v>
                </c:pt>
                <c:pt idx="2395">
                  <c:v>37691</c:v>
                </c:pt>
                <c:pt idx="2396">
                  <c:v>37692</c:v>
                </c:pt>
                <c:pt idx="2397">
                  <c:v>37693</c:v>
                </c:pt>
                <c:pt idx="2398">
                  <c:v>37694</c:v>
                </c:pt>
                <c:pt idx="2399">
                  <c:v>37697</c:v>
                </c:pt>
                <c:pt idx="2400">
                  <c:v>37698</c:v>
                </c:pt>
                <c:pt idx="2401">
                  <c:v>37699</c:v>
                </c:pt>
                <c:pt idx="2402">
                  <c:v>37700</c:v>
                </c:pt>
                <c:pt idx="2403">
                  <c:v>37701</c:v>
                </c:pt>
                <c:pt idx="2404">
                  <c:v>37704</c:v>
                </c:pt>
                <c:pt idx="2405">
                  <c:v>37705</c:v>
                </c:pt>
                <c:pt idx="2406">
                  <c:v>37706</c:v>
                </c:pt>
                <c:pt idx="2407">
                  <c:v>37707</c:v>
                </c:pt>
                <c:pt idx="2408">
                  <c:v>37708</c:v>
                </c:pt>
                <c:pt idx="2409">
                  <c:v>37711</c:v>
                </c:pt>
                <c:pt idx="2410">
                  <c:v>37712</c:v>
                </c:pt>
                <c:pt idx="2411">
                  <c:v>37713</c:v>
                </c:pt>
                <c:pt idx="2412">
                  <c:v>37714</c:v>
                </c:pt>
                <c:pt idx="2413">
                  <c:v>37715</c:v>
                </c:pt>
                <c:pt idx="2414">
                  <c:v>37718</c:v>
                </c:pt>
                <c:pt idx="2415">
                  <c:v>37719</c:v>
                </c:pt>
                <c:pt idx="2416">
                  <c:v>37720</c:v>
                </c:pt>
                <c:pt idx="2417">
                  <c:v>37721</c:v>
                </c:pt>
                <c:pt idx="2418">
                  <c:v>37722</c:v>
                </c:pt>
                <c:pt idx="2419">
                  <c:v>37725</c:v>
                </c:pt>
                <c:pt idx="2420">
                  <c:v>37726</c:v>
                </c:pt>
                <c:pt idx="2421">
                  <c:v>37727</c:v>
                </c:pt>
                <c:pt idx="2422">
                  <c:v>37728</c:v>
                </c:pt>
                <c:pt idx="2423">
                  <c:v>37729</c:v>
                </c:pt>
                <c:pt idx="2424">
                  <c:v>37732</c:v>
                </c:pt>
                <c:pt idx="2425">
                  <c:v>37733</c:v>
                </c:pt>
                <c:pt idx="2426">
                  <c:v>37734</c:v>
                </c:pt>
                <c:pt idx="2427">
                  <c:v>37735</c:v>
                </c:pt>
                <c:pt idx="2428">
                  <c:v>37736</c:v>
                </c:pt>
                <c:pt idx="2429">
                  <c:v>37739</c:v>
                </c:pt>
                <c:pt idx="2430">
                  <c:v>37740</c:v>
                </c:pt>
                <c:pt idx="2431">
                  <c:v>37741</c:v>
                </c:pt>
                <c:pt idx="2432">
                  <c:v>37742</c:v>
                </c:pt>
                <c:pt idx="2433">
                  <c:v>37743</c:v>
                </c:pt>
                <c:pt idx="2434">
                  <c:v>37746</c:v>
                </c:pt>
                <c:pt idx="2435">
                  <c:v>37747</c:v>
                </c:pt>
                <c:pt idx="2436">
                  <c:v>37748</c:v>
                </c:pt>
                <c:pt idx="2437">
                  <c:v>37749</c:v>
                </c:pt>
                <c:pt idx="2438">
                  <c:v>37750</c:v>
                </c:pt>
                <c:pt idx="2439">
                  <c:v>37753</c:v>
                </c:pt>
                <c:pt idx="2440">
                  <c:v>37754</c:v>
                </c:pt>
                <c:pt idx="2441">
                  <c:v>37755</c:v>
                </c:pt>
                <c:pt idx="2442">
                  <c:v>37756</c:v>
                </c:pt>
                <c:pt idx="2443">
                  <c:v>37757</c:v>
                </c:pt>
                <c:pt idx="2444">
                  <c:v>37760</c:v>
                </c:pt>
                <c:pt idx="2445">
                  <c:v>37761</c:v>
                </c:pt>
                <c:pt idx="2446">
                  <c:v>37762</c:v>
                </c:pt>
                <c:pt idx="2447">
                  <c:v>37763</c:v>
                </c:pt>
                <c:pt idx="2448">
                  <c:v>37764</c:v>
                </c:pt>
                <c:pt idx="2449">
                  <c:v>37767</c:v>
                </c:pt>
                <c:pt idx="2450">
                  <c:v>37768</c:v>
                </c:pt>
                <c:pt idx="2451">
                  <c:v>37769</c:v>
                </c:pt>
                <c:pt idx="2452">
                  <c:v>37770</c:v>
                </c:pt>
                <c:pt idx="2453">
                  <c:v>37771</c:v>
                </c:pt>
                <c:pt idx="2454">
                  <c:v>37774</c:v>
                </c:pt>
                <c:pt idx="2455">
                  <c:v>37775</c:v>
                </c:pt>
                <c:pt idx="2456">
                  <c:v>37776</c:v>
                </c:pt>
                <c:pt idx="2457">
                  <c:v>37777</c:v>
                </c:pt>
                <c:pt idx="2458">
                  <c:v>37778</c:v>
                </c:pt>
                <c:pt idx="2459">
                  <c:v>37781</c:v>
                </c:pt>
                <c:pt idx="2460">
                  <c:v>37782</c:v>
                </c:pt>
                <c:pt idx="2461">
                  <c:v>37783</c:v>
                </c:pt>
                <c:pt idx="2462">
                  <c:v>37784</c:v>
                </c:pt>
                <c:pt idx="2463">
                  <c:v>37785</c:v>
                </c:pt>
                <c:pt idx="2464">
                  <c:v>37788</c:v>
                </c:pt>
                <c:pt idx="2465">
                  <c:v>37789</c:v>
                </c:pt>
                <c:pt idx="2466">
                  <c:v>37790</c:v>
                </c:pt>
                <c:pt idx="2467">
                  <c:v>37791</c:v>
                </c:pt>
                <c:pt idx="2468">
                  <c:v>37792</c:v>
                </c:pt>
                <c:pt idx="2469">
                  <c:v>37795</c:v>
                </c:pt>
                <c:pt idx="2470">
                  <c:v>37796</c:v>
                </c:pt>
                <c:pt idx="2471">
                  <c:v>37797</c:v>
                </c:pt>
                <c:pt idx="2472">
                  <c:v>37798</c:v>
                </c:pt>
                <c:pt idx="2473">
                  <c:v>37799</c:v>
                </c:pt>
                <c:pt idx="2474">
                  <c:v>37802</c:v>
                </c:pt>
                <c:pt idx="2475">
                  <c:v>37803</c:v>
                </c:pt>
                <c:pt idx="2476">
                  <c:v>37804</c:v>
                </c:pt>
                <c:pt idx="2477">
                  <c:v>37805</c:v>
                </c:pt>
                <c:pt idx="2478">
                  <c:v>37806</c:v>
                </c:pt>
                <c:pt idx="2479">
                  <c:v>37809</c:v>
                </c:pt>
                <c:pt idx="2480">
                  <c:v>37810</c:v>
                </c:pt>
                <c:pt idx="2481">
                  <c:v>37811</c:v>
                </c:pt>
                <c:pt idx="2482">
                  <c:v>37812</c:v>
                </c:pt>
                <c:pt idx="2483">
                  <c:v>37813</c:v>
                </c:pt>
                <c:pt idx="2484">
                  <c:v>37816</c:v>
                </c:pt>
                <c:pt idx="2485">
                  <c:v>37817</c:v>
                </c:pt>
                <c:pt idx="2486">
                  <c:v>37818</c:v>
                </c:pt>
                <c:pt idx="2487">
                  <c:v>37819</c:v>
                </c:pt>
                <c:pt idx="2488">
                  <c:v>37820</c:v>
                </c:pt>
                <c:pt idx="2489">
                  <c:v>37823</c:v>
                </c:pt>
                <c:pt idx="2490">
                  <c:v>37824</c:v>
                </c:pt>
                <c:pt idx="2491">
                  <c:v>37825</c:v>
                </c:pt>
                <c:pt idx="2492">
                  <c:v>37826</c:v>
                </c:pt>
                <c:pt idx="2493">
                  <c:v>37827</c:v>
                </c:pt>
                <c:pt idx="2494">
                  <c:v>37830</c:v>
                </c:pt>
                <c:pt idx="2495">
                  <c:v>37831</c:v>
                </c:pt>
                <c:pt idx="2496">
                  <c:v>37832</c:v>
                </c:pt>
                <c:pt idx="2497">
                  <c:v>37833</c:v>
                </c:pt>
                <c:pt idx="2498">
                  <c:v>37834</c:v>
                </c:pt>
                <c:pt idx="2499">
                  <c:v>37837</c:v>
                </c:pt>
                <c:pt idx="2500">
                  <c:v>37838</c:v>
                </c:pt>
                <c:pt idx="2501">
                  <c:v>37839</c:v>
                </c:pt>
                <c:pt idx="2502">
                  <c:v>37840</c:v>
                </c:pt>
                <c:pt idx="2503">
                  <c:v>37841</c:v>
                </c:pt>
                <c:pt idx="2504">
                  <c:v>37844</c:v>
                </c:pt>
                <c:pt idx="2505">
                  <c:v>37845</c:v>
                </c:pt>
                <c:pt idx="2506">
                  <c:v>37846</c:v>
                </c:pt>
                <c:pt idx="2507">
                  <c:v>37847</c:v>
                </c:pt>
                <c:pt idx="2508">
                  <c:v>37848</c:v>
                </c:pt>
                <c:pt idx="2509">
                  <c:v>37851</c:v>
                </c:pt>
                <c:pt idx="2510">
                  <c:v>37852</c:v>
                </c:pt>
                <c:pt idx="2511">
                  <c:v>37853</c:v>
                </c:pt>
                <c:pt idx="2512">
                  <c:v>37854</c:v>
                </c:pt>
                <c:pt idx="2513">
                  <c:v>37855</c:v>
                </c:pt>
                <c:pt idx="2514">
                  <c:v>37858</c:v>
                </c:pt>
                <c:pt idx="2515">
                  <c:v>37859</c:v>
                </c:pt>
                <c:pt idx="2516">
                  <c:v>37860</c:v>
                </c:pt>
                <c:pt idx="2517">
                  <c:v>37861</c:v>
                </c:pt>
                <c:pt idx="2518">
                  <c:v>37862</c:v>
                </c:pt>
                <c:pt idx="2519">
                  <c:v>37865</c:v>
                </c:pt>
                <c:pt idx="2520">
                  <c:v>37866</c:v>
                </c:pt>
                <c:pt idx="2521">
                  <c:v>37867</c:v>
                </c:pt>
                <c:pt idx="2522">
                  <c:v>37868</c:v>
                </c:pt>
                <c:pt idx="2523">
                  <c:v>37869</c:v>
                </c:pt>
                <c:pt idx="2524">
                  <c:v>37872</c:v>
                </c:pt>
                <c:pt idx="2525">
                  <c:v>37873</c:v>
                </c:pt>
                <c:pt idx="2526">
                  <c:v>37874</c:v>
                </c:pt>
                <c:pt idx="2527">
                  <c:v>37875</c:v>
                </c:pt>
                <c:pt idx="2528">
                  <c:v>37876</c:v>
                </c:pt>
                <c:pt idx="2529">
                  <c:v>37879</c:v>
                </c:pt>
                <c:pt idx="2530">
                  <c:v>37880</c:v>
                </c:pt>
                <c:pt idx="2531">
                  <c:v>37881</c:v>
                </c:pt>
                <c:pt idx="2532">
                  <c:v>37882</c:v>
                </c:pt>
                <c:pt idx="2533">
                  <c:v>37883</c:v>
                </c:pt>
                <c:pt idx="2534">
                  <c:v>37886</c:v>
                </c:pt>
                <c:pt idx="2535">
                  <c:v>37887</c:v>
                </c:pt>
                <c:pt idx="2536">
                  <c:v>37888</c:v>
                </c:pt>
                <c:pt idx="2537">
                  <c:v>37889</c:v>
                </c:pt>
                <c:pt idx="2538">
                  <c:v>37890</c:v>
                </c:pt>
                <c:pt idx="2539">
                  <c:v>37893</c:v>
                </c:pt>
                <c:pt idx="2540">
                  <c:v>37894</c:v>
                </c:pt>
                <c:pt idx="2541">
                  <c:v>37895</c:v>
                </c:pt>
                <c:pt idx="2542">
                  <c:v>37896</c:v>
                </c:pt>
                <c:pt idx="2543">
                  <c:v>37897</c:v>
                </c:pt>
                <c:pt idx="2544">
                  <c:v>37900</c:v>
                </c:pt>
                <c:pt idx="2545">
                  <c:v>37901</c:v>
                </c:pt>
                <c:pt idx="2546">
                  <c:v>37902</c:v>
                </c:pt>
                <c:pt idx="2547">
                  <c:v>37903</c:v>
                </c:pt>
                <c:pt idx="2548">
                  <c:v>37904</c:v>
                </c:pt>
                <c:pt idx="2549">
                  <c:v>37907</c:v>
                </c:pt>
                <c:pt idx="2550">
                  <c:v>37908</c:v>
                </c:pt>
                <c:pt idx="2551">
                  <c:v>37909</c:v>
                </c:pt>
                <c:pt idx="2552">
                  <c:v>37910</c:v>
                </c:pt>
                <c:pt idx="2553">
                  <c:v>37911</c:v>
                </c:pt>
                <c:pt idx="2554">
                  <c:v>37914</c:v>
                </c:pt>
                <c:pt idx="2555">
                  <c:v>37915</c:v>
                </c:pt>
                <c:pt idx="2556">
                  <c:v>37916</c:v>
                </c:pt>
                <c:pt idx="2557">
                  <c:v>37917</c:v>
                </c:pt>
                <c:pt idx="2558">
                  <c:v>37918</c:v>
                </c:pt>
                <c:pt idx="2559">
                  <c:v>37921</c:v>
                </c:pt>
                <c:pt idx="2560">
                  <c:v>37922</c:v>
                </c:pt>
                <c:pt idx="2561">
                  <c:v>37923</c:v>
                </c:pt>
                <c:pt idx="2562">
                  <c:v>37924</c:v>
                </c:pt>
                <c:pt idx="2563">
                  <c:v>37925</c:v>
                </c:pt>
                <c:pt idx="2564">
                  <c:v>37928</c:v>
                </c:pt>
                <c:pt idx="2565">
                  <c:v>37929</c:v>
                </c:pt>
                <c:pt idx="2566">
                  <c:v>37930</c:v>
                </c:pt>
                <c:pt idx="2567">
                  <c:v>37931</c:v>
                </c:pt>
                <c:pt idx="2568">
                  <c:v>37932</c:v>
                </c:pt>
                <c:pt idx="2569">
                  <c:v>37935</c:v>
                </c:pt>
                <c:pt idx="2570">
                  <c:v>37936</c:v>
                </c:pt>
                <c:pt idx="2571">
                  <c:v>37937</c:v>
                </c:pt>
                <c:pt idx="2572">
                  <c:v>37938</c:v>
                </c:pt>
                <c:pt idx="2573">
                  <c:v>37939</c:v>
                </c:pt>
                <c:pt idx="2574">
                  <c:v>37942</c:v>
                </c:pt>
                <c:pt idx="2575">
                  <c:v>37943</c:v>
                </c:pt>
                <c:pt idx="2576">
                  <c:v>37944</c:v>
                </c:pt>
                <c:pt idx="2577">
                  <c:v>37945</c:v>
                </c:pt>
                <c:pt idx="2578">
                  <c:v>37946</c:v>
                </c:pt>
                <c:pt idx="2579">
                  <c:v>37949</c:v>
                </c:pt>
                <c:pt idx="2580">
                  <c:v>37950</c:v>
                </c:pt>
                <c:pt idx="2581">
                  <c:v>37951</c:v>
                </c:pt>
                <c:pt idx="2582">
                  <c:v>37952</c:v>
                </c:pt>
                <c:pt idx="2583">
                  <c:v>37953</c:v>
                </c:pt>
                <c:pt idx="2584">
                  <c:v>37956</c:v>
                </c:pt>
                <c:pt idx="2585">
                  <c:v>37957</c:v>
                </c:pt>
                <c:pt idx="2586">
                  <c:v>37958</c:v>
                </c:pt>
                <c:pt idx="2587">
                  <c:v>37959</c:v>
                </c:pt>
                <c:pt idx="2588">
                  <c:v>37960</c:v>
                </c:pt>
                <c:pt idx="2589">
                  <c:v>37963</c:v>
                </c:pt>
                <c:pt idx="2590">
                  <c:v>37964</c:v>
                </c:pt>
                <c:pt idx="2591">
                  <c:v>37965</c:v>
                </c:pt>
                <c:pt idx="2592">
                  <c:v>37966</c:v>
                </c:pt>
                <c:pt idx="2593">
                  <c:v>37967</c:v>
                </c:pt>
                <c:pt idx="2594">
                  <c:v>37970</c:v>
                </c:pt>
                <c:pt idx="2595">
                  <c:v>37971</c:v>
                </c:pt>
                <c:pt idx="2596">
                  <c:v>37972</c:v>
                </c:pt>
                <c:pt idx="2597">
                  <c:v>37973</c:v>
                </c:pt>
                <c:pt idx="2598">
                  <c:v>37974</c:v>
                </c:pt>
                <c:pt idx="2599">
                  <c:v>37977</c:v>
                </c:pt>
                <c:pt idx="2600">
                  <c:v>37978</c:v>
                </c:pt>
                <c:pt idx="2601">
                  <c:v>37979</c:v>
                </c:pt>
                <c:pt idx="2602">
                  <c:v>37980</c:v>
                </c:pt>
                <c:pt idx="2603">
                  <c:v>37981</c:v>
                </c:pt>
                <c:pt idx="2604">
                  <c:v>37984</c:v>
                </c:pt>
                <c:pt idx="2605">
                  <c:v>37985</c:v>
                </c:pt>
                <c:pt idx="2606">
                  <c:v>37986</c:v>
                </c:pt>
                <c:pt idx="2607">
                  <c:v>37987</c:v>
                </c:pt>
                <c:pt idx="2608">
                  <c:v>37988</c:v>
                </c:pt>
                <c:pt idx="2609">
                  <c:v>37991</c:v>
                </c:pt>
                <c:pt idx="2610">
                  <c:v>37992</c:v>
                </c:pt>
                <c:pt idx="2611">
                  <c:v>37993</c:v>
                </c:pt>
                <c:pt idx="2612">
                  <c:v>37994</c:v>
                </c:pt>
                <c:pt idx="2613">
                  <c:v>37995</c:v>
                </c:pt>
                <c:pt idx="2614">
                  <c:v>37998</c:v>
                </c:pt>
                <c:pt idx="2615">
                  <c:v>37999</c:v>
                </c:pt>
                <c:pt idx="2616">
                  <c:v>38000</c:v>
                </c:pt>
                <c:pt idx="2617">
                  <c:v>38001</c:v>
                </c:pt>
                <c:pt idx="2618">
                  <c:v>38002</c:v>
                </c:pt>
                <c:pt idx="2619">
                  <c:v>38005</c:v>
                </c:pt>
                <c:pt idx="2620">
                  <c:v>38006</c:v>
                </c:pt>
                <c:pt idx="2621">
                  <c:v>38007</c:v>
                </c:pt>
                <c:pt idx="2622">
                  <c:v>38008</c:v>
                </c:pt>
                <c:pt idx="2623">
                  <c:v>38009</c:v>
                </c:pt>
                <c:pt idx="2624">
                  <c:v>38012</c:v>
                </c:pt>
                <c:pt idx="2625">
                  <c:v>38013</c:v>
                </c:pt>
                <c:pt idx="2626">
                  <c:v>38014</c:v>
                </c:pt>
                <c:pt idx="2627">
                  <c:v>38015</c:v>
                </c:pt>
                <c:pt idx="2628">
                  <c:v>38016</c:v>
                </c:pt>
                <c:pt idx="2629">
                  <c:v>38019</c:v>
                </c:pt>
                <c:pt idx="2630">
                  <c:v>38020</c:v>
                </c:pt>
                <c:pt idx="2631">
                  <c:v>38021</c:v>
                </c:pt>
                <c:pt idx="2632">
                  <c:v>38022</c:v>
                </c:pt>
                <c:pt idx="2633">
                  <c:v>38023</c:v>
                </c:pt>
                <c:pt idx="2634">
                  <c:v>38026</c:v>
                </c:pt>
                <c:pt idx="2635">
                  <c:v>38027</c:v>
                </c:pt>
                <c:pt idx="2636">
                  <c:v>38028</c:v>
                </c:pt>
                <c:pt idx="2637">
                  <c:v>38029</c:v>
                </c:pt>
                <c:pt idx="2638">
                  <c:v>38030</c:v>
                </c:pt>
                <c:pt idx="2639">
                  <c:v>38033</c:v>
                </c:pt>
                <c:pt idx="2640">
                  <c:v>38034</c:v>
                </c:pt>
                <c:pt idx="2641">
                  <c:v>38035</c:v>
                </c:pt>
                <c:pt idx="2642">
                  <c:v>38036</c:v>
                </c:pt>
                <c:pt idx="2643">
                  <c:v>38037</c:v>
                </c:pt>
                <c:pt idx="2644">
                  <c:v>38040</c:v>
                </c:pt>
                <c:pt idx="2645">
                  <c:v>38041</c:v>
                </c:pt>
                <c:pt idx="2646">
                  <c:v>38042</c:v>
                </c:pt>
                <c:pt idx="2647">
                  <c:v>38043</c:v>
                </c:pt>
                <c:pt idx="2648">
                  <c:v>38044</c:v>
                </c:pt>
                <c:pt idx="2649">
                  <c:v>38047</c:v>
                </c:pt>
                <c:pt idx="2650">
                  <c:v>38048</c:v>
                </c:pt>
                <c:pt idx="2651">
                  <c:v>38049</c:v>
                </c:pt>
                <c:pt idx="2652">
                  <c:v>38050</c:v>
                </c:pt>
                <c:pt idx="2653">
                  <c:v>38051</c:v>
                </c:pt>
                <c:pt idx="2654">
                  <c:v>38054</c:v>
                </c:pt>
                <c:pt idx="2655">
                  <c:v>38055</c:v>
                </c:pt>
                <c:pt idx="2656">
                  <c:v>38056</c:v>
                </c:pt>
                <c:pt idx="2657">
                  <c:v>38057</c:v>
                </c:pt>
                <c:pt idx="2658">
                  <c:v>38058</c:v>
                </c:pt>
                <c:pt idx="2659">
                  <c:v>38061</c:v>
                </c:pt>
                <c:pt idx="2660">
                  <c:v>38062</c:v>
                </c:pt>
                <c:pt idx="2661">
                  <c:v>38063</c:v>
                </c:pt>
                <c:pt idx="2662">
                  <c:v>38064</c:v>
                </c:pt>
                <c:pt idx="2663">
                  <c:v>38065</c:v>
                </c:pt>
                <c:pt idx="2664">
                  <c:v>38068</c:v>
                </c:pt>
                <c:pt idx="2665">
                  <c:v>38069</c:v>
                </c:pt>
                <c:pt idx="2666">
                  <c:v>38070</c:v>
                </c:pt>
                <c:pt idx="2667">
                  <c:v>38071</c:v>
                </c:pt>
                <c:pt idx="2668">
                  <c:v>38072</c:v>
                </c:pt>
                <c:pt idx="2669">
                  <c:v>38075</c:v>
                </c:pt>
                <c:pt idx="2670">
                  <c:v>38076</c:v>
                </c:pt>
                <c:pt idx="2671">
                  <c:v>38077</c:v>
                </c:pt>
                <c:pt idx="2672">
                  <c:v>38078</c:v>
                </c:pt>
                <c:pt idx="2673">
                  <c:v>38079</c:v>
                </c:pt>
                <c:pt idx="2674">
                  <c:v>38082</c:v>
                </c:pt>
                <c:pt idx="2675">
                  <c:v>38083</c:v>
                </c:pt>
                <c:pt idx="2676">
                  <c:v>38084</c:v>
                </c:pt>
                <c:pt idx="2677">
                  <c:v>38085</c:v>
                </c:pt>
                <c:pt idx="2678">
                  <c:v>38086</c:v>
                </c:pt>
                <c:pt idx="2679">
                  <c:v>38089</c:v>
                </c:pt>
                <c:pt idx="2680">
                  <c:v>38090</c:v>
                </c:pt>
                <c:pt idx="2681">
                  <c:v>38091</c:v>
                </c:pt>
                <c:pt idx="2682">
                  <c:v>38092</c:v>
                </c:pt>
                <c:pt idx="2683">
                  <c:v>38093</c:v>
                </c:pt>
                <c:pt idx="2684">
                  <c:v>38096</c:v>
                </c:pt>
                <c:pt idx="2685">
                  <c:v>38097</c:v>
                </c:pt>
                <c:pt idx="2686">
                  <c:v>38098</c:v>
                </c:pt>
                <c:pt idx="2687">
                  <c:v>38099</c:v>
                </c:pt>
                <c:pt idx="2688">
                  <c:v>38100</c:v>
                </c:pt>
                <c:pt idx="2689">
                  <c:v>38103</c:v>
                </c:pt>
                <c:pt idx="2690">
                  <c:v>38104</c:v>
                </c:pt>
                <c:pt idx="2691">
                  <c:v>38105</c:v>
                </c:pt>
                <c:pt idx="2692">
                  <c:v>38106</c:v>
                </c:pt>
                <c:pt idx="2693">
                  <c:v>38107</c:v>
                </c:pt>
                <c:pt idx="2694">
                  <c:v>38110</c:v>
                </c:pt>
                <c:pt idx="2695">
                  <c:v>38111</c:v>
                </c:pt>
                <c:pt idx="2696">
                  <c:v>38112</c:v>
                </c:pt>
                <c:pt idx="2697">
                  <c:v>38113</c:v>
                </c:pt>
                <c:pt idx="2698">
                  <c:v>38114</c:v>
                </c:pt>
                <c:pt idx="2699">
                  <c:v>38117</c:v>
                </c:pt>
                <c:pt idx="2700">
                  <c:v>38118</c:v>
                </c:pt>
                <c:pt idx="2701">
                  <c:v>38119</c:v>
                </c:pt>
                <c:pt idx="2702">
                  <c:v>38120</c:v>
                </c:pt>
                <c:pt idx="2703">
                  <c:v>38121</c:v>
                </c:pt>
                <c:pt idx="2704">
                  <c:v>38124</c:v>
                </c:pt>
                <c:pt idx="2705">
                  <c:v>38125</c:v>
                </c:pt>
                <c:pt idx="2706">
                  <c:v>38126</c:v>
                </c:pt>
                <c:pt idx="2707">
                  <c:v>38127</c:v>
                </c:pt>
                <c:pt idx="2708">
                  <c:v>38128</c:v>
                </c:pt>
                <c:pt idx="2709">
                  <c:v>38131</c:v>
                </c:pt>
                <c:pt idx="2710">
                  <c:v>38132</c:v>
                </c:pt>
                <c:pt idx="2711">
                  <c:v>38133</c:v>
                </c:pt>
                <c:pt idx="2712">
                  <c:v>38134</c:v>
                </c:pt>
                <c:pt idx="2713">
                  <c:v>38135</c:v>
                </c:pt>
                <c:pt idx="2714">
                  <c:v>38138</c:v>
                </c:pt>
                <c:pt idx="2715">
                  <c:v>38139</c:v>
                </c:pt>
                <c:pt idx="2716">
                  <c:v>38140</c:v>
                </c:pt>
                <c:pt idx="2717">
                  <c:v>38141</c:v>
                </c:pt>
                <c:pt idx="2718">
                  <c:v>38142</c:v>
                </c:pt>
                <c:pt idx="2719">
                  <c:v>38145</c:v>
                </c:pt>
                <c:pt idx="2720">
                  <c:v>38146</c:v>
                </c:pt>
                <c:pt idx="2721">
                  <c:v>38147</c:v>
                </c:pt>
                <c:pt idx="2722">
                  <c:v>38148</c:v>
                </c:pt>
                <c:pt idx="2723">
                  <c:v>38149</c:v>
                </c:pt>
                <c:pt idx="2724">
                  <c:v>38152</c:v>
                </c:pt>
                <c:pt idx="2725">
                  <c:v>38153</c:v>
                </c:pt>
                <c:pt idx="2726">
                  <c:v>38154</c:v>
                </c:pt>
                <c:pt idx="2727">
                  <c:v>38155</c:v>
                </c:pt>
                <c:pt idx="2728">
                  <c:v>38156</c:v>
                </c:pt>
                <c:pt idx="2729">
                  <c:v>38159</c:v>
                </c:pt>
                <c:pt idx="2730">
                  <c:v>38160</c:v>
                </c:pt>
                <c:pt idx="2731">
                  <c:v>38161</c:v>
                </c:pt>
                <c:pt idx="2732">
                  <c:v>38162</c:v>
                </c:pt>
                <c:pt idx="2733">
                  <c:v>38163</c:v>
                </c:pt>
                <c:pt idx="2734">
                  <c:v>38166</c:v>
                </c:pt>
                <c:pt idx="2735">
                  <c:v>38167</c:v>
                </c:pt>
                <c:pt idx="2736">
                  <c:v>38168</c:v>
                </c:pt>
                <c:pt idx="2737">
                  <c:v>38169</c:v>
                </c:pt>
                <c:pt idx="2738">
                  <c:v>38170</c:v>
                </c:pt>
                <c:pt idx="2739">
                  <c:v>38173</c:v>
                </c:pt>
                <c:pt idx="2740">
                  <c:v>38174</c:v>
                </c:pt>
                <c:pt idx="2741">
                  <c:v>38175</c:v>
                </c:pt>
                <c:pt idx="2742">
                  <c:v>38176</c:v>
                </c:pt>
                <c:pt idx="2743">
                  <c:v>38177</c:v>
                </c:pt>
                <c:pt idx="2744">
                  <c:v>38180</c:v>
                </c:pt>
                <c:pt idx="2745">
                  <c:v>38181</c:v>
                </c:pt>
                <c:pt idx="2746">
                  <c:v>38182</c:v>
                </c:pt>
                <c:pt idx="2747">
                  <c:v>38183</c:v>
                </c:pt>
                <c:pt idx="2748">
                  <c:v>38184</c:v>
                </c:pt>
                <c:pt idx="2749">
                  <c:v>38187</c:v>
                </c:pt>
                <c:pt idx="2750">
                  <c:v>38188</c:v>
                </c:pt>
                <c:pt idx="2751">
                  <c:v>38189</c:v>
                </c:pt>
                <c:pt idx="2752">
                  <c:v>38190</c:v>
                </c:pt>
                <c:pt idx="2753">
                  <c:v>38191</c:v>
                </c:pt>
                <c:pt idx="2754">
                  <c:v>38194</c:v>
                </c:pt>
                <c:pt idx="2755">
                  <c:v>38195</c:v>
                </c:pt>
                <c:pt idx="2756">
                  <c:v>38196</c:v>
                </c:pt>
                <c:pt idx="2757">
                  <c:v>38197</c:v>
                </c:pt>
                <c:pt idx="2758">
                  <c:v>38198</c:v>
                </c:pt>
                <c:pt idx="2759">
                  <c:v>38201</c:v>
                </c:pt>
                <c:pt idx="2760">
                  <c:v>38202</c:v>
                </c:pt>
                <c:pt idx="2761">
                  <c:v>38203</c:v>
                </c:pt>
                <c:pt idx="2762">
                  <c:v>38204</c:v>
                </c:pt>
                <c:pt idx="2763">
                  <c:v>38205</c:v>
                </c:pt>
                <c:pt idx="2764">
                  <c:v>38208</c:v>
                </c:pt>
                <c:pt idx="2765">
                  <c:v>38209</c:v>
                </c:pt>
                <c:pt idx="2766">
                  <c:v>38210</c:v>
                </c:pt>
                <c:pt idx="2767">
                  <c:v>38211</c:v>
                </c:pt>
                <c:pt idx="2768">
                  <c:v>38212</c:v>
                </c:pt>
                <c:pt idx="2769">
                  <c:v>38215</c:v>
                </c:pt>
                <c:pt idx="2770">
                  <c:v>38216</c:v>
                </c:pt>
                <c:pt idx="2771">
                  <c:v>38217</c:v>
                </c:pt>
                <c:pt idx="2772">
                  <c:v>38218</c:v>
                </c:pt>
                <c:pt idx="2773">
                  <c:v>38219</c:v>
                </c:pt>
                <c:pt idx="2774">
                  <c:v>38222</c:v>
                </c:pt>
                <c:pt idx="2775">
                  <c:v>38223</c:v>
                </c:pt>
                <c:pt idx="2776">
                  <c:v>38224</c:v>
                </c:pt>
                <c:pt idx="2777">
                  <c:v>38225</c:v>
                </c:pt>
                <c:pt idx="2778">
                  <c:v>38226</c:v>
                </c:pt>
                <c:pt idx="2779">
                  <c:v>38229</c:v>
                </c:pt>
                <c:pt idx="2780">
                  <c:v>38230</c:v>
                </c:pt>
                <c:pt idx="2781">
                  <c:v>38231</c:v>
                </c:pt>
                <c:pt idx="2782">
                  <c:v>38232</c:v>
                </c:pt>
                <c:pt idx="2783">
                  <c:v>38233</c:v>
                </c:pt>
                <c:pt idx="2784">
                  <c:v>38236</c:v>
                </c:pt>
                <c:pt idx="2785">
                  <c:v>38237</c:v>
                </c:pt>
                <c:pt idx="2786">
                  <c:v>38238</c:v>
                </c:pt>
                <c:pt idx="2787">
                  <c:v>38239</c:v>
                </c:pt>
                <c:pt idx="2788">
                  <c:v>38240</c:v>
                </c:pt>
                <c:pt idx="2789">
                  <c:v>38243</c:v>
                </c:pt>
                <c:pt idx="2790">
                  <c:v>38244</c:v>
                </c:pt>
                <c:pt idx="2791">
                  <c:v>38245</c:v>
                </c:pt>
                <c:pt idx="2792">
                  <c:v>38246</c:v>
                </c:pt>
                <c:pt idx="2793">
                  <c:v>38247</c:v>
                </c:pt>
                <c:pt idx="2794">
                  <c:v>38250</c:v>
                </c:pt>
                <c:pt idx="2795">
                  <c:v>38251</c:v>
                </c:pt>
                <c:pt idx="2796">
                  <c:v>38252</c:v>
                </c:pt>
                <c:pt idx="2797">
                  <c:v>38253</c:v>
                </c:pt>
                <c:pt idx="2798">
                  <c:v>38254</c:v>
                </c:pt>
                <c:pt idx="2799">
                  <c:v>38257</c:v>
                </c:pt>
                <c:pt idx="2800">
                  <c:v>38258</c:v>
                </c:pt>
                <c:pt idx="2801">
                  <c:v>38259</c:v>
                </c:pt>
                <c:pt idx="2802">
                  <c:v>38260</c:v>
                </c:pt>
                <c:pt idx="2803">
                  <c:v>38261</c:v>
                </c:pt>
                <c:pt idx="2804">
                  <c:v>38264</c:v>
                </c:pt>
                <c:pt idx="2805">
                  <c:v>38265</c:v>
                </c:pt>
                <c:pt idx="2806">
                  <c:v>38266</c:v>
                </c:pt>
                <c:pt idx="2807">
                  <c:v>38267</c:v>
                </c:pt>
                <c:pt idx="2808">
                  <c:v>38268</c:v>
                </c:pt>
                <c:pt idx="2809">
                  <c:v>38271</c:v>
                </c:pt>
                <c:pt idx="2810">
                  <c:v>38272</c:v>
                </c:pt>
                <c:pt idx="2811">
                  <c:v>38273</c:v>
                </c:pt>
                <c:pt idx="2812">
                  <c:v>38274</c:v>
                </c:pt>
                <c:pt idx="2813">
                  <c:v>38275</c:v>
                </c:pt>
                <c:pt idx="2814">
                  <c:v>38278</c:v>
                </c:pt>
                <c:pt idx="2815">
                  <c:v>38279</c:v>
                </c:pt>
                <c:pt idx="2816">
                  <c:v>38280</c:v>
                </c:pt>
                <c:pt idx="2817">
                  <c:v>38281</c:v>
                </c:pt>
                <c:pt idx="2818">
                  <c:v>38282</c:v>
                </c:pt>
                <c:pt idx="2819">
                  <c:v>38285</c:v>
                </c:pt>
                <c:pt idx="2820">
                  <c:v>38286</c:v>
                </c:pt>
                <c:pt idx="2821">
                  <c:v>38287</c:v>
                </c:pt>
                <c:pt idx="2822">
                  <c:v>38288</c:v>
                </c:pt>
                <c:pt idx="2823">
                  <c:v>38289</c:v>
                </c:pt>
                <c:pt idx="2824">
                  <c:v>38292</c:v>
                </c:pt>
                <c:pt idx="2825">
                  <c:v>38293</c:v>
                </c:pt>
                <c:pt idx="2826">
                  <c:v>38294</c:v>
                </c:pt>
                <c:pt idx="2827">
                  <c:v>38295</c:v>
                </c:pt>
                <c:pt idx="2828">
                  <c:v>38296</c:v>
                </c:pt>
                <c:pt idx="2829">
                  <c:v>38299</c:v>
                </c:pt>
                <c:pt idx="2830">
                  <c:v>38300</c:v>
                </c:pt>
                <c:pt idx="2831">
                  <c:v>38301</c:v>
                </c:pt>
                <c:pt idx="2832">
                  <c:v>38302</c:v>
                </c:pt>
                <c:pt idx="2833">
                  <c:v>38303</c:v>
                </c:pt>
                <c:pt idx="2834">
                  <c:v>38306</c:v>
                </c:pt>
                <c:pt idx="2835">
                  <c:v>38307</c:v>
                </c:pt>
                <c:pt idx="2836">
                  <c:v>38308</c:v>
                </c:pt>
                <c:pt idx="2837">
                  <c:v>38309</c:v>
                </c:pt>
                <c:pt idx="2838">
                  <c:v>38310</c:v>
                </c:pt>
                <c:pt idx="2839">
                  <c:v>38313</c:v>
                </c:pt>
                <c:pt idx="2840">
                  <c:v>38314</c:v>
                </c:pt>
                <c:pt idx="2841">
                  <c:v>38315</c:v>
                </c:pt>
                <c:pt idx="2842">
                  <c:v>38316</c:v>
                </c:pt>
                <c:pt idx="2843">
                  <c:v>38317</c:v>
                </c:pt>
                <c:pt idx="2844">
                  <c:v>38320</c:v>
                </c:pt>
                <c:pt idx="2845">
                  <c:v>38321</c:v>
                </c:pt>
                <c:pt idx="2846">
                  <c:v>38322</c:v>
                </c:pt>
                <c:pt idx="2847">
                  <c:v>38323</c:v>
                </c:pt>
                <c:pt idx="2848">
                  <c:v>38324</c:v>
                </c:pt>
                <c:pt idx="2849">
                  <c:v>38327</c:v>
                </c:pt>
                <c:pt idx="2850">
                  <c:v>38328</c:v>
                </c:pt>
                <c:pt idx="2851">
                  <c:v>38329</c:v>
                </c:pt>
                <c:pt idx="2852">
                  <c:v>38330</c:v>
                </c:pt>
                <c:pt idx="2853">
                  <c:v>38331</c:v>
                </c:pt>
                <c:pt idx="2854">
                  <c:v>38334</c:v>
                </c:pt>
                <c:pt idx="2855">
                  <c:v>38335</c:v>
                </c:pt>
                <c:pt idx="2856">
                  <c:v>38336</c:v>
                </c:pt>
                <c:pt idx="2857">
                  <c:v>38337</c:v>
                </c:pt>
                <c:pt idx="2858">
                  <c:v>38338</c:v>
                </c:pt>
                <c:pt idx="2859">
                  <c:v>38341</c:v>
                </c:pt>
                <c:pt idx="2860">
                  <c:v>38342</c:v>
                </c:pt>
                <c:pt idx="2861">
                  <c:v>38343</c:v>
                </c:pt>
                <c:pt idx="2862">
                  <c:v>38344</c:v>
                </c:pt>
                <c:pt idx="2863">
                  <c:v>38345</c:v>
                </c:pt>
                <c:pt idx="2864">
                  <c:v>38348</c:v>
                </c:pt>
                <c:pt idx="2865">
                  <c:v>38349</c:v>
                </c:pt>
                <c:pt idx="2866">
                  <c:v>38350</c:v>
                </c:pt>
                <c:pt idx="2867">
                  <c:v>38351</c:v>
                </c:pt>
                <c:pt idx="2868">
                  <c:v>38352</c:v>
                </c:pt>
                <c:pt idx="2869">
                  <c:v>38355</c:v>
                </c:pt>
                <c:pt idx="2870">
                  <c:v>38356</c:v>
                </c:pt>
                <c:pt idx="2871">
                  <c:v>38357</c:v>
                </c:pt>
                <c:pt idx="2872">
                  <c:v>38358</c:v>
                </c:pt>
                <c:pt idx="2873">
                  <c:v>38359</c:v>
                </c:pt>
                <c:pt idx="2874">
                  <c:v>38362</c:v>
                </c:pt>
                <c:pt idx="2875">
                  <c:v>38363</c:v>
                </c:pt>
                <c:pt idx="2876">
                  <c:v>38364</c:v>
                </c:pt>
                <c:pt idx="2877">
                  <c:v>38365</c:v>
                </c:pt>
                <c:pt idx="2878">
                  <c:v>38366</c:v>
                </c:pt>
                <c:pt idx="2879">
                  <c:v>38369</c:v>
                </c:pt>
                <c:pt idx="2880">
                  <c:v>38370</c:v>
                </c:pt>
                <c:pt idx="2881">
                  <c:v>38371</c:v>
                </c:pt>
                <c:pt idx="2882">
                  <c:v>38372</c:v>
                </c:pt>
                <c:pt idx="2883">
                  <c:v>38373</c:v>
                </c:pt>
                <c:pt idx="2884">
                  <c:v>38376</c:v>
                </c:pt>
                <c:pt idx="2885">
                  <c:v>38377</c:v>
                </c:pt>
                <c:pt idx="2886">
                  <c:v>38378</c:v>
                </c:pt>
                <c:pt idx="2887">
                  <c:v>38379</c:v>
                </c:pt>
                <c:pt idx="2888">
                  <c:v>38380</c:v>
                </c:pt>
                <c:pt idx="2889">
                  <c:v>38383</c:v>
                </c:pt>
                <c:pt idx="2890">
                  <c:v>38384</c:v>
                </c:pt>
                <c:pt idx="2891">
                  <c:v>38385</c:v>
                </c:pt>
                <c:pt idx="2892">
                  <c:v>38386</c:v>
                </c:pt>
                <c:pt idx="2893">
                  <c:v>38387</c:v>
                </c:pt>
                <c:pt idx="2894">
                  <c:v>38390</c:v>
                </c:pt>
                <c:pt idx="2895">
                  <c:v>38391</c:v>
                </c:pt>
                <c:pt idx="2896">
                  <c:v>38392</c:v>
                </c:pt>
                <c:pt idx="2897">
                  <c:v>38393</c:v>
                </c:pt>
                <c:pt idx="2898">
                  <c:v>38394</c:v>
                </c:pt>
                <c:pt idx="2899">
                  <c:v>38397</c:v>
                </c:pt>
                <c:pt idx="2900">
                  <c:v>38398</c:v>
                </c:pt>
                <c:pt idx="2901">
                  <c:v>38399</c:v>
                </c:pt>
                <c:pt idx="2902">
                  <c:v>38400</c:v>
                </c:pt>
                <c:pt idx="2903">
                  <c:v>38401</c:v>
                </c:pt>
                <c:pt idx="2904">
                  <c:v>38404</c:v>
                </c:pt>
                <c:pt idx="2905">
                  <c:v>38405</c:v>
                </c:pt>
                <c:pt idx="2906">
                  <c:v>38406</c:v>
                </c:pt>
                <c:pt idx="2907">
                  <c:v>38407</c:v>
                </c:pt>
                <c:pt idx="2908">
                  <c:v>38408</c:v>
                </c:pt>
                <c:pt idx="2909">
                  <c:v>38411</c:v>
                </c:pt>
                <c:pt idx="2910">
                  <c:v>38412</c:v>
                </c:pt>
                <c:pt idx="2911">
                  <c:v>38413</c:v>
                </c:pt>
                <c:pt idx="2912">
                  <c:v>38414</c:v>
                </c:pt>
                <c:pt idx="2913">
                  <c:v>38415</c:v>
                </c:pt>
                <c:pt idx="2914">
                  <c:v>38418</c:v>
                </c:pt>
                <c:pt idx="2915">
                  <c:v>38419</c:v>
                </c:pt>
                <c:pt idx="2916">
                  <c:v>38420</c:v>
                </c:pt>
                <c:pt idx="2917">
                  <c:v>38421</c:v>
                </c:pt>
                <c:pt idx="2918">
                  <c:v>38422</c:v>
                </c:pt>
                <c:pt idx="2919">
                  <c:v>38425</c:v>
                </c:pt>
                <c:pt idx="2920">
                  <c:v>38426</c:v>
                </c:pt>
                <c:pt idx="2921">
                  <c:v>38427</c:v>
                </c:pt>
                <c:pt idx="2922">
                  <c:v>38428</c:v>
                </c:pt>
                <c:pt idx="2923">
                  <c:v>38429</c:v>
                </c:pt>
                <c:pt idx="2924">
                  <c:v>38432</c:v>
                </c:pt>
                <c:pt idx="2925">
                  <c:v>38433</c:v>
                </c:pt>
                <c:pt idx="2926">
                  <c:v>38434</c:v>
                </c:pt>
                <c:pt idx="2927">
                  <c:v>38435</c:v>
                </c:pt>
                <c:pt idx="2928">
                  <c:v>38436</c:v>
                </c:pt>
                <c:pt idx="2929">
                  <c:v>38439</c:v>
                </c:pt>
                <c:pt idx="2930">
                  <c:v>38440</c:v>
                </c:pt>
                <c:pt idx="2931">
                  <c:v>38441</c:v>
                </c:pt>
                <c:pt idx="2932">
                  <c:v>38442</c:v>
                </c:pt>
                <c:pt idx="2933">
                  <c:v>38443</c:v>
                </c:pt>
                <c:pt idx="2934">
                  <c:v>38446</c:v>
                </c:pt>
                <c:pt idx="2935">
                  <c:v>38447</c:v>
                </c:pt>
                <c:pt idx="2936">
                  <c:v>38448</c:v>
                </c:pt>
                <c:pt idx="2937">
                  <c:v>38449</c:v>
                </c:pt>
                <c:pt idx="2938">
                  <c:v>38450</c:v>
                </c:pt>
                <c:pt idx="2939">
                  <c:v>38453</c:v>
                </c:pt>
                <c:pt idx="2940">
                  <c:v>38454</c:v>
                </c:pt>
                <c:pt idx="2941">
                  <c:v>38455</c:v>
                </c:pt>
                <c:pt idx="2942">
                  <c:v>38456</c:v>
                </c:pt>
                <c:pt idx="2943">
                  <c:v>38457</c:v>
                </c:pt>
                <c:pt idx="2944">
                  <c:v>38460</c:v>
                </c:pt>
                <c:pt idx="2945">
                  <c:v>38461</c:v>
                </c:pt>
                <c:pt idx="2946">
                  <c:v>38462</c:v>
                </c:pt>
                <c:pt idx="2947">
                  <c:v>38463</c:v>
                </c:pt>
                <c:pt idx="2948">
                  <c:v>38464</c:v>
                </c:pt>
                <c:pt idx="2949">
                  <c:v>38467</c:v>
                </c:pt>
                <c:pt idx="2950">
                  <c:v>38468</c:v>
                </c:pt>
                <c:pt idx="2951">
                  <c:v>38469</c:v>
                </c:pt>
                <c:pt idx="2952">
                  <c:v>38470</c:v>
                </c:pt>
                <c:pt idx="2953">
                  <c:v>38471</c:v>
                </c:pt>
                <c:pt idx="2954">
                  <c:v>38474</c:v>
                </c:pt>
                <c:pt idx="2955">
                  <c:v>38475</c:v>
                </c:pt>
                <c:pt idx="2956">
                  <c:v>38476</c:v>
                </c:pt>
                <c:pt idx="2957">
                  <c:v>38477</c:v>
                </c:pt>
                <c:pt idx="2958">
                  <c:v>38478</c:v>
                </c:pt>
                <c:pt idx="2959">
                  <c:v>38481</c:v>
                </c:pt>
                <c:pt idx="2960">
                  <c:v>38482</c:v>
                </c:pt>
                <c:pt idx="2961">
                  <c:v>38483</c:v>
                </c:pt>
                <c:pt idx="2962">
                  <c:v>38484</c:v>
                </c:pt>
                <c:pt idx="2963">
                  <c:v>38485</c:v>
                </c:pt>
                <c:pt idx="2964">
                  <c:v>38488</c:v>
                </c:pt>
                <c:pt idx="2965">
                  <c:v>38489</c:v>
                </c:pt>
                <c:pt idx="2966">
                  <c:v>38490</c:v>
                </c:pt>
                <c:pt idx="2967">
                  <c:v>38491</c:v>
                </c:pt>
                <c:pt idx="2968">
                  <c:v>38492</c:v>
                </c:pt>
                <c:pt idx="2969">
                  <c:v>38495</c:v>
                </c:pt>
                <c:pt idx="2970">
                  <c:v>38496</c:v>
                </c:pt>
                <c:pt idx="2971">
                  <c:v>38497</c:v>
                </c:pt>
                <c:pt idx="2972">
                  <c:v>38498</c:v>
                </c:pt>
                <c:pt idx="2973">
                  <c:v>38499</c:v>
                </c:pt>
                <c:pt idx="2974">
                  <c:v>38502</c:v>
                </c:pt>
                <c:pt idx="2975">
                  <c:v>38503</c:v>
                </c:pt>
                <c:pt idx="2976">
                  <c:v>38504</c:v>
                </c:pt>
                <c:pt idx="2977">
                  <c:v>38505</c:v>
                </c:pt>
                <c:pt idx="2978">
                  <c:v>38506</c:v>
                </c:pt>
                <c:pt idx="2979">
                  <c:v>38509</c:v>
                </c:pt>
                <c:pt idx="2980">
                  <c:v>38510</c:v>
                </c:pt>
                <c:pt idx="2981">
                  <c:v>38511</c:v>
                </c:pt>
                <c:pt idx="2982">
                  <c:v>38512</c:v>
                </c:pt>
                <c:pt idx="2983">
                  <c:v>38513</c:v>
                </c:pt>
                <c:pt idx="2984">
                  <c:v>38516</c:v>
                </c:pt>
                <c:pt idx="2985">
                  <c:v>38517</c:v>
                </c:pt>
                <c:pt idx="2986">
                  <c:v>38518</c:v>
                </c:pt>
                <c:pt idx="2987">
                  <c:v>38519</c:v>
                </c:pt>
                <c:pt idx="2988">
                  <c:v>38520</c:v>
                </c:pt>
                <c:pt idx="2989">
                  <c:v>38523</c:v>
                </c:pt>
                <c:pt idx="2990">
                  <c:v>38524</c:v>
                </c:pt>
                <c:pt idx="2991">
                  <c:v>38525</c:v>
                </c:pt>
                <c:pt idx="2992">
                  <c:v>38526</c:v>
                </c:pt>
                <c:pt idx="2993">
                  <c:v>38527</c:v>
                </c:pt>
                <c:pt idx="2994">
                  <c:v>38530</c:v>
                </c:pt>
                <c:pt idx="2995">
                  <c:v>38531</c:v>
                </c:pt>
                <c:pt idx="2996">
                  <c:v>38532</c:v>
                </c:pt>
                <c:pt idx="2997">
                  <c:v>38533</c:v>
                </c:pt>
                <c:pt idx="2998">
                  <c:v>38534</c:v>
                </c:pt>
                <c:pt idx="2999">
                  <c:v>38537</c:v>
                </c:pt>
                <c:pt idx="3000">
                  <c:v>38538</c:v>
                </c:pt>
                <c:pt idx="3001">
                  <c:v>38539</c:v>
                </c:pt>
                <c:pt idx="3002">
                  <c:v>38540</c:v>
                </c:pt>
                <c:pt idx="3003">
                  <c:v>38541</c:v>
                </c:pt>
                <c:pt idx="3004">
                  <c:v>38544</c:v>
                </c:pt>
                <c:pt idx="3005">
                  <c:v>38545</c:v>
                </c:pt>
                <c:pt idx="3006">
                  <c:v>38546</c:v>
                </c:pt>
                <c:pt idx="3007">
                  <c:v>38547</c:v>
                </c:pt>
                <c:pt idx="3008">
                  <c:v>38548</c:v>
                </c:pt>
                <c:pt idx="3009">
                  <c:v>38551</c:v>
                </c:pt>
                <c:pt idx="3010">
                  <c:v>38552</c:v>
                </c:pt>
                <c:pt idx="3011">
                  <c:v>38553</c:v>
                </c:pt>
                <c:pt idx="3012">
                  <c:v>38554</c:v>
                </c:pt>
                <c:pt idx="3013">
                  <c:v>38555</c:v>
                </c:pt>
                <c:pt idx="3014">
                  <c:v>38558</c:v>
                </c:pt>
                <c:pt idx="3015">
                  <c:v>38559</c:v>
                </c:pt>
                <c:pt idx="3016">
                  <c:v>38560</c:v>
                </c:pt>
                <c:pt idx="3017">
                  <c:v>38561</c:v>
                </c:pt>
                <c:pt idx="3018">
                  <c:v>38562</c:v>
                </c:pt>
                <c:pt idx="3019">
                  <c:v>38565</c:v>
                </c:pt>
                <c:pt idx="3020">
                  <c:v>38566</c:v>
                </c:pt>
                <c:pt idx="3021">
                  <c:v>38567</c:v>
                </c:pt>
                <c:pt idx="3022">
                  <c:v>38568</c:v>
                </c:pt>
                <c:pt idx="3023">
                  <c:v>38569</c:v>
                </c:pt>
                <c:pt idx="3024">
                  <c:v>38572</c:v>
                </c:pt>
                <c:pt idx="3025">
                  <c:v>38573</c:v>
                </c:pt>
                <c:pt idx="3026">
                  <c:v>38574</c:v>
                </c:pt>
                <c:pt idx="3027">
                  <c:v>38575</c:v>
                </c:pt>
                <c:pt idx="3028">
                  <c:v>38576</c:v>
                </c:pt>
                <c:pt idx="3029">
                  <c:v>38579</c:v>
                </c:pt>
                <c:pt idx="3030">
                  <c:v>38580</c:v>
                </c:pt>
                <c:pt idx="3031">
                  <c:v>38581</c:v>
                </c:pt>
                <c:pt idx="3032">
                  <c:v>38582</c:v>
                </c:pt>
                <c:pt idx="3033">
                  <c:v>38583</c:v>
                </c:pt>
                <c:pt idx="3034">
                  <c:v>38586</c:v>
                </c:pt>
                <c:pt idx="3035">
                  <c:v>38587</c:v>
                </c:pt>
                <c:pt idx="3036">
                  <c:v>38588</c:v>
                </c:pt>
                <c:pt idx="3037">
                  <c:v>38589</c:v>
                </c:pt>
                <c:pt idx="3038">
                  <c:v>38590</c:v>
                </c:pt>
                <c:pt idx="3039">
                  <c:v>38593</c:v>
                </c:pt>
                <c:pt idx="3040">
                  <c:v>38594</c:v>
                </c:pt>
                <c:pt idx="3041">
                  <c:v>38595</c:v>
                </c:pt>
                <c:pt idx="3042">
                  <c:v>38596</c:v>
                </c:pt>
                <c:pt idx="3043">
                  <c:v>38597</c:v>
                </c:pt>
                <c:pt idx="3044">
                  <c:v>38600</c:v>
                </c:pt>
                <c:pt idx="3045">
                  <c:v>38601</c:v>
                </c:pt>
                <c:pt idx="3046">
                  <c:v>38602</c:v>
                </c:pt>
                <c:pt idx="3047">
                  <c:v>38603</c:v>
                </c:pt>
                <c:pt idx="3048">
                  <c:v>38604</c:v>
                </c:pt>
                <c:pt idx="3049">
                  <c:v>38607</c:v>
                </c:pt>
                <c:pt idx="3050">
                  <c:v>38608</c:v>
                </c:pt>
                <c:pt idx="3051">
                  <c:v>38609</c:v>
                </c:pt>
                <c:pt idx="3052">
                  <c:v>38610</c:v>
                </c:pt>
                <c:pt idx="3053">
                  <c:v>38611</c:v>
                </c:pt>
                <c:pt idx="3054">
                  <c:v>38614</c:v>
                </c:pt>
                <c:pt idx="3055">
                  <c:v>38615</c:v>
                </c:pt>
                <c:pt idx="3056">
                  <c:v>38616</c:v>
                </c:pt>
                <c:pt idx="3057">
                  <c:v>38617</c:v>
                </c:pt>
                <c:pt idx="3058">
                  <c:v>38618</c:v>
                </c:pt>
                <c:pt idx="3059">
                  <c:v>38621</c:v>
                </c:pt>
                <c:pt idx="3060">
                  <c:v>38622</c:v>
                </c:pt>
                <c:pt idx="3061">
                  <c:v>38623</c:v>
                </c:pt>
                <c:pt idx="3062">
                  <c:v>38624</c:v>
                </c:pt>
                <c:pt idx="3063">
                  <c:v>38625</c:v>
                </c:pt>
                <c:pt idx="3064">
                  <c:v>38628</c:v>
                </c:pt>
                <c:pt idx="3065">
                  <c:v>38629</c:v>
                </c:pt>
                <c:pt idx="3066">
                  <c:v>38630</c:v>
                </c:pt>
                <c:pt idx="3067">
                  <c:v>38631</c:v>
                </c:pt>
                <c:pt idx="3068">
                  <c:v>38632</c:v>
                </c:pt>
                <c:pt idx="3069">
                  <c:v>38635</c:v>
                </c:pt>
                <c:pt idx="3070">
                  <c:v>38636</c:v>
                </c:pt>
                <c:pt idx="3071">
                  <c:v>38637</c:v>
                </c:pt>
                <c:pt idx="3072">
                  <c:v>38638</c:v>
                </c:pt>
                <c:pt idx="3073">
                  <c:v>38639</c:v>
                </c:pt>
                <c:pt idx="3074">
                  <c:v>38642</c:v>
                </c:pt>
                <c:pt idx="3075">
                  <c:v>38643</c:v>
                </c:pt>
                <c:pt idx="3076">
                  <c:v>38644</c:v>
                </c:pt>
                <c:pt idx="3077">
                  <c:v>38645</c:v>
                </c:pt>
                <c:pt idx="3078">
                  <c:v>38646</c:v>
                </c:pt>
                <c:pt idx="3079">
                  <c:v>38649</c:v>
                </c:pt>
                <c:pt idx="3080">
                  <c:v>38650</c:v>
                </c:pt>
                <c:pt idx="3081">
                  <c:v>38651</c:v>
                </c:pt>
                <c:pt idx="3082">
                  <c:v>38652</c:v>
                </c:pt>
                <c:pt idx="3083">
                  <c:v>38653</c:v>
                </c:pt>
                <c:pt idx="3084">
                  <c:v>38656</c:v>
                </c:pt>
                <c:pt idx="3085">
                  <c:v>38657</c:v>
                </c:pt>
                <c:pt idx="3086">
                  <c:v>38658</c:v>
                </c:pt>
                <c:pt idx="3087">
                  <c:v>38659</c:v>
                </c:pt>
                <c:pt idx="3088">
                  <c:v>38660</c:v>
                </c:pt>
                <c:pt idx="3089">
                  <c:v>38663</c:v>
                </c:pt>
                <c:pt idx="3090">
                  <c:v>38664</c:v>
                </c:pt>
                <c:pt idx="3091">
                  <c:v>38665</c:v>
                </c:pt>
                <c:pt idx="3092">
                  <c:v>38666</c:v>
                </c:pt>
                <c:pt idx="3093">
                  <c:v>38667</c:v>
                </c:pt>
                <c:pt idx="3094">
                  <c:v>38670</c:v>
                </c:pt>
                <c:pt idx="3095">
                  <c:v>38671</c:v>
                </c:pt>
                <c:pt idx="3096">
                  <c:v>38672</c:v>
                </c:pt>
                <c:pt idx="3097">
                  <c:v>38673</c:v>
                </c:pt>
                <c:pt idx="3098">
                  <c:v>38674</c:v>
                </c:pt>
                <c:pt idx="3099">
                  <c:v>38677</c:v>
                </c:pt>
                <c:pt idx="3100">
                  <c:v>38678</c:v>
                </c:pt>
                <c:pt idx="3101">
                  <c:v>38679</c:v>
                </c:pt>
                <c:pt idx="3102">
                  <c:v>38680</c:v>
                </c:pt>
                <c:pt idx="3103">
                  <c:v>38681</c:v>
                </c:pt>
                <c:pt idx="3104">
                  <c:v>38684</c:v>
                </c:pt>
                <c:pt idx="3105">
                  <c:v>38685</c:v>
                </c:pt>
                <c:pt idx="3106">
                  <c:v>38686</c:v>
                </c:pt>
                <c:pt idx="3107">
                  <c:v>38687</c:v>
                </c:pt>
                <c:pt idx="3108">
                  <c:v>38688</c:v>
                </c:pt>
                <c:pt idx="3109">
                  <c:v>38691</c:v>
                </c:pt>
                <c:pt idx="3110">
                  <c:v>38692</c:v>
                </c:pt>
                <c:pt idx="3111">
                  <c:v>38693</c:v>
                </c:pt>
                <c:pt idx="3112">
                  <c:v>38694</c:v>
                </c:pt>
                <c:pt idx="3113">
                  <c:v>38695</c:v>
                </c:pt>
                <c:pt idx="3114">
                  <c:v>38698</c:v>
                </c:pt>
                <c:pt idx="3115">
                  <c:v>38699</c:v>
                </c:pt>
                <c:pt idx="3116">
                  <c:v>38700</c:v>
                </c:pt>
                <c:pt idx="3117">
                  <c:v>38701</c:v>
                </c:pt>
                <c:pt idx="3118">
                  <c:v>38702</c:v>
                </c:pt>
                <c:pt idx="3119">
                  <c:v>38705</c:v>
                </c:pt>
                <c:pt idx="3120">
                  <c:v>38706</c:v>
                </c:pt>
                <c:pt idx="3121">
                  <c:v>38707</c:v>
                </c:pt>
                <c:pt idx="3122">
                  <c:v>38708</c:v>
                </c:pt>
                <c:pt idx="3123">
                  <c:v>38709</c:v>
                </c:pt>
                <c:pt idx="3124">
                  <c:v>38712</c:v>
                </c:pt>
                <c:pt idx="3125">
                  <c:v>38713</c:v>
                </c:pt>
                <c:pt idx="3126">
                  <c:v>38714</c:v>
                </c:pt>
                <c:pt idx="3127">
                  <c:v>38715</c:v>
                </c:pt>
                <c:pt idx="3128">
                  <c:v>38716</c:v>
                </c:pt>
                <c:pt idx="3129">
                  <c:v>38719</c:v>
                </c:pt>
                <c:pt idx="3130">
                  <c:v>38720</c:v>
                </c:pt>
                <c:pt idx="3131">
                  <c:v>38721</c:v>
                </c:pt>
                <c:pt idx="3132">
                  <c:v>38722</c:v>
                </c:pt>
                <c:pt idx="3133">
                  <c:v>38723</c:v>
                </c:pt>
                <c:pt idx="3134">
                  <c:v>38726</c:v>
                </c:pt>
                <c:pt idx="3135">
                  <c:v>38727</c:v>
                </c:pt>
                <c:pt idx="3136">
                  <c:v>38728</c:v>
                </c:pt>
                <c:pt idx="3137">
                  <c:v>38729</c:v>
                </c:pt>
                <c:pt idx="3138">
                  <c:v>38730</c:v>
                </c:pt>
                <c:pt idx="3139">
                  <c:v>38733</c:v>
                </c:pt>
                <c:pt idx="3140">
                  <c:v>38734</c:v>
                </c:pt>
                <c:pt idx="3141">
                  <c:v>38735</c:v>
                </c:pt>
                <c:pt idx="3142">
                  <c:v>38736</c:v>
                </c:pt>
                <c:pt idx="3143">
                  <c:v>38737</c:v>
                </c:pt>
                <c:pt idx="3144">
                  <c:v>38740</c:v>
                </c:pt>
                <c:pt idx="3145">
                  <c:v>38741</c:v>
                </c:pt>
                <c:pt idx="3146">
                  <c:v>38742</c:v>
                </c:pt>
                <c:pt idx="3147">
                  <c:v>38743</c:v>
                </c:pt>
                <c:pt idx="3148">
                  <c:v>38744</c:v>
                </c:pt>
                <c:pt idx="3149">
                  <c:v>38747</c:v>
                </c:pt>
                <c:pt idx="3150">
                  <c:v>38748</c:v>
                </c:pt>
                <c:pt idx="3151">
                  <c:v>38749</c:v>
                </c:pt>
                <c:pt idx="3152">
                  <c:v>38750</c:v>
                </c:pt>
                <c:pt idx="3153">
                  <c:v>38751</c:v>
                </c:pt>
                <c:pt idx="3154">
                  <c:v>38754</c:v>
                </c:pt>
                <c:pt idx="3155">
                  <c:v>38755</c:v>
                </c:pt>
                <c:pt idx="3156">
                  <c:v>38756</c:v>
                </c:pt>
                <c:pt idx="3157">
                  <c:v>38757</c:v>
                </c:pt>
                <c:pt idx="3158">
                  <c:v>38758</c:v>
                </c:pt>
                <c:pt idx="3159">
                  <c:v>38761</c:v>
                </c:pt>
                <c:pt idx="3160">
                  <c:v>38762</c:v>
                </c:pt>
                <c:pt idx="3161">
                  <c:v>38763</c:v>
                </c:pt>
                <c:pt idx="3162">
                  <c:v>38764</c:v>
                </c:pt>
                <c:pt idx="3163">
                  <c:v>38765</c:v>
                </c:pt>
                <c:pt idx="3164">
                  <c:v>38768</c:v>
                </c:pt>
                <c:pt idx="3165">
                  <c:v>38769</c:v>
                </c:pt>
                <c:pt idx="3166">
                  <c:v>38770</c:v>
                </c:pt>
                <c:pt idx="3167">
                  <c:v>38771</c:v>
                </c:pt>
                <c:pt idx="3168">
                  <c:v>38772</c:v>
                </c:pt>
                <c:pt idx="3169">
                  <c:v>38775</c:v>
                </c:pt>
                <c:pt idx="3170">
                  <c:v>38776</c:v>
                </c:pt>
                <c:pt idx="3171">
                  <c:v>38777</c:v>
                </c:pt>
                <c:pt idx="3172">
                  <c:v>38778</c:v>
                </c:pt>
                <c:pt idx="3173">
                  <c:v>38779</c:v>
                </c:pt>
                <c:pt idx="3174">
                  <c:v>38782</c:v>
                </c:pt>
                <c:pt idx="3175">
                  <c:v>38783</c:v>
                </c:pt>
                <c:pt idx="3176">
                  <c:v>38784</c:v>
                </c:pt>
                <c:pt idx="3177">
                  <c:v>38785</c:v>
                </c:pt>
                <c:pt idx="3178">
                  <c:v>38786</c:v>
                </c:pt>
                <c:pt idx="3179">
                  <c:v>38789</c:v>
                </c:pt>
                <c:pt idx="3180">
                  <c:v>38790</c:v>
                </c:pt>
                <c:pt idx="3181">
                  <c:v>38791</c:v>
                </c:pt>
                <c:pt idx="3182">
                  <c:v>38792</c:v>
                </c:pt>
                <c:pt idx="3183">
                  <c:v>38793</c:v>
                </c:pt>
                <c:pt idx="3184">
                  <c:v>38796</c:v>
                </c:pt>
                <c:pt idx="3185">
                  <c:v>38797</c:v>
                </c:pt>
                <c:pt idx="3186">
                  <c:v>38798</c:v>
                </c:pt>
                <c:pt idx="3187">
                  <c:v>38799</c:v>
                </c:pt>
                <c:pt idx="3188">
                  <c:v>38800</c:v>
                </c:pt>
                <c:pt idx="3189">
                  <c:v>38803</c:v>
                </c:pt>
                <c:pt idx="3190">
                  <c:v>38804</c:v>
                </c:pt>
                <c:pt idx="3191">
                  <c:v>38805</c:v>
                </c:pt>
                <c:pt idx="3192">
                  <c:v>38806</c:v>
                </c:pt>
                <c:pt idx="3193">
                  <c:v>38807</c:v>
                </c:pt>
                <c:pt idx="3194">
                  <c:v>38810</c:v>
                </c:pt>
                <c:pt idx="3195">
                  <c:v>38811</c:v>
                </c:pt>
                <c:pt idx="3196">
                  <c:v>38812</c:v>
                </c:pt>
                <c:pt idx="3197">
                  <c:v>38813</c:v>
                </c:pt>
                <c:pt idx="3198">
                  <c:v>38814</c:v>
                </c:pt>
                <c:pt idx="3199">
                  <c:v>38817</c:v>
                </c:pt>
                <c:pt idx="3200">
                  <c:v>38818</c:v>
                </c:pt>
                <c:pt idx="3201">
                  <c:v>38819</c:v>
                </c:pt>
                <c:pt idx="3202">
                  <c:v>38820</c:v>
                </c:pt>
                <c:pt idx="3203">
                  <c:v>38821</c:v>
                </c:pt>
                <c:pt idx="3204">
                  <c:v>38824</c:v>
                </c:pt>
                <c:pt idx="3205">
                  <c:v>38825</c:v>
                </c:pt>
                <c:pt idx="3206">
                  <c:v>38826</c:v>
                </c:pt>
                <c:pt idx="3207">
                  <c:v>38827</c:v>
                </c:pt>
                <c:pt idx="3208">
                  <c:v>38828</c:v>
                </c:pt>
                <c:pt idx="3209">
                  <c:v>38831</c:v>
                </c:pt>
                <c:pt idx="3210">
                  <c:v>38832</c:v>
                </c:pt>
                <c:pt idx="3211">
                  <c:v>38833</c:v>
                </c:pt>
                <c:pt idx="3212">
                  <c:v>38834</c:v>
                </c:pt>
                <c:pt idx="3213">
                  <c:v>38835</c:v>
                </c:pt>
                <c:pt idx="3214">
                  <c:v>38838</c:v>
                </c:pt>
                <c:pt idx="3215">
                  <c:v>38839</c:v>
                </c:pt>
                <c:pt idx="3216">
                  <c:v>38840</c:v>
                </c:pt>
                <c:pt idx="3217">
                  <c:v>38841</c:v>
                </c:pt>
                <c:pt idx="3218">
                  <c:v>38842</c:v>
                </c:pt>
                <c:pt idx="3219">
                  <c:v>38845</c:v>
                </c:pt>
                <c:pt idx="3220">
                  <c:v>38846</c:v>
                </c:pt>
                <c:pt idx="3221">
                  <c:v>38847</c:v>
                </c:pt>
                <c:pt idx="3222">
                  <c:v>38848</c:v>
                </c:pt>
                <c:pt idx="3223">
                  <c:v>38849</c:v>
                </c:pt>
                <c:pt idx="3224">
                  <c:v>38852</c:v>
                </c:pt>
                <c:pt idx="3225">
                  <c:v>38853</c:v>
                </c:pt>
                <c:pt idx="3226">
                  <c:v>38854</c:v>
                </c:pt>
                <c:pt idx="3227">
                  <c:v>38855</c:v>
                </c:pt>
                <c:pt idx="3228">
                  <c:v>38856</c:v>
                </c:pt>
                <c:pt idx="3229">
                  <c:v>38859</c:v>
                </c:pt>
                <c:pt idx="3230">
                  <c:v>38860</c:v>
                </c:pt>
                <c:pt idx="3231">
                  <c:v>38861</c:v>
                </c:pt>
                <c:pt idx="3232">
                  <c:v>38862</c:v>
                </c:pt>
                <c:pt idx="3233">
                  <c:v>38863</c:v>
                </c:pt>
                <c:pt idx="3234">
                  <c:v>38866</c:v>
                </c:pt>
                <c:pt idx="3235">
                  <c:v>38867</c:v>
                </c:pt>
                <c:pt idx="3236">
                  <c:v>38868</c:v>
                </c:pt>
                <c:pt idx="3237">
                  <c:v>38869</c:v>
                </c:pt>
                <c:pt idx="3238">
                  <c:v>38870</c:v>
                </c:pt>
                <c:pt idx="3239">
                  <c:v>38873</c:v>
                </c:pt>
                <c:pt idx="3240">
                  <c:v>38874</c:v>
                </c:pt>
                <c:pt idx="3241">
                  <c:v>38875</c:v>
                </c:pt>
                <c:pt idx="3242">
                  <c:v>38876</c:v>
                </c:pt>
                <c:pt idx="3243">
                  <c:v>38877</c:v>
                </c:pt>
                <c:pt idx="3244">
                  <c:v>38880</c:v>
                </c:pt>
                <c:pt idx="3245">
                  <c:v>38881</c:v>
                </c:pt>
                <c:pt idx="3246">
                  <c:v>38882</c:v>
                </c:pt>
                <c:pt idx="3247">
                  <c:v>38883</c:v>
                </c:pt>
                <c:pt idx="3248">
                  <c:v>38884</c:v>
                </c:pt>
                <c:pt idx="3249">
                  <c:v>38887</c:v>
                </c:pt>
                <c:pt idx="3250">
                  <c:v>38888</c:v>
                </c:pt>
                <c:pt idx="3251">
                  <c:v>38889</c:v>
                </c:pt>
                <c:pt idx="3252">
                  <c:v>38890</c:v>
                </c:pt>
                <c:pt idx="3253">
                  <c:v>38891</c:v>
                </c:pt>
                <c:pt idx="3254">
                  <c:v>38894</c:v>
                </c:pt>
                <c:pt idx="3255">
                  <c:v>38895</c:v>
                </c:pt>
                <c:pt idx="3256">
                  <c:v>38896</c:v>
                </c:pt>
                <c:pt idx="3257">
                  <c:v>38897</c:v>
                </c:pt>
                <c:pt idx="3258">
                  <c:v>38898</c:v>
                </c:pt>
                <c:pt idx="3259">
                  <c:v>38901</c:v>
                </c:pt>
                <c:pt idx="3260">
                  <c:v>38902</c:v>
                </c:pt>
                <c:pt idx="3261">
                  <c:v>38903</c:v>
                </c:pt>
                <c:pt idx="3262">
                  <c:v>38904</c:v>
                </c:pt>
                <c:pt idx="3263">
                  <c:v>38905</c:v>
                </c:pt>
                <c:pt idx="3264">
                  <c:v>38908</c:v>
                </c:pt>
                <c:pt idx="3265">
                  <c:v>38909</c:v>
                </c:pt>
                <c:pt idx="3266">
                  <c:v>38910</c:v>
                </c:pt>
                <c:pt idx="3267">
                  <c:v>38911</c:v>
                </c:pt>
                <c:pt idx="3268">
                  <c:v>38912</c:v>
                </c:pt>
                <c:pt idx="3269">
                  <c:v>38915</c:v>
                </c:pt>
                <c:pt idx="3270">
                  <c:v>38916</c:v>
                </c:pt>
                <c:pt idx="3271">
                  <c:v>38917</c:v>
                </c:pt>
                <c:pt idx="3272">
                  <c:v>38918</c:v>
                </c:pt>
                <c:pt idx="3273">
                  <c:v>38919</c:v>
                </c:pt>
                <c:pt idx="3274">
                  <c:v>38922</c:v>
                </c:pt>
                <c:pt idx="3275">
                  <c:v>38923</c:v>
                </c:pt>
                <c:pt idx="3276">
                  <c:v>38924</c:v>
                </c:pt>
                <c:pt idx="3277">
                  <c:v>38925</c:v>
                </c:pt>
                <c:pt idx="3278">
                  <c:v>38926</c:v>
                </c:pt>
                <c:pt idx="3279">
                  <c:v>38929</c:v>
                </c:pt>
                <c:pt idx="3280">
                  <c:v>38930</c:v>
                </c:pt>
                <c:pt idx="3281">
                  <c:v>38931</c:v>
                </c:pt>
                <c:pt idx="3282">
                  <c:v>38932</c:v>
                </c:pt>
                <c:pt idx="3283">
                  <c:v>38933</c:v>
                </c:pt>
                <c:pt idx="3284">
                  <c:v>38936</c:v>
                </c:pt>
                <c:pt idx="3285">
                  <c:v>38937</c:v>
                </c:pt>
                <c:pt idx="3286">
                  <c:v>38938</c:v>
                </c:pt>
                <c:pt idx="3287">
                  <c:v>38939</c:v>
                </c:pt>
                <c:pt idx="3288">
                  <c:v>38940</c:v>
                </c:pt>
                <c:pt idx="3289">
                  <c:v>38943</c:v>
                </c:pt>
                <c:pt idx="3290">
                  <c:v>38944</c:v>
                </c:pt>
                <c:pt idx="3291">
                  <c:v>38945</c:v>
                </c:pt>
                <c:pt idx="3292">
                  <c:v>38946</c:v>
                </c:pt>
                <c:pt idx="3293">
                  <c:v>38947</c:v>
                </c:pt>
                <c:pt idx="3294">
                  <c:v>38950</c:v>
                </c:pt>
                <c:pt idx="3295">
                  <c:v>38951</c:v>
                </c:pt>
                <c:pt idx="3296">
                  <c:v>38952</c:v>
                </c:pt>
                <c:pt idx="3297">
                  <c:v>38953</c:v>
                </c:pt>
                <c:pt idx="3298">
                  <c:v>38954</c:v>
                </c:pt>
                <c:pt idx="3299">
                  <c:v>38957</c:v>
                </c:pt>
                <c:pt idx="3300">
                  <c:v>38958</c:v>
                </c:pt>
                <c:pt idx="3301">
                  <c:v>38959</c:v>
                </c:pt>
                <c:pt idx="3302">
                  <c:v>38960</c:v>
                </c:pt>
                <c:pt idx="3303">
                  <c:v>38961</c:v>
                </c:pt>
                <c:pt idx="3304">
                  <c:v>38964</c:v>
                </c:pt>
                <c:pt idx="3305">
                  <c:v>38965</c:v>
                </c:pt>
                <c:pt idx="3306">
                  <c:v>38966</c:v>
                </c:pt>
                <c:pt idx="3307">
                  <c:v>38967</c:v>
                </c:pt>
                <c:pt idx="3308">
                  <c:v>38968</c:v>
                </c:pt>
                <c:pt idx="3309">
                  <c:v>38971</c:v>
                </c:pt>
                <c:pt idx="3310">
                  <c:v>38972</c:v>
                </c:pt>
                <c:pt idx="3311">
                  <c:v>38973</c:v>
                </c:pt>
                <c:pt idx="3312">
                  <c:v>38974</c:v>
                </c:pt>
                <c:pt idx="3313">
                  <c:v>38975</c:v>
                </c:pt>
                <c:pt idx="3314">
                  <c:v>38978</c:v>
                </c:pt>
                <c:pt idx="3315">
                  <c:v>38979</c:v>
                </c:pt>
                <c:pt idx="3316">
                  <c:v>38980</c:v>
                </c:pt>
                <c:pt idx="3317">
                  <c:v>38981</c:v>
                </c:pt>
                <c:pt idx="3318">
                  <c:v>38982</c:v>
                </c:pt>
                <c:pt idx="3319">
                  <c:v>38985</c:v>
                </c:pt>
                <c:pt idx="3320">
                  <c:v>38986</c:v>
                </c:pt>
                <c:pt idx="3321">
                  <c:v>38987</c:v>
                </c:pt>
                <c:pt idx="3322">
                  <c:v>38988</c:v>
                </c:pt>
                <c:pt idx="3323">
                  <c:v>38989</c:v>
                </c:pt>
                <c:pt idx="3324">
                  <c:v>38992</c:v>
                </c:pt>
                <c:pt idx="3325">
                  <c:v>38993</c:v>
                </c:pt>
                <c:pt idx="3326">
                  <c:v>38994</c:v>
                </c:pt>
                <c:pt idx="3327">
                  <c:v>38995</c:v>
                </c:pt>
                <c:pt idx="3328">
                  <c:v>38996</c:v>
                </c:pt>
                <c:pt idx="3329">
                  <c:v>38999</c:v>
                </c:pt>
                <c:pt idx="3330">
                  <c:v>39000</c:v>
                </c:pt>
                <c:pt idx="3331">
                  <c:v>39001</c:v>
                </c:pt>
                <c:pt idx="3332">
                  <c:v>39002</c:v>
                </c:pt>
                <c:pt idx="3333">
                  <c:v>39003</c:v>
                </c:pt>
                <c:pt idx="3334">
                  <c:v>39006</c:v>
                </c:pt>
                <c:pt idx="3335">
                  <c:v>39007</c:v>
                </c:pt>
                <c:pt idx="3336">
                  <c:v>39008</c:v>
                </c:pt>
                <c:pt idx="3337">
                  <c:v>39009</c:v>
                </c:pt>
                <c:pt idx="3338">
                  <c:v>39010</c:v>
                </c:pt>
                <c:pt idx="3339">
                  <c:v>39013</c:v>
                </c:pt>
                <c:pt idx="3340">
                  <c:v>39014</c:v>
                </c:pt>
                <c:pt idx="3341">
                  <c:v>39015</c:v>
                </c:pt>
                <c:pt idx="3342">
                  <c:v>39016</c:v>
                </c:pt>
                <c:pt idx="3343">
                  <c:v>39017</c:v>
                </c:pt>
                <c:pt idx="3344">
                  <c:v>39020</c:v>
                </c:pt>
                <c:pt idx="3345">
                  <c:v>39021</c:v>
                </c:pt>
                <c:pt idx="3346">
                  <c:v>39022</c:v>
                </c:pt>
                <c:pt idx="3347">
                  <c:v>39023</c:v>
                </c:pt>
                <c:pt idx="3348">
                  <c:v>39024</c:v>
                </c:pt>
                <c:pt idx="3349">
                  <c:v>39027</c:v>
                </c:pt>
                <c:pt idx="3350">
                  <c:v>39028</c:v>
                </c:pt>
                <c:pt idx="3351">
                  <c:v>39029</c:v>
                </c:pt>
                <c:pt idx="3352">
                  <c:v>39030</c:v>
                </c:pt>
                <c:pt idx="3353">
                  <c:v>39031</c:v>
                </c:pt>
                <c:pt idx="3354">
                  <c:v>39034</c:v>
                </c:pt>
                <c:pt idx="3355">
                  <c:v>39035</c:v>
                </c:pt>
                <c:pt idx="3356">
                  <c:v>39036</c:v>
                </c:pt>
                <c:pt idx="3357">
                  <c:v>39037</c:v>
                </c:pt>
                <c:pt idx="3358">
                  <c:v>39038</c:v>
                </c:pt>
                <c:pt idx="3359">
                  <c:v>39041</c:v>
                </c:pt>
                <c:pt idx="3360">
                  <c:v>39042</c:v>
                </c:pt>
                <c:pt idx="3361">
                  <c:v>39043</c:v>
                </c:pt>
                <c:pt idx="3362">
                  <c:v>39044</c:v>
                </c:pt>
                <c:pt idx="3363">
                  <c:v>39045</c:v>
                </c:pt>
                <c:pt idx="3364">
                  <c:v>39048</c:v>
                </c:pt>
                <c:pt idx="3365">
                  <c:v>39049</c:v>
                </c:pt>
                <c:pt idx="3366">
                  <c:v>39050</c:v>
                </c:pt>
                <c:pt idx="3367">
                  <c:v>39051</c:v>
                </c:pt>
                <c:pt idx="3368">
                  <c:v>39052</c:v>
                </c:pt>
                <c:pt idx="3369">
                  <c:v>39055</c:v>
                </c:pt>
                <c:pt idx="3370">
                  <c:v>39056</c:v>
                </c:pt>
                <c:pt idx="3371">
                  <c:v>39057</c:v>
                </c:pt>
                <c:pt idx="3372">
                  <c:v>39058</c:v>
                </c:pt>
                <c:pt idx="3373">
                  <c:v>39059</c:v>
                </c:pt>
                <c:pt idx="3374">
                  <c:v>39062</c:v>
                </c:pt>
                <c:pt idx="3375">
                  <c:v>39063</c:v>
                </c:pt>
                <c:pt idx="3376">
                  <c:v>39064</c:v>
                </c:pt>
                <c:pt idx="3377">
                  <c:v>39065</c:v>
                </c:pt>
                <c:pt idx="3378">
                  <c:v>39066</c:v>
                </c:pt>
                <c:pt idx="3379">
                  <c:v>39069</c:v>
                </c:pt>
                <c:pt idx="3380">
                  <c:v>39070</c:v>
                </c:pt>
                <c:pt idx="3381">
                  <c:v>39071</c:v>
                </c:pt>
                <c:pt idx="3382">
                  <c:v>39072</c:v>
                </c:pt>
                <c:pt idx="3383">
                  <c:v>39073</c:v>
                </c:pt>
                <c:pt idx="3384">
                  <c:v>39076</c:v>
                </c:pt>
                <c:pt idx="3385">
                  <c:v>39077</c:v>
                </c:pt>
                <c:pt idx="3386">
                  <c:v>39078</c:v>
                </c:pt>
                <c:pt idx="3387">
                  <c:v>39079</c:v>
                </c:pt>
                <c:pt idx="3388">
                  <c:v>39080</c:v>
                </c:pt>
                <c:pt idx="3389">
                  <c:v>39083</c:v>
                </c:pt>
                <c:pt idx="3390">
                  <c:v>39084</c:v>
                </c:pt>
                <c:pt idx="3391">
                  <c:v>39085</c:v>
                </c:pt>
                <c:pt idx="3392">
                  <c:v>39086</c:v>
                </c:pt>
                <c:pt idx="3393">
                  <c:v>39087</c:v>
                </c:pt>
                <c:pt idx="3394">
                  <c:v>39090</c:v>
                </c:pt>
                <c:pt idx="3395">
                  <c:v>39091</c:v>
                </c:pt>
                <c:pt idx="3396">
                  <c:v>39092</c:v>
                </c:pt>
                <c:pt idx="3397">
                  <c:v>39093</c:v>
                </c:pt>
                <c:pt idx="3398">
                  <c:v>39094</c:v>
                </c:pt>
                <c:pt idx="3399">
                  <c:v>39097</c:v>
                </c:pt>
                <c:pt idx="3400">
                  <c:v>39098</c:v>
                </c:pt>
                <c:pt idx="3401">
                  <c:v>39099</c:v>
                </c:pt>
                <c:pt idx="3402">
                  <c:v>39100</c:v>
                </c:pt>
                <c:pt idx="3403">
                  <c:v>39101</c:v>
                </c:pt>
                <c:pt idx="3404">
                  <c:v>39104</c:v>
                </c:pt>
                <c:pt idx="3405">
                  <c:v>39105</c:v>
                </c:pt>
                <c:pt idx="3406">
                  <c:v>39106</c:v>
                </c:pt>
                <c:pt idx="3407">
                  <c:v>39107</c:v>
                </c:pt>
                <c:pt idx="3408">
                  <c:v>39108</c:v>
                </c:pt>
                <c:pt idx="3409">
                  <c:v>39111</c:v>
                </c:pt>
                <c:pt idx="3410">
                  <c:v>39112</c:v>
                </c:pt>
                <c:pt idx="3411">
                  <c:v>39113</c:v>
                </c:pt>
                <c:pt idx="3412">
                  <c:v>39114</c:v>
                </c:pt>
                <c:pt idx="3413">
                  <c:v>39115</c:v>
                </c:pt>
                <c:pt idx="3414">
                  <c:v>39118</c:v>
                </c:pt>
                <c:pt idx="3415">
                  <c:v>39119</c:v>
                </c:pt>
                <c:pt idx="3416">
                  <c:v>39120</c:v>
                </c:pt>
                <c:pt idx="3417">
                  <c:v>39121</c:v>
                </c:pt>
                <c:pt idx="3418">
                  <c:v>39122</c:v>
                </c:pt>
                <c:pt idx="3419">
                  <c:v>39125</c:v>
                </c:pt>
                <c:pt idx="3420">
                  <c:v>39126</c:v>
                </c:pt>
                <c:pt idx="3421">
                  <c:v>39127</c:v>
                </c:pt>
                <c:pt idx="3422">
                  <c:v>39128</c:v>
                </c:pt>
                <c:pt idx="3423">
                  <c:v>39129</c:v>
                </c:pt>
                <c:pt idx="3424">
                  <c:v>39132</c:v>
                </c:pt>
                <c:pt idx="3425">
                  <c:v>39133</c:v>
                </c:pt>
                <c:pt idx="3426">
                  <c:v>39134</c:v>
                </c:pt>
                <c:pt idx="3427">
                  <c:v>39135</c:v>
                </c:pt>
                <c:pt idx="3428">
                  <c:v>39136</c:v>
                </c:pt>
                <c:pt idx="3429">
                  <c:v>39139</c:v>
                </c:pt>
                <c:pt idx="3430">
                  <c:v>39140</c:v>
                </c:pt>
                <c:pt idx="3431">
                  <c:v>39141</c:v>
                </c:pt>
                <c:pt idx="3432">
                  <c:v>39142</c:v>
                </c:pt>
                <c:pt idx="3433">
                  <c:v>39143</c:v>
                </c:pt>
                <c:pt idx="3434">
                  <c:v>39146</c:v>
                </c:pt>
                <c:pt idx="3435">
                  <c:v>39147</c:v>
                </c:pt>
                <c:pt idx="3436">
                  <c:v>39148</c:v>
                </c:pt>
                <c:pt idx="3437">
                  <c:v>39149</c:v>
                </c:pt>
                <c:pt idx="3438">
                  <c:v>39150</c:v>
                </c:pt>
                <c:pt idx="3439">
                  <c:v>39153</c:v>
                </c:pt>
                <c:pt idx="3440">
                  <c:v>39154</c:v>
                </c:pt>
                <c:pt idx="3441">
                  <c:v>39155</c:v>
                </c:pt>
                <c:pt idx="3442">
                  <c:v>39156</c:v>
                </c:pt>
                <c:pt idx="3443">
                  <c:v>39157</c:v>
                </c:pt>
                <c:pt idx="3444">
                  <c:v>39160</c:v>
                </c:pt>
                <c:pt idx="3445">
                  <c:v>39161</c:v>
                </c:pt>
                <c:pt idx="3446">
                  <c:v>39162</c:v>
                </c:pt>
                <c:pt idx="3447">
                  <c:v>39163</c:v>
                </c:pt>
                <c:pt idx="3448">
                  <c:v>39164</c:v>
                </c:pt>
                <c:pt idx="3449">
                  <c:v>39167</c:v>
                </c:pt>
                <c:pt idx="3450">
                  <c:v>39168</c:v>
                </c:pt>
                <c:pt idx="3451">
                  <c:v>39169</c:v>
                </c:pt>
                <c:pt idx="3452">
                  <c:v>39170</c:v>
                </c:pt>
                <c:pt idx="3453">
                  <c:v>39171</c:v>
                </c:pt>
                <c:pt idx="3454">
                  <c:v>39174</c:v>
                </c:pt>
                <c:pt idx="3455">
                  <c:v>39175</c:v>
                </c:pt>
                <c:pt idx="3456">
                  <c:v>39176</c:v>
                </c:pt>
                <c:pt idx="3457">
                  <c:v>39177</c:v>
                </c:pt>
                <c:pt idx="3458">
                  <c:v>39178</c:v>
                </c:pt>
                <c:pt idx="3459">
                  <c:v>39181</c:v>
                </c:pt>
                <c:pt idx="3460">
                  <c:v>39182</c:v>
                </c:pt>
                <c:pt idx="3461">
                  <c:v>39183</c:v>
                </c:pt>
                <c:pt idx="3462">
                  <c:v>39184</c:v>
                </c:pt>
                <c:pt idx="3463">
                  <c:v>39185</c:v>
                </c:pt>
                <c:pt idx="3464">
                  <c:v>39188</c:v>
                </c:pt>
                <c:pt idx="3465">
                  <c:v>39189</c:v>
                </c:pt>
                <c:pt idx="3466">
                  <c:v>39190</c:v>
                </c:pt>
                <c:pt idx="3467">
                  <c:v>39191</c:v>
                </c:pt>
                <c:pt idx="3468">
                  <c:v>39192</c:v>
                </c:pt>
                <c:pt idx="3469">
                  <c:v>39195</c:v>
                </c:pt>
                <c:pt idx="3470">
                  <c:v>39196</c:v>
                </c:pt>
                <c:pt idx="3471">
                  <c:v>39197</c:v>
                </c:pt>
                <c:pt idx="3472">
                  <c:v>39198</c:v>
                </c:pt>
                <c:pt idx="3473">
                  <c:v>39199</c:v>
                </c:pt>
                <c:pt idx="3474">
                  <c:v>39202</c:v>
                </c:pt>
                <c:pt idx="3475">
                  <c:v>39203</c:v>
                </c:pt>
                <c:pt idx="3476">
                  <c:v>39204</c:v>
                </c:pt>
                <c:pt idx="3477">
                  <c:v>39205</c:v>
                </c:pt>
                <c:pt idx="3478">
                  <c:v>39206</c:v>
                </c:pt>
                <c:pt idx="3479">
                  <c:v>39209</c:v>
                </c:pt>
                <c:pt idx="3480">
                  <c:v>39210</c:v>
                </c:pt>
                <c:pt idx="3481">
                  <c:v>39211</c:v>
                </c:pt>
                <c:pt idx="3482">
                  <c:v>39212</c:v>
                </c:pt>
                <c:pt idx="3483">
                  <c:v>39213</c:v>
                </c:pt>
                <c:pt idx="3484">
                  <c:v>39216</c:v>
                </c:pt>
                <c:pt idx="3485">
                  <c:v>39217</c:v>
                </c:pt>
                <c:pt idx="3486">
                  <c:v>39218</c:v>
                </c:pt>
                <c:pt idx="3487">
                  <c:v>39219</c:v>
                </c:pt>
                <c:pt idx="3488">
                  <c:v>39220</c:v>
                </c:pt>
                <c:pt idx="3489">
                  <c:v>39223</c:v>
                </c:pt>
                <c:pt idx="3490">
                  <c:v>39224</c:v>
                </c:pt>
                <c:pt idx="3491">
                  <c:v>39225</c:v>
                </c:pt>
                <c:pt idx="3492">
                  <c:v>39226</c:v>
                </c:pt>
                <c:pt idx="3493">
                  <c:v>39227</c:v>
                </c:pt>
                <c:pt idx="3494">
                  <c:v>39230</c:v>
                </c:pt>
                <c:pt idx="3495">
                  <c:v>39231</c:v>
                </c:pt>
                <c:pt idx="3496">
                  <c:v>39232</c:v>
                </c:pt>
                <c:pt idx="3497">
                  <c:v>39233</c:v>
                </c:pt>
                <c:pt idx="3498">
                  <c:v>39234</c:v>
                </c:pt>
                <c:pt idx="3499">
                  <c:v>39237</c:v>
                </c:pt>
                <c:pt idx="3500">
                  <c:v>39238</c:v>
                </c:pt>
                <c:pt idx="3501">
                  <c:v>39239</c:v>
                </c:pt>
                <c:pt idx="3502">
                  <c:v>39240</c:v>
                </c:pt>
                <c:pt idx="3503">
                  <c:v>39241</c:v>
                </c:pt>
                <c:pt idx="3504">
                  <c:v>39244</c:v>
                </c:pt>
                <c:pt idx="3505">
                  <c:v>39245</c:v>
                </c:pt>
                <c:pt idx="3506">
                  <c:v>39246</c:v>
                </c:pt>
                <c:pt idx="3507">
                  <c:v>39247</c:v>
                </c:pt>
                <c:pt idx="3508">
                  <c:v>39248</c:v>
                </c:pt>
                <c:pt idx="3509">
                  <c:v>39251</c:v>
                </c:pt>
                <c:pt idx="3510">
                  <c:v>39252</c:v>
                </c:pt>
                <c:pt idx="3511">
                  <c:v>39253</c:v>
                </c:pt>
                <c:pt idx="3512">
                  <c:v>39254</c:v>
                </c:pt>
                <c:pt idx="3513">
                  <c:v>39255</c:v>
                </c:pt>
                <c:pt idx="3514">
                  <c:v>39258</c:v>
                </c:pt>
                <c:pt idx="3515">
                  <c:v>39259</c:v>
                </c:pt>
                <c:pt idx="3516">
                  <c:v>39260</c:v>
                </c:pt>
                <c:pt idx="3517">
                  <c:v>39261</c:v>
                </c:pt>
                <c:pt idx="3518">
                  <c:v>39262</c:v>
                </c:pt>
                <c:pt idx="3519">
                  <c:v>39265</c:v>
                </c:pt>
                <c:pt idx="3520">
                  <c:v>39266</c:v>
                </c:pt>
                <c:pt idx="3521">
                  <c:v>39267</c:v>
                </c:pt>
                <c:pt idx="3522">
                  <c:v>39268</c:v>
                </c:pt>
                <c:pt idx="3523">
                  <c:v>39269</c:v>
                </c:pt>
                <c:pt idx="3524">
                  <c:v>39272</c:v>
                </c:pt>
                <c:pt idx="3525">
                  <c:v>39273</c:v>
                </c:pt>
                <c:pt idx="3526">
                  <c:v>39274</c:v>
                </c:pt>
                <c:pt idx="3527">
                  <c:v>39275</c:v>
                </c:pt>
                <c:pt idx="3528">
                  <c:v>39276</c:v>
                </c:pt>
                <c:pt idx="3529">
                  <c:v>39279</c:v>
                </c:pt>
                <c:pt idx="3530">
                  <c:v>39280</c:v>
                </c:pt>
                <c:pt idx="3531">
                  <c:v>39281</c:v>
                </c:pt>
                <c:pt idx="3532">
                  <c:v>39282</c:v>
                </c:pt>
                <c:pt idx="3533">
                  <c:v>39283</c:v>
                </c:pt>
                <c:pt idx="3534">
                  <c:v>39286</c:v>
                </c:pt>
                <c:pt idx="3535">
                  <c:v>39287</c:v>
                </c:pt>
                <c:pt idx="3536">
                  <c:v>39288</c:v>
                </c:pt>
                <c:pt idx="3537">
                  <c:v>39289</c:v>
                </c:pt>
                <c:pt idx="3538">
                  <c:v>39290</c:v>
                </c:pt>
                <c:pt idx="3539">
                  <c:v>39293</c:v>
                </c:pt>
                <c:pt idx="3540">
                  <c:v>39294</c:v>
                </c:pt>
                <c:pt idx="3541">
                  <c:v>39295</c:v>
                </c:pt>
                <c:pt idx="3542">
                  <c:v>39296</c:v>
                </c:pt>
                <c:pt idx="3543">
                  <c:v>39297</c:v>
                </c:pt>
                <c:pt idx="3544">
                  <c:v>39300</c:v>
                </c:pt>
                <c:pt idx="3545">
                  <c:v>39301</c:v>
                </c:pt>
                <c:pt idx="3546">
                  <c:v>39302</c:v>
                </c:pt>
                <c:pt idx="3547">
                  <c:v>39303</c:v>
                </c:pt>
                <c:pt idx="3548">
                  <c:v>39304</c:v>
                </c:pt>
                <c:pt idx="3549">
                  <c:v>39307</c:v>
                </c:pt>
                <c:pt idx="3550">
                  <c:v>39308</c:v>
                </c:pt>
                <c:pt idx="3551">
                  <c:v>39309</c:v>
                </c:pt>
                <c:pt idx="3552">
                  <c:v>39310</c:v>
                </c:pt>
                <c:pt idx="3553">
                  <c:v>39311</c:v>
                </c:pt>
                <c:pt idx="3554">
                  <c:v>39314</c:v>
                </c:pt>
                <c:pt idx="3555">
                  <c:v>39315</c:v>
                </c:pt>
                <c:pt idx="3556">
                  <c:v>39316</c:v>
                </c:pt>
                <c:pt idx="3557">
                  <c:v>39317</c:v>
                </c:pt>
                <c:pt idx="3558">
                  <c:v>39318</c:v>
                </c:pt>
                <c:pt idx="3559">
                  <c:v>39321</c:v>
                </c:pt>
                <c:pt idx="3560">
                  <c:v>39322</c:v>
                </c:pt>
                <c:pt idx="3561">
                  <c:v>39323</c:v>
                </c:pt>
                <c:pt idx="3562">
                  <c:v>39324</c:v>
                </c:pt>
                <c:pt idx="3563">
                  <c:v>39325</c:v>
                </c:pt>
                <c:pt idx="3564">
                  <c:v>39328</c:v>
                </c:pt>
                <c:pt idx="3565">
                  <c:v>39329</c:v>
                </c:pt>
                <c:pt idx="3566">
                  <c:v>39330</c:v>
                </c:pt>
                <c:pt idx="3567">
                  <c:v>39331</c:v>
                </c:pt>
                <c:pt idx="3568">
                  <c:v>39332</c:v>
                </c:pt>
                <c:pt idx="3569">
                  <c:v>39335</c:v>
                </c:pt>
                <c:pt idx="3570">
                  <c:v>39336</c:v>
                </c:pt>
                <c:pt idx="3571">
                  <c:v>39337</c:v>
                </c:pt>
                <c:pt idx="3572">
                  <c:v>39338</c:v>
                </c:pt>
                <c:pt idx="3573">
                  <c:v>39339</c:v>
                </c:pt>
                <c:pt idx="3574">
                  <c:v>39342</c:v>
                </c:pt>
                <c:pt idx="3575">
                  <c:v>39343</c:v>
                </c:pt>
                <c:pt idx="3576">
                  <c:v>39344</c:v>
                </c:pt>
                <c:pt idx="3577">
                  <c:v>39345</c:v>
                </c:pt>
                <c:pt idx="3578">
                  <c:v>39346</c:v>
                </c:pt>
                <c:pt idx="3579">
                  <c:v>39349</c:v>
                </c:pt>
                <c:pt idx="3580">
                  <c:v>39350</c:v>
                </c:pt>
                <c:pt idx="3581">
                  <c:v>39351</c:v>
                </c:pt>
                <c:pt idx="3582">
                  <c:v>39352</c:v>
                </c:pt>
                <c:pt idx="3583">
                  <c:v>39353</c:v>
                </c:pt>
                <c:pt idx="3584">
                  <c:v>39356</c:v>
                </c:pt>
                <c:pt idx="3585">
                  <c:v>39357</c:v>
                </c:pt>
                <c:pt idx="3586">
                  <c:v>39358</c:v>
                </c:pt>
                <c:pt idx="3587">
                  <c:v>39359</c:v>
                </c:pt>
                <c:pt idx="3588">
                  <c:v>39360</c:v>
                </c:pt>
                <c:pt idx="3589">
                  <c:v>39363</c:v>
                </c:pt>
                <c:pt idx="3590">
                  <c:v>39364</c:v>
                </c:pt>
                <c:pt idx="3591">
                  <c:v>39365</c:v>
                </c:pt>
                <c:pt idx="3592">
                  <c:v>39366</c:v>
                </c:pt>
                <c:pt idx="3593">
                  <c:v>39367</c:v>
                </c:pt>
                <c:pt idx="3594">
                  <c:v>39370</c:v>
                </c:pt>
                <c:pt idx="3595">
                  <c:v>39371</c:v>
                </c:pt>
                <c:pt idx="3596">
                  <c:v>39372</c:v>
                </c:pt>
                <c:pt idx="3597">
                  <c:v>39373</c:v>
                </c:pt>
                <c:pt idx="3598">
                  <c:v>39374</c:v>
                </c:pt>
                <c:pt idx="3599">
                  <c:v>39377</c:v>
                </c:pt>
                <c:pt idx="3600">
                  <c:v>39378</c:v>
                </c:pt>
                <c:pt idx="3601">
                  <c:v>39379</c:v>
                </c:pt>
                <c:pt idx="3602">
                  <c:v>39380</c:v>
                </c:pt>
                <c:pt idx="3603">
                  <c:v>39381</c:v>
                </c:pt>
                <c:pt idx="3604">
                  <c:v>39384</c:v>
                </c:pt>
                <c:pt idx="3605">
                  <c:v>39385</c:v>
                </c:pt>
                <c:pt idx="3606">
                  <c:v>39386</c:v>
                </c:pt>
                <c:pt idx="3607">
                  <c:v>39387</c:v>
                </c:pt>
                <c:pt idx="3608">
                  <c:v>39388</c:v>
                </c:pt>
                <c:pt idx="3609">
                  <c:v>39391</c:v>
                </c:pt>
                <c:pt idx="3610">
                  <c:v>39392</c:v>
                </c:pt>
                <c:pt idx="3611">
                  <c:v>39393</c:v>
                </c:pt>
                <c:pt idx="3612">
                  <c:v>39394</c:v>
                </c:pt>
                <c:pt idx="3613">
                  <c:v>39395</c:v>
                </c:pt>
                <c:pt idx="3614">
                  <c:v>39398</c:v>
                </c:pt>
                <c:pt idx="3615">
                  <c:v>39399</c:v>
                </c:pt>
                <c:pt idx="3616">
                  <c:v>39400</c:v>
                </c:pt>
                <c:pt idx="3617">
                  <c:v>39401</c:v>
                </c:pt>
                <c:pt idx="3618">
                  <c:v>39402</c:v>
                </c:pt>
                <c:pt idx="3619">
                  <c:v>39405</c:v>
                </c:pt>
                <c:pt idx="3620">
                  <c:v>39406</c:v>
                </c:pt>
                <c:pt idx="3621">
                  <c:v>39407</c:v>
                </c:pt>
                <c:pt idx="3622">
                  <c:v>39408</c:v>
                </c:pt>
                <c:pt idx="3623">
                  <c:v>39409</c:v>
                </c:pt>
                <c:pt idx="3624">
                  <c:v>39412</c:v>
                </c:pt>
                <c:pt idx="3625">
                  <c:v>39413</c:v>
                </c:pt>
                <c:pt idx="3626">
                  <c:v>39414</c:v>
                </c:pt>
                <c:pt idx="3627">
                  <c:v>39415</c:v>
                </c:pt>
                <c:pt idx="3628">
                  <c:v>39416</c:v>
                </c:pt>
                <c:pt idx="3629">
                  <c:v>39419</c:v>
                </c:pt>
                <c:pt idx="3630">
                  <c:v>39420</c:v>
                </c:pt>
                <c:pt idx="3631">
                  <c:v>39421</c:v>
                </c:pt>
                <c:pt idx="3632">
                  <c:v>39422</c:v>
                </c:pt>
                <c:pt idx="3633">
                  <c:v>39423</c:v>
                </c:pt>
                <c:pt idx="3634">
                  <c:v>39426</c:v>
                </c:pt>
                <c:pt idx="3635">
                  <c:v>39427</c:v>
                </c:pt>
                <c:pt idx="3636">
                  <c:v>39428</c:v>
                </c:pt>
                <c:pt idx="3637">
                  <c:v>39429</c:v>
                </c:pt>
                <c:pt idx="3638">
                  <c:v>39430</c:v>
                </c:pt>
                <c:pt idx="3639">
                  <c:v>39433</c:v>
                </c:pt>
                <c:pt idx="3640">
                  <c:v>39434</c:v>
                </c:pt>
                <c:pt idx="3641">
                  <c:v>39435</c:v>
                </c:pt>
                <c:pt idx="3642">
                  <c:v>39436</c:v>
                </c:pt>
                <c:pt idx="3643">
                  <c:v>39437</c:v>
                </c:pt>
                <c:pt idx="3644">
                  <c:v>39440</c:v>
                </c:pt>
                <c:pt idx="3645">
                  <c:v>39441</c:v>
                </c:pt>
                <c:pt idx="3646">
                  <c:v>39442</c:v>
                </c:pt>
                <c:pt idx="3647">
                  <c:v>39443</c:v>
                </c:pt>
                <c:pt idx="3648">
                  <c:v>39444</c:v>
                </c:pt>
                <c:pt idx="3649">
                  <c:v>39447</c:v>
                </c:pt>
                <c:pt idx="3650">
                  <c:v>39448</c:v>
                </c:pt>
                <c:pt idx="3651">
                  <c:v>39449</c:v>
                </c:pt>
                <c:pt idx="3652">
                  <c:v>39450</c:v>
                </c:pt>
                <c:pt idx="3653">
                  <c:v>39451</c:v>
                </c:pt>
                <c:pt idx="3654">
                  <c:v>39454</c:v>
                </c:pt>
                <c:pt idx="3655">
                  <c:v>39455</c:v>
                </c:pt>
                <c:pt idx="3656">
                  <c:v>39456</c:v>
                </c:pt>
                <c:pt idx="3657">
                  <c:v>39457</c:v>
                </c:pt>
                <c:pt idx="3658">
                  <c:v>39458</c:v>
                </c:pt>
                <c:pt idx="3659">
                  <c:v>39461</c:v>
                </c:pt>
                <c:pt idx="3660">
                  <c:v>39462</c:v>
                </c:pt>
                <c:pt idx="3661">
                  <c:v>39463</c:v>
                </c:pt>
                <c:pt idx="3662">
                  <c:v>39464</c:v>
                </c:pt>
                <c:pt idx="3663">
                  <c:v>39465</c:v>
                </c:pt>
                <c:pt idx="3664">
                  <c:v>39468</c:v>
                </c:pt>
                <c:pt idx="3665">
                  <c:v>39469</c:v>
                </c:pt>
                <c:pt idx="3666">
                  <c:v>39470</c:v>
                </c:pt>
                <c:pt idx="3667">
                  <c:v>39471</c:v>
                </c:pt>
                <c:pt idx="3668">
                  <c:v>39472</c:v>
                </c:pt>
                <c:pt idx="3669">
                  <c:v>39475</c:v>
                </c:pt>
                <c:pt idx="3670">
                  <c:v>39476</c:v>
                </c:pt>
                <c:pt idx="3671">
                  <c:v>39477</c:v>
                </c:pt>
                <c:pt idx="3672">
                  <c:v>39478</c:v>
                </c:pt>
                <c:pt idx="3673">
                  <c:v>39479</c:v>
                </c:pt>
                <c:pt idx="3674">
                  <c:v>39482</c:v>
                </c:pt>
                <c:pt idx="3675">
                  <c:v>39483</c:v>
                </c:pt>
                <c:pt idx="3676">
                  <c:v>39484</c:v>
                </c:pt>
                <c:pt idx="3677">
                  <c:v>39485</c:v>
                </c:pt>
                <c:pt idx="3678">
                  <c:v>39486</c:v>
                </c:pt>
                <c:pt idx="3679">
                  <c:v>39489</c:v>
                </c:pt>
                <c:pt idx="3680">
                  <c:v>39490</c:v>
                </c:pt>
                <c:pt idx="3681">
                  <c:v>39491</c:v>
                </c:pt>
                <c:pt idx="3682">
                  <c:v>39492</c:v>
                </c:pt>
                <c:pt idx="3683">
                  <c:v>39493</c:v>
                </c:pt>
                <c:pt idx="3684">
                  <c:v>39496</c:v>
                </c:pt>
                <c:pt idx="3685">
                  <c:v>39497</c:v>
                </c:pt>
                <c:pt idx="3686">
                  <c:v>39498</c:v>
                </c:pt>
                <c:pt idx="3687">
                  <c:v>39499</c:v>
                </c:pt>
                <c:pt idx="3688">
                  <c:v>39500</c:v>
                </c:pt>
                <c:pt idx="3689">
                  <c:v>39503</c:v>
                </c:pt>
                <c:pt idx="3690">
                  <c:v>39504</c:v>
                </c:pt>
                <c:pt idx="3691">
                  <c:v>39505</c:v>
                </c:pt>
                <c:pt idx="3692">
                  <c:v>39506</c:v>
                </c:pt>
                <c:pt idx="3693">
                  <c:v>39507</c:v>
                </c:pt>
                <c:pt idx="3694">
                  <c:v>39510</c:v>
                </c:pt>
                <c:pt idx="3695">
                  <c:v>39511</c:v>
                </c:pt>
                <c:pt idx="3696">
                  <c:v>39512</c:v>
                </c:pt>
                <c:pt idx="3697">
                  <c:v>39513</c:v>
                </c:pt>
                <c:pt idx="3698">
                  <c:v>39514</c:v>
                </c:pt>
                <c:pt idx="3699">
                  <c:v>39517</c:v>
                </c:pt>
                <c:pt idx="3700">
                  <c:v>39518</c:v>
                </c:pt>
                <c:pt idx="3701">
                  <c:v>39519</c:v>
                </c:pt>
                <c:pt idx="3702">
                  <c:v>39520</c:v>
                </c:pt>
                <c:pt idx="3703">
                  <c:v>39521</c:v>
                </c:pt>
                <c:pt idx="3704">
                  <c:v>39524</c:v>
                </c:pt>
                <c:pt idx="3705">
                  <c:v>39525</c:v>
                </c:pt>
                <c:pt idx="3706">
                  <c:v>39526</c:v>
                </c:pt>
                <c:pt idx="3707">
                  <c:v>39527</c:v>
                </c:pt>
                <c:pt idx="3708">
                  <c:v>39528</c:v>
                </c:pt>
                <c:pt idx="3709">
                  <c:v>39531</c:v>
                </c:pt>
                <c:pt idx="3710">
                  <c:v>39532</c:v>
                </c:pt>
                <c:pt idx="3711">
                  <c:v>39533</c:v>
                </c:pt>
                <c:pt idx="3712">
                  <c:v>39534</c:v>
                </c:pt>
                <c:pt idx="3713">
                  <c:v>39535</c:v>
                </c:pt>
                <c:pt idx="3714">
                  <c:v>39538</c:v>
                </c:pt>
                <c:pt idx="3715">
                  <c:v>39539</c:v>
                </c:pt>
                <c:pt idx="3716">
                  <c:v>39540</c:v>
                </c:pt>
                <c:pt idx="3717">
                  <c:v>39541</c:v>
                </c:pt>
                <c:pt idx="3718">
                  <c:v>39542</c:v>
                </c:pt>
                <c:pt idx="3719">
                  <c:v>39545</c:v>
                </c:pt>
                <c:pt idx="3720">
                  <c:v>39546</c:v>
                </c:pt>
                <c:pt idx="3721">
                  <c:v>39547</c:v>
                </c:pt>
                <c:pt idx="3722">
                  <c:v>39548</c:v>
                </c:pt>
                <c:pt idx="3723">
                  <c:v>39549</c:v>
                </c:pt>
                <c:pt idx="3724">
                  <c:v>39552</c:v>
                </c:pt>
                <c:pt idx="3725">
                  <c:v>39553</c:v>
                </c:pt>
                <c:pt idx="3726">
                  <c:v>39554</c:v>
                </c:pt>
                <c:pt idx="3727">
                  <c:v>39555</c:v>
                </c:pt>
                <c:pt idx="3728">
                  <c:v>39556</c:v>
                </c:pt>
                <c:pt idx="3729">
                  <c:v>39559</c:v>
                </c:pt>
                <c:pt idx="3730">
                  <c:v>39560</c:v>
                </c:pt>
                <c:pt idx="3731">
                  <c:v>39561</c:v>
                </c:pt>
                <c:pt idx="3732">
                  <c:v>39562</c:v>
                </c:pt>
                <c:pt idx="3733">
                  <c:v>39563</c:v>
                </c:pt>
                <c:pt idx="3734">
                  <c:v>39566</c:v>
                </c:pt>
                <c:pt idx="3735">
                  <c:v>39567</c:v>
                </c:pt>
                <c:pt idx="3736">
                  <c:v>39568</c:v>
                </c:pt>
                <c:pt idx="3737">
                  <c:v>39569</c:v>
                </c:pt>
                <c:pt idx="3738">
                  <c:v>39570</c:v>
                </c:pt>
                <c:pt idx="3739">
                  <c:v>39573</c:v>
                </c:pt>
                <c:pt idx="3740">
                  <c:v>39574</c:v>
                </c:pt>
                <c:pt idx="3741">
                  <c:v>39575</c:v>
                </c:pt>
                <c:pt idx="3742">
                  <c:v>39576</c:v>
                </c:pt>
                <c:pt idx="3743">
                  <c:v>39577</c:v>
                </c:pt>
                <c:pt idx="3744">
                  <c:v>39580</c:v>
                </c:pt>
                <c:pt idx="3745">
                  <c:v>39581</c:v>
                </c:pt>
                <c:pt idx="3746">
                  <c:v>39582</c:v>
                </c:pt>
                <c:pt idx="3747">
                  <c:v>39583</c:v>
                </c:pt>
                <c:pt idx="3748">
                  <c:v>39584</c:v>
                </c:pt>
                <c:pt idx="3749">
                  <c:v>39587</c:v>
                </c:pt>
                <c:pt idx="3750">
                  <c:v>39588</c:v>
                </c:pt>
                <c:pt idx="3751">
                  <c:v>39589</c:v>
                </c:pt>
                <c:pt idx="3752">
                  <c:v>39590</c:v>
                </c:pt>
                <c:pt idx="3753">
                  <c:v>39591</c:v>
                </c:pt>
                <c:pt idx="3754">
                  <c:v>39594</c:v>
                </c:pt>
                <c:pt idx="3755">
                  <c:v>39595</c:v>
                </c:pt>
                <c:pt idx="3756">
                  <c:v>39596</c:v>
                </c:pt>
                <c:pt idx="3757">
                  <c:v>39597</c:v>
                </c:pt>
                <c:pt idx="3758">
                  <c:v>39598</c:v>
                </c:pt>
                <c:pt idx="3759">
                  <c:v>39601</c:v>
                </c:pt>
                <c:pt idx="3760">
                  <c:v>39602</c:v>
                </c:pt>
                <c:pt idx="3761">
                  <c:v>39603</c:v>
                </c:pt>
                <c:pt idx="3762">
                  <c:v>39604</c:v>
                </c:pt>
                <c:pt idx="3763">
                  <c:v>39605</c:v>
                </c:pt>
                <c:pt idx="3764">
                  <c:v>39608</c:v>
                </c:pt>
                <c:pt idx="3765">
                  <c:v>39609</c:v>
                </c:pt>
                <c:pt idx="3766">
                  <c:v>39610</c:v>
                </c:pt>
                <c:pt idx="3767">
                  <c:v>39611</c:v>
                </c:pt>
                <c:pt idx="3768">
                  <c:v>39612</c:v>
                </c:pt>
                <c:pt idx="3769">
                  <c:v>39615</c:v>
                </c:pt>
                <c:pt idx="3770">
                  <c:v>39616</c:v>
                </c:pt>
                <c:pt idx="3771">
                  <c:v>39617</c:v>
                </c:pt>
                <c:pt idx="3772">
                  <c:v>39618</c:v>
                </c:pt>
                <c:pt idx="3773">
                  <c:v>39619</c:v>
                </c:pt>
                <c:pt idx="3774">
                  <c:v>39622</c:v>
                </c:pt>
                <c:pt idx="3775">
                  <c:v>39623</c:v>
                </c:pt>
                <c:pt idx="3776">
                  <c:v>39624</c:v>
                </c:pt>
                <c:pt idx="3777">
                  <c:v>39625</c:v>
                </c:pt>
                <c:pt idx="3778">
                  <c:v>39626</c:v>
                </c:pt>
                <c:pt idx="3779">
                  <c:v>39629</c:v>
                </c:pt>
                <c:pt idx="3780">
                  <c:v>39630</c:v>
                </c:pt>
                <c:pt idx="3781">
                  <c:v>39631</c:v>
                </c:pt>
                <c:pt idx="3782">
                  <c:v>39632</c:v>
                </c:pt>
                <c:pt idx="3783">
                  <c:v>39633</c:v>
                </c:pt>
                <c:pt idx="3784">
                  <c:v>39636</c:v>
                </c:pt>
                <c:pt idx="3785">
                  <c:v>39637</c:v>
                </c:pt>
                <c:pt idx="3786">
                  <c:v>39638</c:v>
                </c:pt>
                <c:pt idx="3787">
                  <c:v>39639</c:v>
                </c:pt>
                <c:pt idx="3788">
                  <c:v>39640</c:v>
                </c:pt>
                <c:pt idx="3789">
                  <c:v>39643</c:v>
                </c:pt>
                <c:pt idx="3790">
                  <c:v>39644</c:v>
                </c:pt>
                <c:pt idx="3791">
                  <c:v>39645</c:v>
                </c:pt>
                <c:pt idx="3792">
                  <c:v>39646</c:v>
                </c:pt>
                <c:pt idx="3793">
                  <c:v>39647</c:v>
                </c:pt>
                <c:pt idx="3794">
                  <c:v>39650</c:v>
                </c:pt>
                <c:pt idx="3795">
                  <c:v>39651</c:v>
                </c:pt>
                <c:pt idx="3796">
                  <c:v>39652</c:v>
                </c:pt>
                <c:pt idx="3797">
                  <c:v>39653</c:v>
                </c:pt>
                <c:pt idx="3798">
                  <c:v>39654</c:v>
                </c:pt>
                <c:pt idx="3799">
                  <c:v>39657</c:v>
                </c:pt>
                <c:pt idx="3800">
                  <c:v>39658</c:v>
                </c:pt>
                <c:pt idx="3801">
                  <c:v>39659</c:v>
                </c:pt>
                <c:pt idx="3802">
                  <c:v>39660</c:v>
                </c:pt>
                <c:pt idx="3803">
                  <c:v>39661</c:v>
                </c:pt>
                <c:pt idx="3804">
                  <c:v>39664</c:v>
                </c:pt>
                <c:pt idx="3805">
                  <c:v>39665</c:v>
                </c:pt>
                <c:pt idx="3806">
                  <c:v>39666</c:v>
                </c:pt>
                <c:pt idx="3807">
                  <c:v>39667</c:v>
                </c:pt>
                <c:pt idx="3808">
                  <c:v>39668</c:v>
                </c:pt>
                <c:pt idx="3809">
                  <c:v>39671</c:v>
                </c:pt>
                <c:pt idx="3810">
                  <c:v>39672</c:v>
                </c:pt>
                <c:pt idx="3811">
                  <c:v>39673</c:v>
                </c:pt>
                <c:pt idx="3812">
                  <c:v>39674</c:v>
                </c:pt>
                <c:pt idx="3813">
                  <c:v>39675</c:v>
                </c:pt>
                <c:pt idx="3814">
                  <c:v>39678</c:v>
                </c:pt>
                <c:pt idx="3815">
                  <c:v>39679</c:v>
                </c:pt>
                <c:pt idx="3816">
                  <c:v>39680</c:v>
                </c:pt>
                <c:pt idx="3817">
                  <c:v>39681</c:v>
                </c:pt>
                <c:pt idx="3818">
                  <c:v>39682</c:v>
                </c:pt>
                <c:pt idx="3819">
                  <c:v>39685</c:v>
                </c:pt>
                <c:pt idx="3820">
                  <c:v>39686</c:v>
                </c:pt>
                <c:pt idx="3821">
                  <c:v>39687</c:v>
                </c:pt>
                <c:pt idx="3822">
                  <c:v>39688</c:v>
                </c:pt>
                <c:pt idx="3823">
                  <c:v>39689</c:v>
                </c:pt>
                <c:pt idx="3824">
                  <c:v>39692</c:v>
                </c:pt>
                <c:pt idx="3825">
                  <c:v>39693</c:v>
                </c:pt>
                <c:pt idx="3826">
                  <c:v>39694</c:v>
                </c:pt>
                <c:pt idx="3827">
                  <c:v>39695</c:v>
                </c:pt>
                <c:pt idx="3828">
                  <c:v>39696</c:v>
                </c:pt>
                <c:pt idx="3829">
                  <c:v>39699</c:v>
                </c:pt>
                <c:pt idx="3830">
                  <c:v>39700</c:v>
                </c:pt>
                <c:pt idx="3831">
                  <c:v>39701</c:v>
                </c:pt>
                <c:pt idx="3832">
                  <c:v>39702</c:v>
                </c:pt>
                <c:pt idx="3833">
                  <c:v>39703</c:v>
                </c:pt>
                <c:pt idx="3834">
                  <c:v>39706</c:v>
                </c:pt>
                <c:pt idx="3835">
                  <c:v>39707</c:v>
                </c:pt>
                <c:pt idx="3836">
                  <c:v>39708</c:v>
                </c:pt>
                <c:pt idx="3837">
                  <c:v>39709</c:v>
                </c:pt>
                <c:pt idx="3838">
                  <c:v>39710</c:v>
                </c:pt>
                <c:pt idx="3839">
                  <c:v>39713</c:v>
                </c:pt>
                <c:pt idx="3840">
                  <c:v>39714</c:v>
                </c:pt>
                <c:pt idx="3841">
                  <c:v>39715</c:v>
                </c:pt>
                <c:pt idx="3842">
                  <c:v>39716</c:v>
                </c:pt>
                <c:pt idx="3843">
                  <c:v>39717</c:v>
                </c:pt>
                <c:pt idx="3844">
                  <c:v>39720</c:v>
                </c:pt>
                <c:pt idx="3845">
                  <c:v>39721</c:v>
                </c:pt>
                <c:pt idx="3846">
                  <c:v>39722</c:v>
                </c:pt>
                <c:pt idx="3847">
                  <c:v>39723</c:v>
                </c:pt>
                <c:pt idx="3848">
                  <c:v>39724</c:v>
                </c:pt>
                <c:pt idx="3849">
                  <c:v>39727</c:v>
                </c:pt>
                <c:pt idx="3850">
                  <c:v>39728</c:v>
                </c:pt>
                <c:pt idx="3851">
                  <c:v>39729</c:v>
                </c:pt>
                <c:pt idx="3852">
                  <c:v>39730</c:v>
                </c:pt>
                <c:pt idx="3853">
                  <c:v>39731</c:v>
                </c:pt>
                <c:pt idx="3854">
                  <c:v>39734</c:v>
                </c:pt>
                <c:pt idx="3855">
                  <c:v>39735</c:v>
                </c:pt>
                <c:pt idx="3856">
                  <c:v>39736</c:v>
                </c:pt>
                <c:pt idx="3857">
                  <c:v>39737</c:v>
                </c:pt>
                <c:pt idx="3858">
                  <c:v>39738</c:v>
                </c:pt>
                <c:pt idx="3859">
                  <c:v>39741</c:v>
                </c:pt>
                <c:pt idx="3860">
                  <c:v>39742</c:v>
                </c:pt>
                <c:pt idx="3861">
                  <c:v>39743</c:v>
                </c:pt>
                <c:pt idx="3862">
                  <c:v>39744</c:v>
                </c:pt>
                <c:pt idx="3863">
                  <c:v>39745</c:v>
                </c:pt>
                <c:pt idx="3864">
                  <c:v>39748</c:v>
                </c:pt>
                <c:pt idx="3865">
                  <c:v>39749</c:v>
                </c:pt>
                <c:pt idx="3866">
                  <c:v>39750</c:v>
                </c:pt>
                <c:pt idx="3867">
                  <c:v>39751</c:v>
                </c:pt>
                <c:pt idx="3868">
                  <c:v>39752</c:v>
                </c:pt>
                <c:pt idx="3869">
                  <c:v>39755</c:v>
                </c:pt>
                <c:pt idx="3870">
                  <c:v>39756</c:v>
                </c:pt>
                <c:pt idx="3871">
                  <c:v>39757</c:v>
                </c:pt>
                <c:pt idx="3872">
                  <c:v>39758</c:v>
                </c:pt>
                <c:pt idx="3873">
                  <c:v>39759</c:v>
                </c:pt>
                <c:pt idx="3874">
                  <c:v>39762</c:v>
                </c:pt>
                <c:pt idx="3875">
                  <c:v>39763</c:v>
                </c:pt>
                <c:pt idx="3876">
                  <c:v>39764</c:v>
                </c:pt>
                <c:pt idx="3877">
                  <c:v>39765</c:v>
                </c:pt>
                <c:pt idx="3878">
                  <c:v>39766</c:v>
                </c:pt>
                <c:pt idx="3879">
                  <c:v>39769</c:v>
                </c:pt>
                <c:pt idx="3880">
                  <c:v>39770</c:v>
                </c:pt>
                <c:pt idx="3881">
                  <c:v>39771</c:v>
                </c:pt>
                <c:pt idx="3882">
                  <c:v>39772</c:v>
                </c:pt>
                <c:pt idx="3883">
                  <c:v>39773</c:v>
                </c:pt>
                <c:pt idx="3884">
                  <c:v>39776</c:v>
                </c:pt>
                <c:pt idx="3885">
                  <c:v>39777</c:v>
                </c:pt>
                <c:pt idx="3886">
                  <c:v>39778</c:v>
                </c:pt>
                <c:pt idx="3887">
                  <c:v>39779</c:v>
                </c:pt>
                <c:pt idx="3888">
                  <c:v>39780</c:v>
                </c:pt>
                <c:pt idx="3889">
                  <c:v>39783</c:v>
                </c:pt>
                <c:pt idx="3890">
                  <c:v>39784</c:v>
                </c:pt>
                <c:pt idx="3891">
                  <c:v>39785</c:v>
                </c:pt>
                <c:pt idx="3892">
                  <c:v>39786</c:v>
                </c:pt>
                <c:pt idx="3893">
                  <c:v>39787</c:v>
                </c:pt>
                <c:pt idx="3894">
                  <c:v>39790</c:v>
                </c:pt>
                <c:pt idx="3895">
                  <c:v>39791</c:v>
                </c:pt>
                <c:pt idx="3896">
                  <c:v>39792</c:v>
                </c:pt>
                <c:pt idx="3897">
                  <c:v>39793</c:v>
                </c:pt>
                <c:pt idx="3898">
                  <c:v>39794</c:v>
                </c:pt>
                <c:pt idx="3899">
                  <c:v>39797</c:v>
                </c:pt>
                <c:pt idx="3900">
                  <c:v>39798</c:v>
                </c:pt>
                <c:pt idx="3901">
                  <c:v>39799</c:v>
                </c:pt>
                <c:pt idx="3902">
                  <c:v>39800</c:v>
                </c:pt>
                <c:pt idx="3903">
                  <c:v>39801</c:v>
                </c:pt>
                <c:pt idx="3904">
                  <c:v>39804</c:v>
                </c:pt>
                <c:pt idx="3905">
                  <c:v>39805</c:v>
                </c:pt>
                <c:pt idx="3906">
                  <c:v>39806</c:v>
                </c:pt>
                <c:pt idx="3907">
                  <c:v>39807</c:v>
                </c:pt>
                <c:pt idx="3908">
                  <c:v>39808</c:v>
                </c:pt>
                <c:pt idx="3909">
                  <c:v>39811</c:v>
                </c:pt>
                <c:pt idx="3910">
                  <c:v>39812</c:v>
                </c:pt>
                <c:pt idx="3911">
                  <c:v>39813</c:v>
                </c:pt>
                <c:pt idx="3912">
                  <c:v>39814</c:v>
                </c:pt>
                <c:pt idx="3913">
                  <c:v>39815</c:v>
                </c:pt>
                <c:pt idx="3914">
                  <c:v>39818</c:v>
                </c:pt>
                <c:pt idx="3915">
                  <c:v>39819</c:v>
                </c:pt>
                <c:pt idx="3916">
                  <c:v>39820</c:v>
                </c:pt>
                <c:pt idx="3917">
                  <c:v>39821</c:v>
                </c:pt>
                <c:pt idx="3918">
                  <c:v>39822</c:v>
                </c:pt>
                <c:pt idx="3919">
                  <c:v>39825</c:v>
                </c:pt>
                <c:pt idx="3920">
                  <c:v>39826</c:v>
                </c:pt>
                <c:pt idx="3921">
                  <c:v>39827</c:v>
                </c:pt>
                <c:pt idx="3922">
                  <c:v>39828</c:v>
                </c:pt>
                <c:pt idx="3923">
                  <c:v>39829</c:v>
                </c:pt>
                <c:pt idx="3924">
                  <c:v>39832</c:v>
                </c:pt>
                <c:pt idx="3925">
                  <c:v>39833</c:v>
                </c:pt>
                <c:pt idx="3926">
                  <c:v>39834</c:v>
                </c:pt>
                <c:pt idx="3927">
                  <c:v>39835</c:v>
                </c:pt>
                <c:pt idx="3928">
                  <c:v>39836</c:v>
                </c:pt>
                <c:pt idx="3929">
                  <c:v>39839</c:v>
                </c:pt>
                <c:pt idx="3930">
                  <c:v>39840</c:v>
                </c:pt>
                <c:pt idx="3931">
                  <c:v>39841</c:v>
                </c:pt>
                <c:pt idx="3932">
                  <c:v>39842</c:v>
                </c:pt>
                <c:pt idx="3933">
                  <c:v>39843</c:v>
                </c:pt>
                <c:pt idx="3934">
                  <c:v>39846</c:v>
                </c:pt>
                <c:pt idx="3935">
                  <c:v>39847</c:v>
                </c:pt>
                <c:pt idx="3936">
                  <c:v>39848</c:v>
                </c:pt>
                <c:pt idx="3937">
                  <c:v>39849</c:v>
                </c:pt>
                <c:pt idx="3938">
                  <c:v>39850</c:v>
                </c:pt>
                <c:pt idx="3939">
                  <c:v>39853</c:v>
                </c:pt>
                <c:pt idx="3940">
                  <c:v>39854</c:v>
                </c:pt>
                <c:pt idx="3941">
                  <c:v>39855</c:v>
                </c:pt>
                <c:pt idx="3942">
                  <c:v>39856</c:v>
                </c:pt>
                <c:pt idx="3943">
                  <c:v>39857</c:v>
                </c:pt>
                <c:pt idx="3944">
                  <c:v>39860</c:v>
                </c:pt>
                <c:pt idx="3945">
                  <c:v>39861</c:v>
                </c:pt>
                <c:pt idx="3946">
                  <c:v>39862</c:v>
                </c:pt>
                <c:pt idx="3947">
                  <c:v>39863</c:v>
                </c:pt>
                <c:pt idx="3948">
                  <c:v>39864</c:v>
                </c:pt>
                <c:pt idx="3949">
                  <c:v>39867</c:v>
                </c:pt>
                <c:pt idx="3950">
                  <c:v>39868</c:v>
                </c:pt>
                <c:pt idx="3951">
                  <c:v>39869</c:v>
                </c:pt>
                <c:pt idx="3952">
                  <c:v>39870</c:v>
                </c:pt>
                <c:pt idx="3953">
                  <c:v>39871</c:v>
                </c:pt>
                <c:pt idx="3954">
                  <c:v>39874</c:v>
                </c:pt>
                <c:pt idx="3955">
                  <c:v>39875</c:v>
                </c:pt>
                <c:pt idx="3956">
                  <c:v>39876</c:v>
                </c:pt>
                <c:pt idx="3957">
                  <c:v>39877</c:v>
                </c:pt>
                <c:pt idx="3958">
                  <c:v>39878</c:v>
                </c:pt>
                <c:pt idx="3959">
                  <c:v>39881</c:v>
                </c:pt>
                <c:pt idx="3960">
                  <c:v>39882</c:v>
                </c:pt>
                <c:pt idx="3961">
                  <c:v>39883</c:v>
                </c:pt>
                <c:pt idx="3962">
                  <c:v>39884</c:v>
                </c:pt>
                <c:pt idx="3963">
                  <c:v>39885</c:v>
                </c:pt>
                <c:pt idx="3964">
                  <c:v>39888</c:v>
                </c:pt>
                <c:pt idx="3965">
                  <c:v>39889</c:v>
                </c:pt>
                <c:pt idx="3966">
                  <c:v>39890</c:v>
                </c:pt>
                <c:pt idx="3967">
                  <c:v>39891</c:v>
                </c:pt>
                <c:pt idx="3968">
                  <c:v>39892</c:v>
                </c:pt>
                <c:pt idx="3969">
                  <c:v>39895</c:v>
                </c:pt>
                <c:pt idx="3970">
                  <c:v>39896</c:v>
                </c:pt>
                <c:pt idx="3971">
                  <c:v>39897</c:v>
                </c:pt>
                <c:pt idx="3972">
                  <c:v>39898</c:v>
                </c:pt>
                <c:pt idx="3973">
                  <c:v>39899</c:v>
                </c:pt>
                <c:pt idx="3974">
                  <c:v>39902</c:v>
                </c:pt>
                <c:pt idx="3975">
                  <c:v>39903</c:v>
                </c:pt>
                <c:pt idx="3976">
                  <c:v>39904</c:v>
                </c:pt>
                <c:pt idx="3977">
                  <c:v>39905</c:v>
                </c:pt>
                <c:pt idx="3978">
                  <c:v>39906</c:v>
                </c:pt>
                <c:pt idx="3979">
                  <c:v>39909</c:v>
                </c:pt>
                <c:pt idx="3980">
                  <c:v>39910</c:v>
                </c:pt>
                <c:pt idx="3981">
                  <c:v>39911</c:v>
                </c:pt>
                <c:pt idx="3982">
                  <c:v>39912</c:v>
                </c:pt>
                <c:pt idx="3983">
                  <c:v>39913</c:v>
                </c:pt>
                <c:pt idx="3984">
                  <c:v>39916</c:v>
                </c:pt>
                <c:pt idx="3985">
                  <c:v>39917</c:v>
                </c:pt>
                <c:pt idx="3986">
                  <c:v>39918</c:v>
                </c:pt>
                <c:pt idx="3987">
                  <c:v>39919</c:v>
                </c:pt>
                <c:pt idx="3988">
                  <c:v>39920</c:v>
                </c:pt>
                <c:pt idx="3989">
                  <c:v>39923</c:v>
                </c:pt>
                <c:pt idx="3990">
                  <c:v>39924</c:v>
                </c:pt>
                <c:pt idx="3991">
                  <c:v>39925</c:v>
                </c:pt>
                <c:pt idx="3992">
                  <c:v>39926</c:v>
                </c:pt>
                <c:pt idx="3993">
                  <c:v>39927</c:v>
                </c:pt>
                <c:pt idx="3994">
                  <c:v>39930</c:v>
                </c:pt>
                <c:pt idx="3995">
                  <c:v>39931</c:v>
                </c:pt>
                <c:pt idx="3996">
                  <c:v>39932</c:v>
                </c:pt>
                <c:pt idx="3997">
                  <c:v>39933</c:v>
                </c:pt>
                <c:pt idx="3998">
                  <c:v>39934</c:v>
                </c:pt>
                <c:pt idx="3999">
                  <c:v>39937</c:v>
                </c:pt>
                <c:pt idx="4000">
                  <c:v>39938</c:v>
                </c:pt>
                <c:pt idx="4001">
                  <c:v>39939</c:v>
                </c:pt>
                <c:pt idx="4002">
                  <c:v>39940</c:v>
                </c:pt>
                <c:pt idx="4003">
                  <c:v>39941</c:v>
                </c:pt>
                <c:pt idx="4004">
                  <c:v>39944</c:v>
                </c:pt>
                <c:pt idx="4005">
                  <c:v>39945</c:v>
                </c:pt>
                <c:pt idx="4006">
                  <c:v>39946</c:v>
                </c:pt>
                <c:pt idx="4007">
                  <c:v>39947</c:v>
                </c:pt>
                <c:pt idx="4008">
                  <c:v>39948</c:v>
                </c:pt>
                <c:pt idx="4009">
                  <c:v>39951</c:v>
                </c:pt>
                <c:pt idx="4010">
                  <c:v>39952</c:v>
                </c:pt>
                <c:pt idx="4011">
                  <c:v>39953</c:v>
                </c:pt>
                <c:pt idx="4012">
                  <c:v>39954</c:v>
                </c:pt>
                <c:pt idx="4013">
                  <c:v>39955</c:v>
                </c:pt>
                <c:pt idx="4014">
                  <c:v>39958</c:v>
                </c:pt>
                <c:pt idx="4015">
                  <c:v>39959</c:v>
                </c:pt>
                <c:pt idx="4016">
                  <c:v>39960</c:v>
                </c:pt>
                <c:pt idx="4017">
                  <c:v>39961</c:v>
                </c:pt>
                <c:pt idx="4018">
                  <c:v>39962</c:v>
                </c:pt>
                <c:pt idx="4019">
                  <c:v>39965</c:v>
                </c:pt>
                <c:pt idx="4020">
                  <c:v>39966</c:v>
                </c:pt>
                <c:pt idx="4021">
                  <c:v>39967</c:v>
                </c:pt>
                <c:pt idx="4022">
                  <c:v>39968</c:v>
                </c:pt>
                <c:pt idx="4023">
                  <c:v>39969</c:v>
                </c:pt>
                <c:pt idx="4024">
                  <c:v>39972</c:v>
                </c:pt>
                <c:pt idx="4025">
                  <c:v>39973</c:v>
                </c:pt>
                <c:pt idx="4026">
                  <c:v>39974</c:v>
                </c:pt>
                <c:pt idx="4027">
                  <c:v>39975</c:v>
                </c:pt>
                <c:pt idx="4028">
                  <c:v>39976</c:v>
                </c:pt>
                <c:pt idx="4029">
                  <c:v>39979</c:v>
                </c:pt>
                <c:pt idx="4030">
                  <c:v>39980</c:v>
                </c:pt>
                <c:pt idx="4031">
                  <c:v>39981</c:v>
                </c:pt>
                <c:pt idx="4032">
                  <c:v>39982</c:v>
                </c:pt>
                <c:pt idx="4033">
                  <c:v>39983</c:v>
                </c:pt>
                <c:pt idx="4034">
                  <c:v>39986</c:v>
                </c:pt>
                <c:pt idx="4035">
                  <c:v>39987</c:v>
                </c:pt>
                <c:pt idx="4036">
                  <c:v>39988</c:v>
                </c:pt>
                <c:pt idx="4037">
                  <c:v>39989</c:v>
                </c:pt>
                <c:pt idx="4038">
                  <c:v>39990</c:v>
                </c:pt>
                <c:pt idx="4039">
                  <c:v>39993</c:v>
                </c:pt>
                <c:pt idx="4040">
                  <c:v>39994</c:v>
                </c:pt>
                <c:pt idx="4041">
                  <c:v>39995</c:v>
                </c:pt>
                <c:pt idx="4042">
                  <c:v>39996</c:v>
                </c:pt>
                <c:pt idx="4043">
                  <c:v>39997</c:v>
                </c:pt>
                <c:pt idx="4044">
                  <c:v>40000</c:v>
                </c:pt>
                <c:pt idx="4045">
                  <c:v>40001</c:v>
                </c:pt>
                <c:pt idx="4046">
                  <c:v>40002</c:v>
                </c:pt>
                <c:pt idx="4047">
                  <c:v>40003</c:v>
                </c:pt>
                <c:pt idx="4048">
                  <c:v>40004</c:v>
                </c:pt>
                <c:pt idx="4049">
                  <c:v>40007</c:v>
                </c:pt>
                <c:pt idx="4050">
                  <c:v>40008</c:v>
                </c:pt>
                <c:pt idx="4051">
                  <c:v>40009</c:v>
                </c:pt>
                <c:pt idx="4052">
                  <c:v>40010</c:v>
                </c:pt>
                <c:pt idx="4053">
                  <c:v>40011</c:v>
                </c:pt>
                <c:pt idx="4054">
                  <c:v>40014</c:v>
                </c:pt>
                <c:pt idx="4055">
                  <c:v>40015</c:v>
                </c:pt>
                <c:pt idx="4056">
                  <c:v>40016</c:v>
                </c:pt>
                <c:pt idx="4057">
                  <c:v>40017</c:v>
                </c:pt>
                <c:pt idx="4058">
                  <c:v>40018</c:v>
                </c:pt>
                <c:pt idx="4059">
                  <c:v>40021</c:v>
                </c:pt>
                <c:pt idx="4060">
                  <c:v>40022</c:v>
                </c:pt>
                <c:pt idx="4061">
                  <c:v>40023</c:v>
                </c:pt>
                <c:pt idx="4062">
                  <c:v>40024</c:v>
                </c:pt>
                <c:pt idx="4063">
                  <c:v>40025</c:v>
                </c:pt>
                <c:pt idx="4064">
                  <c:v>40028</c:v>
                </c:pt>
                <c:pt idx="4065">
                  <c:v>40029</c:v>
                </c:pt>
                <c:pt idx="4066">
                  <c:v>40030</c:v>
                </c:pt>
                <c:pt idx="4067">
                  <c:v>40031</c:v>
                </c:pt>
                <c:pt idx="4068">
                  <c:v>40032</c:v>
                </c:pt>
                <c:pt idx="4069">
                  <c:v>40035</c:v>
                </c:pt>
                <c:pt idx="4070">
                  <c:v>40036</c:v>
                </c:pt>
                <c:pt idx="4071">
                  <c:v>40037</c:v>
                </c:pt>
                <c:pt idx="4072">
                  <c:v>40038</c:v>
                </c:pt>
                <c:pt idx="4073">
                  <c:v>40039</c:v>
                </c:pt>
                <c:pt idx="4074">
                  <c:v>40042</c:v>
                </c:pt>
                <c:pt idx="4075">
                  <c:v>40043</c:v>
                </c:pt>
                <c:pt idx="4076">
                  <c:v>40044</c:v>
                </c:pt>
                <c:pt idx="4077">
                  <c:v>40045</c:v>
                </c:pt>
                <c:pt idx="4078">
                  <c:v>40046</c:v>
                </c:pt>
                <c:pt idx="4079">
                  <c:v>40049</c:v>
                </c:pt>
                <c:pt idx="4080">
                  <c:v>40050</c:v>
                </c:pt>
                <c:pt idx="4081">
                  <c:v>40051</c:v>
                </c:pt>
                <c:pt idx="4082">
                  <c:v>40052</c:v>
                </c:pt>
                <c:pt idx="4083">
                  <c:v>40053</c:v>
                </c:pt>
                <c:pt idx="4084">
                  <c:v>40056</c:v>
                </c:pt>
                <c:pt idx="4085">
                  <c:v>40057</c:v>
                </c:pt>
                <c:pt idx="4086">
                  <c:v>40058</c:v>
                </c:pt>
                <c:pt idx="4087">
                  <c:v>40059</c:v>
                </c:pt>
                <c:pt idx="4088">
                  <c:v>40060</c:v>
                </c:pt>
                <c:pt idx="4089">
                  <c:v>40063</c:v>
                </c:pt>
                <c:pt idx="4090">
                  <c:v>40064</c:v>
                </c:pt>
                <c:pt idx="4091">
                  <c:v>40065</c:v>
                </c:pt>
                <c:pt idx="4092">
                  <c:v>40066</c:v>
                </c:pt>
                <c:pt idx="4093">
                  <c:v>40067</c:v>
                </c:pt>
                <c:pt idx="4094">
                  <c:v>40070</c:v>
                </c:pt>
                <c:pt idx="4095">
                  <c:v>40071</c:v>
                </c:pt>
                <c:pt idx="4096">
                  <c:v>40072</c:v>
                </c:pt>
                <c:pt idx="4097">
                  <c:v>40073</c:v>
                </c:pt>
                <c:pt idx="4098">
                  <c:v>40074</c:v>
                </c:pt>
                <c:pt idx="4099">
                  <c:v>40077</c:v>
                </c:pt>
                <c:pt idx="4100">
                  <c:v>40078</c:v>
                </c:pt>
                <c:pt idx="4101">
                  <c:v>40079</c:v>
                </c:pt>
                <c:pt idx="4102">
                  <c:v>40080</c:v>
                </c:pt>
                <c:pt idx="4103">
                  <c:v>40081</c:v>
                </c:pt>
                <c:pt idx="4104">
                  <c:v>40084</c:v>
                </c:pt>
                <c:pt idx="4105">
                  <c:v>40085</c:v>
                </c:pt>
                <c:pt idx="4106">
                  <c:v>40086</c:v>
                </c:pt>
                <c:pt idx="4107">
                  <c:v>40087</c:v>
                </c:pt>
                <c:pt idx="4108">
                  <c:v>40088</c:v>
                </c:pt>
                <c:pt idx="4109">
                  <c:v>40091</c:v>
                </c:pt>
                <c:pt idx="4110">
                  <c:v>40092</c:v>
                </c:pt>
                <c:pt idx="4111">
                  <c:v>40093</c:v>
                </c:pt>
                <c:pt idx="4112">
                  <c:v>40094</c:v>
                </c:pt>
                <c:pt idx="4113">
                  <c:v>40095</c:v>
                </c:pt>
                <c:pt idx="4114">
                  <c:v>40098</c:v>
                </c:pt>
                <c:pt idx="4115">
                  <c:v>40099</c:v>
                </c:pt>
                <c:pt idx="4116">
                  <c:v>40100</c:v>
                </c:pt>
                <c:pt idx="4117">
                  <c:v>40101</c:v>
                </c:pt>
                <c:pt idx="4118">
                  <c:v>40102</c:v>
                </c:pt>
                <c:pt idx="4119">
                  <c:v>40105</c:v>
                </c:pt>
                <c:pt idx="4120">
                  <c:v>40106</c:v>
                </c:pt>
                <c:pt idx="4121">
                  <c:v>40107</c:v>
                </c:pt>
                <c:pt idx="4122">
                  <c:v>40108</c:v>
                </c:pt>
                <c:pt idx="4123">
                  <c:v>40109</c:v>
                </c:pt>
                <c:pt idx="4124">
                  <c:v>40112</c:v>
                </c:pt>
                <c:pt idx="4125">
                  <c:v>40113</c:v>
                </c:pt>
                <c:pt idx="4126">
                  <c:v>40114</c:v>
                </c:pt>
                <c:pt idx="4127">
                  <c:v>40115</c:v>
                </c:pt>
                <c:pt idx="4128">
                  <c:v>40116</c:v>
                </c:pt>
                <c:pt idx="4129">
                  <c:v>40119</c:v>
                </c:pt>
                <c:pt idx="4130">
                  <c:v>40120</c:v>
                </c:pt>
                <c:pt idx="4131">
                  <c:v>40121</c:v>
                </c:pt>
                <c:pt idx="4132">
                  <c:v>40122</c:v>
                </c:pt>
                <c:pt idx="4133">
                  <c:v>40123</c:v>
                </c:pt>
                <c:pt idx="4134">
                  <c:v>40126</c:v>
                </c:pt>
                <c:pt idx="4135">
                  <c:v>40127</c:v>
                </c:pt>
                <c:pt idx="4136">
                  <c:v>40128</c:v>
                </c:pt>
                <c:pt idx="4137">
                  <c:v>40129</c:v>
                </c:pt>
                <c:pt idx="4138">
                  <c:v>40130</c:v>
                </c:pt>
                <c:pt idx="4139">
                  <c:v>40133</c:v>
                </c:pt>
                <c:pt idx="4140">
                  <c:v>40134</c:v>
                </c:pt>
                <c:pt idx="4141">
                  <c:v>40135</c:v>
                </c:pt>
                <c:pt idx="4142">
                  <c:v>40136</c:v>
                </c:pt>
                <c:pt idx="4143">
                  <c:v>40137</c:v>
                </c:pt>
                <c:pt idx="4144">
                  <c:v>40140</c:v>
                </c:pt>
                <c:pt idx="4145">
                  <c:v>40141</c:v>
                </c:pt>
                <c:pt idx="4146">
                  <c:v>40142</c:v>
                </c:pt>
                <c:pt idx="4147">
                  <c:v>40143</c:v>
                </c:pt>
                <c:pt idx="4148">
                  <c:v>40144</c:v>
                </c:pt>
                <c:pt idx="4149">
                  <c:v>40147</c:v>
                </c:pt>
                <c:pt idx="4150">
                  <c:v>40148</c:v>
                </c:pt>
                <c:pt idx="4151">
                  <c:v>40149</c:v>
                </c:pt>
                <c:pt idx="4152">
                  <c:v>40150</c:v>
                </c:pt>
                <c:pt idx="4153">
                  <c:v>40151</c:v>
                </c:pt>
                <c:pt idx="4154">
                  <c:v>40154</c:v>
                </c:pt>
                <c:pt idx="4155">
                  <c:v>40155</c:v>
                </c:pt>
                <c:pt idx="4156">
                  <c:v>40156</c:v>
                </c:pt>
                <c:pt idx="4157">
                  <c:v>40157</c:v>
                </c:pt>
                <c:pt idx="4158">
                  <c:v>40158</c:v>
                </c:pt>
                <c:pt idx="4159">
                  <c:v>40161</c:v>
                </c:pt>
                <c:pt idx="4160">
                  <c:v>40162</c:v>
                </c:pt>
                <c:pt idx="4161">
                  <c:v>40163</c:v>
                </c:pt>
                <c:pt idx="4162">
                  <c:v>40164</c:v>
                </c:pt>
                <c:pt idx="4163">
                  <c:v>40165</c:v>
                </c:pt>
                <c:pt idx="4164">
                  <c:v>40168</c:v>
                </c:pt>
                <c:pt idx="4165">
                  <c:v>40169</c:v>
                </c:pt>
                <c:pt idx="4166">
                  <c:v>40170</c:v>
                </c:pt>
                <c:pt idx="4167">
                  <c:v>40171</c:v>
                </c:pt>
                <c:pt idx="4168">
                  <c:v>40172</c:v>
                </c:pt>
                <c:pt idx="4169">
                  <c:v>40175</c:v>
                </c:pt>
                <c:pt idx="4170">
                  <c:v>40176</c:v>
                </c:pt>
                <c:pt idx="4171">
                  <c:v>40177</c:v>
                </c:pt>
                <c:pt idx="4172">
                  <c:v>40178</c:v>
                </c:pt>
                <c:pt idx="4173">
                  <c:v>40179</c:v>
                </c:pt>
                <c:pt idx="4174">
                  <c:v>40182</c:v>
                </c:pt>
                <c:pt idx="4175">
                  <c:v>40183</c:v>
                </c:pt>
                <c:pt idx="4176">
                  <c:v>40184</c:v>
                </c:pt>
                <c:pt idx="4177">
                  <c:v>40185</c:v>
                </c:pt>
                <c:pt idx="4178">
                  <c:v>40186</c:v>
                </c:pt>
                <c:pt idx="4179">
                  <c:v>40189</c:v>
                </c:pt>
                <c:pt idx="4180">
                  <c:v>40190</c:v>
                </c:pt>
                <c:pt idx="4181">
                  <c:v>40191</c:v>
                </c:pt>
                <c:pt idx="4182">
                  <c:v>40192</c:v>
                </c:pt>
                <c:pt idx="4183">
                  <c:v>40193</c:v>
                </c:pt>
                <c:pt idx="4184">
                  <c:v>40196</c:v>
                </c:pt>
                <c:pt idx="4185">
                  <c:v>40197</c:v>
                </c:pt>
                <c:pt idx="4186">
                  <c:v>40198</c:v>
                </c:pt>
                <c:pt idx="4187">
                  <c:v>40199</c:v>
                </c:pt>
                <c:pt idx="4188">
                  <c:v>40200</c:v>
                </c:pt>
                <c:pt idx="4189">
                  <c:v>40203</c:v>
                </c:pt>
                <c:pt idx="4190">
                  <c:v>40204</c:v>
                </c:pt>
                <c:pt idx="4191">
                  <c:v>40205</c:v>
                </c:pt>
                <c:pt idx="4192">
                  <c:v>40206</c:v>
                </c:pt>
                <c:pt idx="4193">
                  <c:v>40207</c:v>
                </c:pt>
                <c:pt idx="4194">
                  <c:v>40210</c:v>
                </c:pt>
                <c:pt idx="4195">
                  <c:v>40211</c:v>
                </c:pt>
                <c:pt idx="4196">
                  <c:v>40212</c:v>
                </c:pt>
                <c:pt idx="4197">
                  <c:v>40213</c:v>
                </c:pt>
                <c:pt idx="4198">
                  <c:v>40214</c:v>
                </c:pt>
                <c:pt idx="4199">
                  <c:v>40217</c:v>
                </c:pt>
                <c:pt idx="4200">
                  <c:v>40218</c:v>
                </c:pt>
                <c:pt idx="4201">
                  <c:v>40219</c:v>
                </c:pt>
                <c:pt idx="4202">
                  <c:v>40220</c:v>
                </c:pt>
                <c:pt idx="4203">
                  <c:v>40221</c:v>
                </c:pt>
                <c:pt idx="4204">
                  <c:v>40224</c:v>
                </c:pt>
                <c:pt idx="4205">
                  <c:v>40225</c:v>
                </c:pt>
                <c:pt idx="4206">
                  <c:v>40226</c:v>
                </c:pt>
                <c:pt idx="4207">
                  <c:v>40227</c:v>
                </c:pt>
                <c:pt idx="4208">
                  <c:v>40228</c:v>
                </c:pt>
                <c:pt idx="4209">
                  <c:v>40231</c:v>
                </c:pt>
                <c:pt idx="4210">
                  <c:v>40232</c:v>
                </c:pt>
                <c:pt idx="4211">
                  <c:v>40233</c:v>
                </c:pt>
                <c:pt idx="4212">
                  <c:v>40234</c:v>
                </c:pt>
                <c:pt idx="4213">
                  <c:v>40235</c:v>
                </c:pt>
                <c:pt idx="4214">
                  <c:v>40238</c:v>
                </c:pt>
                <c:pt idx="4215">
                  <c:v>40239</c:v>
                </c:pt>
                <c:pt idx="4216">
                  <c:v>40240</c:v>
                </c:pt>
                <c:pt idx="4217">
                  <c:v>40241</c:v>
                </c:pt>
                <c:pt idx="4218">
                  <c:v>40242</c:v>
                </c:pt>
                <c:pt idx="4219">
                  <c:v>40245</c:v>
                </c:pt>
                <c:pt idx="4220">
                  <c:v>40246</c:v>
                </c:pt>
                <c:pt idx="4221">
                  <c:v>40247</c:v>
                </c:pt>
                <c:pt idx="4222">
                  <c:v>40248</c:v>
                </c:pt>
                <c:pt idx="4223">
                  <c:v>40249</c:v>
                </c:pt>
                <c:pt idx="4224">
                  <c:v>40252</c:v>
                </c:pt>
                <c:pt idx="4225">
                  <c:v>40253</c:v>
                </c:pt>
                <c:pt idx="4226">
                  <c:v>40254</c:v>
                </c:pt>
                <c:pt idx="4227">
                  <c:v>40255</c:v>
                </c:pt>
                <c:pt idx="4228">
                  <c:v>40256</c:v>
                </c:pt>
                <c:pt idx="4229">
                  <c:v>40259</c:v>
                </c:pt>
                <c:pt idx="4230">
                  <c:v>40260</c:v>
                </c:pt>
                <c:pt idx="4231">
                  <c:v>40261</c:v>
                </c:pt>
                <c:pt idx="4232">
                  <c:v>40262</c:v>
                </c:pt>
                <c:pt idx="4233">
                  <c:v>40263</c:v>
                </c:pt>
                <c:pt idx="4234">
                  <c:v>40266</c:v>
                </c:pt>
                <c:pt idx="4235">
                  <c:v>40267</c:v>
                </c:pt>
                <c:pt idx="4236">
                  <c:v>40268</c:v>
                </c:pt>
                <c:pt idx="4237">
                  <c:v>40269</c:v>
                </c:pt>
                <c:pt idx="4238">
                  <c:v>40270</c:v>
                </c:pt>
                <c:pt idx="4239">
                  <c:v>40273</c:v>
                </c:pt>
                <c:pt idx="4240">
                  <c:v>40274</c:v>
                </c:pt>
                <c:pt idx="4241">
                  <c:v>40275</c:v>
                </c:pt>
                <c:pt idx="4242">
                  <c:v>40276</c:v>
                </c:pt>
                <c:pt idx="4243">
                  <c:v>40277</c:v>
                </c:pt>
                <c:pt idx="4244">
                  <c:v>40280</c:v>
                </c:pt>
                <c:pt idx="4245">
                  <c:v>40281</c:v>
                </c:pt>
                <c:pt idx="4246">
                  <c:v>40282</c:v>
                </c:pt>
                <c:pt idx="4247">
                  <c:v>40283</c:v>
                </c:pt>
                <c:pt idx="4248">
                  <c:v>40284</c:v>
                </c:pt>
                <c:pt idx="4249">
                  <c:v>40287</c:v>
                </c:pt>
                <c:pt idx="4250">
                  <c:v>40288</c:v>
                </c:pt>
                <c:pt idx="4251">
                  <c:v>40289</c:v>
                </c:pt>
                <c:pt idx="4252">
                  <c:v>40290</c:v>
                </c:pt>
                <c:pt idx="4253">
                  <c:v>40291</c:v>
                </c:pt>
                <c:pt idx="4254">
                  <c:v>40294</c:v>
                </c:pt>
                <c:pt idx="4255">
                  <c:v>40295</c:v>
                </c:pt>
                <c:pt idx="4256">
                  <c:v>40296</c:v>
                </c:pt>
                <c:pt idx="4257">
                  <c:v>40297</c:v>
                </c:pt>
                <c:pt idx="4258">
                  <c:v>40298</c:v>
                </c:pt>
                <c:pt idx="4259">
                  <c:v>40301</c:v>
                </c:pt>
                <c:pt idx="4260">
                  <c:v>40302</c:v>
                </c:pt>
                <c:pt idx="4261">
                  <c:v>40303</c:v>
                </c:pt>
                <c:pt idx="4262">
                  <c:v>40304</c:v>
                </c:pt>
                <c:pt idx="4263">
                  <c:v>40305</c:v>
                </c:pt>
                <c:pt idx="4264">
                  <c:v>40308</c:v>
                </c:pt>
                <c:pt idx="4265">
                  <c:v>40309</c:v>
                </c:pt>
                <c:pt idx="4266">
                  <c:v>40310</c:v>
                </c:pt>
                <c:pt idx="4267">
                  <c:v>40311</c:v>
                </c:pt>
                <c:pt idx="4268">
                  <c:v>40312</c:v>
                </c:pt>
                <c:pt idx="4269">
                  <c:v>40315</c:v>
                </c:pt>
                <c:pt idx="4270">
                  <c:v>40316</c:v>
                </c:pt>
                <c:pt idx="4271">
                  <c:v>40317</c:v>
                </c:pt>
                <c:pt idx="4272">
                  <c:v>40318</c:v>
                </c:pt>
                <c:pt idx="4273">
                  <c:v>40319</c:v>
                </c:pt>
                <c:pt idx="4274">
                  <c:v>40322</c:v>
                </c:pt>
                <c:pt idx="4275">
                  <c:v>40323</c:v>
                </c:pt>
                <c:pt idx="4276">
                  <c:v>40324</c:v>
                </c:pt>
                <c:pt idx="4277">
                  <c:v>40325</c:v>
                </c:pt>
                <c:pt idx="4278">
                  <c:v>40326</c:v>
                </c:pt>
                <c:pt idx="4279">
                  <c:v>40329</c:v>
                </c:pt>
                <c:pt idx="4280">
                  <c:v>40330</c:v>
                </c:pt>
                <c:pt idx="4281">
                  <c:v>40331</c:v>
                </c:pt>
                <c:pt idx="4282">
                  <c:v>40332</c:v>
                </c:pt>
                <c:pt idx="4283">
                  <c:v>40333</c:v>
                </c:pt>
                <c:pt idx="4284">
                  <c:v>40336</c:v>
                </c:pt>
                <c:pt idx="4285">
                  <c:v>40337</c:v>
                </c:pt>
                <c:pt idx="4286">
                  <c:v>40338</c:v>
                </c:pt>
                <c:pt idx="4287">
                  <c:v>40339</c:v>
                </c:pt>
                <c:pt idx="4288">
                  <c:v>40340</c:v>
                </c:pt>
                <c:pt idx="4289">
                  <c:v>40343</c:v>
                </c:pt>
                <c:pt idx="4290">
                  <c:v>40344</c:v>
                </c:pt>
                <c:pt idx="4291">
                  <c:v>40345</c:v>
                </c:pt>
                <c:pt idx="4292">
                  <c:v>40346</c:v>
                </c:pt>
                <c:pt idx="4293">
                  <c:v>40347</c:v>
                </c:pt>
                <c:pt idx="4294">
                  <c:v>40350</c:v>
                </c:pt>
                <c:pt idx="4295">
                  <c:v>40351</c:v>
                </c:pt>
                <c:pt idx="4296">
                  <c:v>40352</c:v>
                </c:pt>
                <c:pt idx="4297">
                  <c:v>40353</c:v>
                </c:pt>
                <c:pt idx="4298">
                  <c:v>40354</c:v>
                </c:pt>
                <c:pt idx="4299">
                  <c:v>40357</c:v>
                </c:pt>
                <c:pt idx="4300">
                  <c:v>40358</c:v>
                </c:pt>
                <c:pt idx="4301">
                  <c:v>40359</c:v>
                </c:pt>
                <c:pt idx="4302">
                  <c:v>40360</c:v>
                </c:pt>
                <c:pt idx="4303">
                  <c:v>40361</c:v>
                </c:pt>
                <c:pt idx="4304">
                  <c:v>40364</c:v>
                </c:pt>
                <c:pt idx="4305">
                  <c:v>40365</c:v>
                </c:pt>
                <c:pt idx="4306">
                  <c:v>40366</c:v>
                </c:pt>
                <c:pt idx="4307">
                  <c:v>40367</c:v>
                </c:pt>
                <c:pt idx="4308">
                  <c:v>40368</c:v>
                </c:pt>
                <c:pt idx="4309">
                  <c:v>40371</c:v>
                </c:pt>
                <c:pt idx="4310">
                  <c:v>40372</c:v>
                </c:pt>
                <c:pt idx="4311">
                  <c:v>40373</c:v>
                </c:pt>
                <c:pt idx="4312">
                  <c:v>40374</c:v>
                </c:pt>
                <c:pt idx="4313">
                  <c:v>40375</c:v>
                </c:pt>
                <c:pt idx="4314">
                  <c:v>40378</c:v>
                </c:pt>
                <c:pt idx="4315">
                  <c:v>40379</c:v>
                </c:pt>
                <c:pt idx="4316">
                  <c:v>40380</c:v>
                </c:pt>
                <c:pt idx="4317">
                  <c:v>40381</c:v>
                </c:pt>
                <c:pt idx="4318">
                  <c:v>40382</c:v>
                </c:pt>
                <c:pt idx="4319">
                  <c:v>40385</c:v>
                </c:pt>
                <c:pt idx="4320">
                  <c:v>40386</c:v>
                </c:pt>
                <c:pt idx="4321">
                  <c:v>40387</c:v>
                </c:pt>
                <c:pt idx="4322">
                  <c:v>40388</c:v>
                </c:pt>
                <c:pt idx="4323">
                  <c:v>40389</c:v>
                </c:pt>
                <c:pt idx="4324">
                  <c:v>40392</c:v>
                </c:pt>
                <c:pt idx="4325">
                  <c:v>40393</c:v>
                </c:pt>
                <c:pt idx="4326">
                  <c:v>40394</c:v>
                </c:pt>
                <c:pt idx="4327">
                  <c:v>40395</c:v>
                </c:pt>
                <c:pt idx="4328">
                  <c:v>40396</c:v>
                </c:pt>
                <c:pt idx="4329">
                  <c:v>40399</c:v>
                </c:pt>
                <c:pt idx="4330">
                  <c:v>40400</c:v>
                </c:pt>
                <c:pt idx="4331">
                  <c:v>40401</c:v>
                </c:pt>
                <c:pt idx="4332">
                  <c:v>40402</c:v>
                </c:pt>
                <c:pt idx="4333">
                  <c:v>40403</c:v>
                </c:pt>
                <c:pt idx="4334">
                  <c:v>40406</c:v>
                </c:pt>
                <c:pt idx="4335">
                  <c:v>40407</c:v>
                </c:pt>
                <c:pt idx="4336">
                  <c:v>40408</c:v>
                </c:pt>
                <c:pt idx="4337">
                  <c:v>40409</c:v>
                </c:pt>
                <c:pt idx="4338">
                  <c:v>40410</c:v>
                </c:pt>
                <c:pt idx="4339">
                  <c:v>40413</c:v>
                </c:pt>
                <c:pt idx="4340">
                  <c:v>40414</c:v>
                </c:pt>
                <c:pt idx="4341">
                  <c:v>40415</c:v>
                </c:pt>
                <c:pt idx="4342">
                  <c:v>40416</c:v>
                </c:pt>
                <c:pt idx="4343">
                  <c:v>40417</c:v>
                </c:pt>
                <c:pt idx="4344">
                  <c:v>40420</c:v>
                </c:pt>
                <c:pt idx="4345">
                  <c:v>40421</c:v>
                </c:pt>
                <c:pt idx="4346">
                  <c:v>40422</c:v>
                </c:pt>
                <c:pt idx="4347">
                  <c:v>40423</c:v>
                </c:pt>
                <c:pt idx="4348">
                  <c:v>40424</c:v>
                </c:pt>
                <c:pt idx="4349">
                  <c:v>40427</c:v>
                </c:pt>
                <c:pt idx="4350">
                  <c:v>40428</c:v>
                </c:pt>
                <c:pt idx="4351">
                  <c:v>40429</c:v>
                </c:pt>
                <c:pt idx="4352">
                  <c:v>40430</c:v>
                </c:pt>
                <c:pt idx="4353">
                  <c:v>40431</c:v>
                </c:pt>
                <c:pt idx="4354">
                  <c:v>40434</c:v>
                </c:pt>
                <c:pt idx="4355">
                  <c:v>40435</c:v>
                </c:pt>
                <c:pt idx="4356">
                  <c:v>40436</c:v>
                </c:pt>
                <c:pt idx="4357">
                  <c:v>40437</c:v>
                </c:pt>
                <c:pt idx="4358">
                  <c:v>40438</c:v>
                </c:pt>
                <c:pt idx="4359">
                  <c:v>40441</c:v>
                </c:pt>
                <c:pt idx="4360">
                  <c:v>40442</c:v>
                </c:pt>
                <c:pt idx="4361">
                  <c:v>40443</c:v>
                </c:pt>
                <c:pt idx="4362">
                  <c:v>40444</c:v>
                </c:pt>
                <c:pt idx="4363">
                  <c:v>40445</c:v>
                </c:pt>
                <c:pt idx="4364">
                  <c:v>40448</c:v>
                </c:pt>
                <c:pt idx="4365">
                  <c:v>40449</c:v>
                </c:pt>
                <c:pt idx="4366">
                  <c:v>40450</c:v>
                </c:pt>
                <c:pt idx="4367">
                  <c:v>40451</c:v>
                </c:pt>
                <c:pt idx="4368">
                  <c:v>40452</c:v>
                </c:pt>
                <c:pt idx="4369">
                  <c:v>40455</c:v>
                </c:pt>
                <c:pt idx="4370">
                  <c:v>40456</c:v>
                </c:pt>
                <c:pt idx="4371">
                  <c:v>40457</c:v>
                </c:pt>
                <c:pt idx="4372">
                  <c:v>40458</c:v>
                </c:pt>
                <c:pt idx="4373">
                  <c:v>40459</c:v>
                </c:pt>
                <c:pt idx="4374">
                  <c:v>40462</c:v>
                </c:pt>
                <c:pt idx="4375">
                  <c:v>40463</c:v>
                </c:pt>
                <c:pt idx="4376">
                  <c:v>40464</c:v>
                </c:pt>
                <c:pt idx="4377">
                  <c:v>40465</c:v>
                </c:pt>
                <c:pt idx="4378">
                  <c:v>40466</c:v>
                </c:pt>
                <c:pt idx="4379">
                  <c:v>40469</c:v>
                </c:pt>
                <c:pt idx="4380">
                  <c:v>40470</c:v>
                </c:pt>
                <c:pt idx="4381">
                  <c:v>40471</c:v>
                </c:pt>
                <c:pt idx="4382">
                  <c:v>40472</c:v>
                </c:pt>
                <c:pt idx="4383">
                  <c:v>40473</c:v>
                </c:pt>
                <c:pt idx="4384">
                  <c:v>40476</c:v>
                </c:pt>
                <c:pt idx="4385">
                  <c:v>40477</c:v>
                </c:pt>
                <c:pt idx="4386">
                  <c:v>40478</c:v>
                </c:pt>
                <c:pt idx="4387">
                  <c:v>40479</c:v>
                </c:pt>
                <c:pt idx="4388">
                  <c:v>40480</c:v>
                </c:pt>
                <c:pt idx="4389">
                  <c:v>40483</c:v>
                </c:pt>
                <c:pt idx="4390">
                  <c:v>40484</c:v>
                </c:pt>
                <c:pt idx="4391">
                  <c:v>40485</c:v>
                </c:pt>
                <c:pt idx="4392">
                  <c:v>40486</c:v>
                </c:pt>
                <c:pt idx="4393">
                  <c:v>40487</c:v>
                </c:pt>
                <c:pt idx="4394">
                  <c:v>40490</c:v>
                </c:pt>
                <c:pt idx="4395">
                  <c:v>40491</c:v>
                </c:pt>
                <c:pt idx="4396">
                  <c:v>40492</c:v>
                </c:pt>
                <c:pt idx="4397">
                  <c:v>40493</c:v>
                </c:pt>
                <c:pt idx="4398">
                  <c:v>40494</c:v>
                </c:pt>
                <c:pt idx="4399">
                  <c:v>40497</c:v>
                </c:pt>
                <c:pt idx="4400">
                  <c:v>40498</c:v>
                </c:pt>
                <c:pt idx="4401">
                  <c:v>40499</c:v>
                </c:pt>
                <c:pt idx="4402">
                  <c:v>40500</c:v>
                </c:pt>
                <c:pt idx="4403">
                  <c:v>40501</c:v>
                </c:pt>
                <c:pt idx="4404">
                  <c:v>40504</c:v>
                </c:pt>
                <c:pt idx="4405">
                  <c:v>40505</c:v>
                </c:pt>
                <c:pt idx="4406">
                  <c:v>40506</c:v>
                </c:pt>
                <c:pt idx="4407">
                  <c:v>40507</c:v>
                </c:pt>
                <c:pt idx="4408">
                  <c:v>40508</c:v>
                </c:pt>
                <c:pt idx="4409">
                  <c:v>40511</c:v>
                </c:pt>
                <c:pt idx="4410">
                  <c:v>40512</c:v>
                </c:pt>
                <c:pt idx="4411">
                  <c:v>40513</c:v>
                </c:pt>
                <c:pt idx="4412">
                  <c:v>40514</c:v>
                </c:pt>
                <c:pt idx="4413">
                  <c:v>40515</c:v>
                </c:pt>
                <c:pt idx="4414">
                  <c:v>40518</c:v>
                </c:pt>
                <c:pt idx="4415">
                  <c:v>40519</c:v>
                </c:pt>
                <c:pt idx="4416">
                  <c:v>40520</c:v>
                </c:pt>
                <c:pt idx="4417">
                  <c:v>40521</c:v>
                </c:pt>
                <c:pt idx="4418">
                  <c:v>40522</c:v>
                </c:pt>
                <c:pt idx="4419">
                  <c:v>40525</c:v>
                </c:pt>
                <c:pt idx="4420">
                  <c:v>40526</c:v>
                </c:pt>
                <c:pt idx="4421">
                  <c:v>40527</c:v>
                </c:pt>
                <c:pt idx="4422">
                  <c:v>40528</c:v>
                </c:pt>
                <c:pt idx="4423">
                  <c:v>40529</c:v>
                </c:pt>
                <c:pt idx="4424">
                  <c:v>40532</c:v>
                </c:pt>
                <c:pt idx="4425">
                  <c:v>40533</c:v>
                </c:pt>
                <c:pt idx="4426">
                  <c:v>40534</c:v>
                </c:pt>
                <c:pt idx="4427">
                  <c:v>40535</c:v>
                </c:pt>
                <c:pt idx="4428">
                  <c:v>40536</c:v>
                </c:pt>
                <c:pt idx="4429">
                  <c:v>40539</c:v>
                </c:pt>
                <c:pt idx="4430">
                  <c:v>40540</c:v>
                </c:pt>
                <c:pt idx="4431">
                  <c:v>40541</c:v>
                </c:pt>
                <c:pt idx="4432">
                  <c:v>40542</c:v>
                </c:pt>
                <c:pt idx="4433">
                  <c:v>40543</c:v>
                </c:pt>
                <c:pt idx="4434">
                  <c:v>40546</c:v>
                </c:pt>
                <c:pt idx="4435">
                  <c:v>40547</c:v>
                </c:pt>
                <c:pt idx="4436">
                  <c:v>40548</c:v>
                </c:pt>
                <c:pt idx="4437">
                  <c:v>40549</c:v>
                </c:pt>
                <c:pt idx="4438">
                  <c:v>40550</c:v>
                </c:pt>
                <c:pt idx="4439">
                  <c:v>40553</c:v>
                </c:pt>
                <c:pt idx="4440">
                  <c:v>40554</c:v>
                </c:pt>
                <c:pt idx="4441">
                  <c:v>40555</c:v>
                </c:pt>
                <c:pt idx="4442">
                  <c:v>40556</c:v>
                </c:pt>
                <c:pt idx="4443">
                  <c:v>40557</c:v>
                </c:pt>
                <c:pt idx="4444">
                  <c:v>40560</c:v>
                </c:pt>
                <c:pt idx="4445">
                  <c:v>40561</c:v>
                </c:pt>
                <c:pt idx="4446">
                  <c:v>40562</c:v>
                </c:pt>
                <c:pt idx="4447">
                  <c:v>40563</c:v>
                </c:pt>
                <c:pt idx="4448">
                  <c:v>40564</c:v>
                </c:pt>
                <c:pt idx="4449">
                  <c:v>40567</c:v>
                </c:pt>
                <c:pt idx="4450">
                  <c:v>40568</c:v>
                </c:pt>
                <c:pt idx="4451">
                  <c:v>40569</c:v>
                </c:pt>
                <c:pt idx="4452">
                  <c:v>40570</c:v>
                </c:pt>
                <c:pt idx="4453">
                  <c:v>40571</c:v>
                </c:pt>
                <c:pt idx="4454">
                  <c:v>40574</c:v>
                </c:pt>
                <c:pt idx="4455">
                  <c:v>40575</c:v>
                </c:pt>
                <c:pt idx="4456">
                  <c:v>40576</c:v>
                </c:pt>
                <c:pt idx="4457">
                  <c:v>40577</c:v>
                </c:pt>
                <c:pt idx="4458">
                  <c:v>40578</c:v>
                </c:pt>
                <c:pt idx="4459">
                  <c:v>40581</c:v>
                </c:pt>
                <c:pt idx="4460">
                  <c:v>40582</c:v>
                </c:pt>
                <c:pt idx="4461">
                  <c:v>40583</c:v>
                </c:pt>
                <c:pt idx="4462">
                  <c:v>40584</c:v>
                </c:pt>
                <c:pt idx="4463">
                  <c:v>40585</c:v>
                </c:pt>
                <c:pt idx="4464">
                  <c:v>40588</c:v>
                </c:pt>
                <c:pt idx="4465">
                  <c:v>40589</c:v>
                </c:pt>
                <c:pt idx="4466">
                  <c:v>40590</c:v>
                </c:pt>
                <c:pt idx="4467">
                  <c:v>40591</c:v>
                </c:pt>
                <c:pt idx="4468">
                  <c:v>40592</c:v>
                </c:pt>
                <c:pt idx="4469">
                  <c:v>40595</c:v>
                </c:pt>
                <c:pt idx="4470">
                  <c:v>40596</c:v>
                </c:pt>
                <c:pt idx="4471">
                  <c:v>40597</c:v>
                </c:pt>
                <c:pt idx="4472">
                  <c:v>40598</c:v>
                </c:pt>
                <c:pt idx="4473">
                  <c:v>40599</c:v>
                </c:pt>
                <c:pt idx="4474">
                  <c:v>40602</c:v>
                </c:pt>
                <c:pt idx="4475">
                  <c:v>40603</c:v>
                </c:pt>
                <c:pt idx="4476">
                  <c:v>40604</c:v>
                </c:pt>
                <c:pt idx="4477">
                  <c:v>40605</c:v>
                </c:pt>
                <c:pt idx="4478">
                  <c:v>40606</c:v>
                </c:pt>
                <c:pt idx="4479">
                  <c:v>40609</c:v>
                </c:pt>
                <c:pt idx="4480">
                  <c:v>40610</c:v>
                </c:pt>
                <c:pt idx="4481">
                  <c:v>40611</c:v>
                </c:pt>
                <c:pt idx="4482">
                  <c:v>40612</c:v>
                </c:pt>
                <c:pt idx="4483">
                  <c:v>40613</c:v>
                </c:pt>
                <c:pt idx="4484">
                  <c:v>40616</c:v>
                </c:pt>
                <c:pt idx="4485">
                  <c:v>40617</c:v>
                </c:pt>
                <c:pt idx="4486">
                  <c:v>40618</c:v>
                </c:pt>
                <c:pt idx="4487">
                  <c:v>40619</c:v>
                </c:pt>
                <c:pt idx="4488">
                  <c:v>40620</c:v>
                </c:pt>
                <c:pt idx="4489">
                  <c:v>40623</c:v>
                </c:pt>
                <c:pt idx="4490">
                  <c:v>40624</c:v>
                </c:pt>
                <c:pt idx="4491">
                  <c:v>40625</c:v>
                </c:pt>
                <c:pt idx="4492">
                  <c:v>40626</c:v>
                </c:pt>
                <c:pt idx="4493">
                  <c:v>40627</c:v>
                </c:pt>
                <c:pt idx="4494">
                  <c:v>40630</c:v>
                </c:pt>
                <c:pt idx="4495">
                  <c:v>40631</c:v>
                </c:pt>
                <c:pt idx="4496">
                  <c:v>40632</c:v>
                </c:pt>
                <c:pt idx="4497">
                  <c:v>40633</c:v>
                </c:pt>
                <c:pt idx="4498">
                  <c:v>40634</c:v>
                </c:pt>
                <c:pt idx="4499">
                  <c:v>40637</c:v>
                </c:pt>
                <c:pt idx="4500">
                  <c:v>40638</c:v>
                </c:pt>
                <c:pt idx="4501">
                  <c:v>40639</c:v>
                </c:pt>
                <c:pt idx="4502">
                  <c:v>40640</c:v>
                </c:pt>
                <c:pt idx="4503">
                  <c:v>40641</c:v>
                </c:pt>
                <c:pt idx="4504">
                  <c:v>40644</c:v>
                </c:pt>
                <c:pt idx="4505">
                  <c:v>40645</c:v>
                </c:pt>
                <c:pt idx="4506">
                  <c:v>40646</c:v>
                </c:pt>
                <c:pt idx="4507">
                  <c:v>40647</c:v>
                </c:pt>
                <c:pt idx="4508">
                  <c:v>40648</c:v>
                </c:pt>
                <c:pt idx="4509">
                  <c:v>40651</c:v>
                </c:pt>
                <c:pt idx="4510">
                  <c:v>40652</c:v>
                </c:pt>
                <c:pt idx="4511">
                  <c:v>40653</c:v>
                </c:pt>
                <c:pt idx="4512">
                  <c:v>40654</c:v>
                </c:pt>
                <c:pt idx="4513">
                  <c:v>40655</c:v>
                </c:pt>
                <c:pt idx="4514">
                  <c:v>40658</c:v>
                </c:pt>
                <c:pt idx="4515">
                  <c:v>40659</c:v>
                </c:pt>
                <c:pt idx="4516">
                  <c:v>40660</c:v>
                </c:pt>
                <c:pt idx="4517">
                  <c:v>40661</c:v>
                </c:pt>
                <c:pt idx="4518">
                  <c:v>40662</c:v>
                </c:pt>
                <c:pt idx="4519">
                  <c:v>40665</c:v>
                </c:pt>
                <c:pt idx="4520">
                  <c:v>40666</c:v>
                </c:pt>
                <c:pt idx="4521">
                  <c:v>40667</c:v>
                </c:pt>
                <c:pt idx="4522">
                  <c:v>40668</c:v>
                </c:pt>
                <c:pt idx="4523">
                  <c:v>40669</c:v>
                </c:pt>
                <c:pt idx="4524">
                  <c:v>40672</c:v>
                </c:pt>
                <c:pt idx="4525">
                  <c:v>40673</c:v>
                </c:pt>
                <c:pt idx="4526">
                  <c:v>40674</c:v>
                </c:pt>
                <c:pt idx="4527">
                  <c:v>40675</c:v>
                </c:pt>
                <c:pt idx="4528">
                  <c:v>40676</c:v>
                </c:pt>
                <c:pt idx="4529">
                  <c:v>40679</c:v>
                </c:pt>
                <c:pt idx="4530">
                  <c:v>40680</c:v>
                </c:pt>
                <c:pt idx="4531">
                  <c:v>40681</c:v>
                </c:pt>
                <c:pt idx="4532">
                  <c:v>40682</c:v>
                </c:pt>
                <c:pt idx="4533">
                  <c:v>40683</c:v>
                </c:pt>
                <c:pt idx="4534">
                  <c:v>40686</c:v>
                </c:pt>
                <c:pt idx="4535">
                  <c:v>40687</c:v>
                </c:pt>
                <c:pt idx="4536">
                  <c:v>40688</c:v>
                </c:pt>
                <c:pt idx="4537">
                  <c:v>40689</c:v>
                </c:pt>
                <c:pt idx="4538">
                  <c:v>40690</c:v>
                </c:pt>
                <c:pt idx="4539">
                  <c:v>40693</c:v>
                </c:pt>
                <c:pt idx="4540">
                  <c:v>40694</c:v>
                </c:pt>
                <c:pt idx="4541">
                  <c:v>40695</c:v>
                </c:pt>
                <c:pt idx="4542">
                  <c:v>40696</c:v>
                </c:pt>
                <c:pt idx="4543">
                  <c:v>40697</c:v>
                </c:pt>
                <c:pt idx="4544">
                  <c:v>40700</c:v>
                </c:pt>
                <c:pt idx="4545">
                  <c:v>40701</c:v>
                </c:pt>
                <c:pt idx="4546">
                  <c:v>40702</c:v>
                </c:pt>
                <c:pt idx="4547">
                  <c:v>40703</c:v>
                </c:pt>
                <c:pt idx="4548">
                  <c:v>40704</c:v>
                </c:pt>
                <c:pt idx="4549">
                  <c:v>40707</c:v>
                </c:pt>
                <c:pt idx="4550">
                  <c:v>40708</c:v>
                </c:pt>
                <c:pt idx="4551">
                  <c:v>40709</c:v>
                </c:pt>
                <c:pt idx="4552">
                  <c:v>40710</c:v>
                </c:pt>
                <c:pt idx="4553">
                  <c:v>40711</c:v>
                </c:pt>
                <c:pt idx="4554">
                  <c:v>40714</c:v>
                </c:pt>
                <c:pt idx="4555">
                  <c:v>40715</c:v>
                </c:pt>
                <c:pt idx="4556">
                  <c:v>40716</c:v>
                </c:pt>
                <c:pt idx="4557">
                  <c:v>40717</c:v>
                </c:pt>
                <c:pt idx="4558">
                  <c:v>40718</c:v>
                </c:pt>
                <c:pt idx="4559">
                  <c:v>40721</c:v>
                </c:pt>
                <c:pt idx="4560">
                  <c:v>40722</c:v>
                </c:pt>
                <c:pt idx="4561">
                  <c:v>40723</c:v>
                </c:pt>
                <c:pt idx="4562">
                  <c:v>40724</c:v>
                </c:pt>
                <c:pt idx="4563">
                  <c:v>40725</c:v>
                </c:pt>
                <c:pt idx="4564">
                  <c:v>40728</c:v>
                </c:pt>
                <c:pt idx="4565">
                  <c:v>40729</c:v>
                </c:pt>
                <c:pt idx="4566">
                  <c:v>40730</c:v>
                </c:pt>
                <c:pt idx="4567">
                  <c:v>40731</c:v>
                </c:pt>
                <c:pt idx="4568">
                  <c:v>40732</c:v>
                </c:pt>
                <c:pt idx="4569">
                  <c:v>40735</c:v>
                </c:pt>
                <c:pt idx="4570">
                  <c:v>40736</c:v>
                </c:pt>
                <c:pt idx="4571">
                  <c:v>40737</c:v>
                </c:pt>
                <c:pt idx="4572">
                  <c:v>40738</c:v>
                </c:pt>
                <c:pt idx="4573">
                  <c:v>40739</c:v>
                </c:pt>
                <c:pt idx="4574">
                  <c:v>40742</c:v>
                </c:pt>
                <c:pt idx="4575">
                  <c:v>40743</c:v>
                </c:pt>
                <c:pt idx="4576">
                  <c:v>40744</c:v>
                </c:pt>
                <c:pt idx="4577">
                  <c:v>40745</c:v>
                </c:pt>
                <c:pt idx="4578">
                  <c:v>40746</c:v>
                </c:pt>
                <c:pt idx="4579">
                  <c:v>40749</c:v>
                </c:pt>
                <c:pt idx="4580">
                  <c:v>40750</c:v>
                </c:pt>
                <c:pt idx="4581">
                  <c:v>40751</c:v>
                </c:pt>
                <c:pt idx="4582">
                  <c:v>40752</c:v>
                </c:pt>
                <c:pt idx="4583">
                  <c:v>40753</c:v>
                </c:pt>
                <c:pt idx="4584">
                  <c:v>40756</c:v>
                </c:pt>
                <c:pt idx="4585">
                  <c:v>40757</c:v>
                </c:pt>
                <c:pt idx="4586">
                  <c:v>40758</c:v>
                </c:pt>
                <c:pt idx="4587">
                  <c:v>40759</c:v>
                </c:pt>
                <c:pt idx="4588">
                  <c:v>40760</c:v>
                </c:pt>
                <c:pt idx="4589">
                  <c:v>40763</c:v>
                </c:pt>
                <c:pt idx="4590">
                  <c:v>40764</c:v>
                </c:pt>
                <c:pt idx="4591">
                  <c:v>40765</c:v>
                </c:pt>
                <c:pt idx="4592">
                  <c:v>40766</c:v>
                </c:pt>
                <c:pt idx="4593">
                  <c:v>40767</c:v>
                </c:pt>
                <c:pt idx="4594">
                  <c:v>40770</c:v>
                </c:pt>
                <c:pt idx="4595">
                  <c:v>40771</c:v>
                </c:pt>
                <c:pt idx="4596">
                  <c:v>40772</c:v>
                </c:pt>
                <c:pt idx="4597">
                  <c:v>40773</c:v>
                </c:pt>
                <c:pt idx="4598">
                  <c:v>40774</c:v>
                </c:pt>
                <c:pt idx="4599">
                  <c:v>40777</c:v>
                </c:pt>
                <c:pt idx="4600">
                  <c:v>40778</c:v>
                </c:pt>
                <c:pt idx="4601">
                  <c:v>40779</c:v>
                </c:pt>
                <c:pt idx="4602">
                  <c:v>40780</c:v>
                </c:pt>
                <c:pt idx="4603">
                  <c:v>40781</c:v>
                </c:pt>
                <c:pt idx="4604">
                  <c:v>40784</c:v>
                </c:pt>
                <c:pt idx="4605">
                  <c:v>40785</c:v>
                </c:pt>
                <c:pt idx="4606">
                  <c:v>40786</c:v>
                </c:pt>
                <c:pt idx="4607">
                  <c:v>40787</c:v>
                </c:pt>
                <c:pt idx="4608">
                  <c:v>40788</c:v>
                </c:pt>
                <c:pt idx="4609">
                  <c:v>40791</c:v>
                </c:pt>
                <c:pt idx="4610">
                  <c:v>40792</c:v>
                </c:pt>
                <c:pt idx="4611">
                  <c:v>40793</c:v>
                </c:pt>
                <c:pt idx="4612">
                  <c:v>40794</c:v>
                </c:pt>
                <c:pt idx="4613">
                  <c:v>40795</c:v>
                </c:pt>
                <c:pt idx="4614">
                  <c:v>40798</c:v>
                </c:pt>
                <c:pt idx="4615">
                  <c:v>40799</c:v>
                </c:pt>
                <c:pt idx="4616">
                  <c:v>40800</c:v>
                </c:pt>
                <c:pt idx="4617">
                  <c:v>40801</c:v>
                </c:pt>
                <c:pt idx="4618">
                  <c:v>40802</c:v>
                </c:pt>
                <c:pt idx="4619">
                  <c:v>40805</c:v>
                </c:pt>
                <c:pt idx="4620">
                  <c:v>40806</c:v>
                </c:pt>
                <c:pt idx="4621">
                  <c:v>40807</c:v>
                </c:pt>
                <c:pt idx="4622">
                  <c:v>40808</c:v>
                </c:pt>
                <c:pt idx="4623">
                  <c:v>40809</c:v>
                </c:pt>
                <c:pt idx="4624">
                  <c:v>40812</c:v>
                </c:pt>
              </c:numCache>
            </c:numRef>
          </c:cat>
          <c:val>
            <c:numRef>
              <c:f>USA!$FW$4:$FW$4641</c:f>
              <c:numCache>
                <c:formatCode>General</c:formatCode>
                <c:ptCount val="4638"/>
                <c:pt idx="0">
                  <c:v>114.16999999999999</c:v>
                </c:pt>
                <c:pt idx="1">
                  <c:v>116.27</c:v>
                </c:pt>
                <c:pt idx="2">
                  <c:v>116.51</c:v>
                </c:pt>
                <c:pt idx="3">
                  <c:v>116.3</c:v>
                </c:pt>
                <c:pt idx="4">
                  <c:v>114.86</c:v>
                </c:pt>
                <c:pt idx="5">
                  <c:v>115.73</c:v>
                </c:pt>
                <c:pt idx="6">
                  <c:v>114.94000000000008</c:v>
                </c:pt>
                <c:pt idx="7">
                  <c:v>115.76</c:v>
                </c:pt>
                <c:pt idx="8">
                  <c:v>117.19</c:v>
                </c:pt>
                <c:pt idx="9">
                  <c:v>117.5</c:v>
                </c:pt>
                <c:pt idx="10">
                  <c:v>116.85</c:v>
                </c:pt>
                <c:pt idx="11">
                  <c:v>116.54</c:v>
                </c:pt>
                <c:pt idx="12">
                  <c:v>116.03</c:v>
                </c:pt>
                <c:pt idx="13">
                  <c:v>116.21000000000002</c:v>
                </c:pt>
                <c:pt idx="14">
                  <c:v>117.36999999999999</c:v>
                </c:pt>
                <c:pt idx="15">
                  <c:v>117.32</c:v>
                </c:pt>
                <c:pt idx="16">
                  <c:v>118.66999999999999</c:v>
                </c:pt>
                <c:pt idx="17">
                  <c:v>118.64</c:v>
                </c:pt>
                <c:pt idx="18">
                  <c:v>118.72</c:v>
                </c:pt>
                <c:pt idx="19">
                  <c:v>118.52</c:v>
                </c:pt>
                <c:pt idx="20">
                  <c:v>120.8</c:v>
                </c:pt>
                <c:pt idx="21">
                  <c:v>121.32</c:v>
                </c:pt>
                <c:pt idx="22">
                  <c:v>120.97</c:v>
                </c:pt>
                <c:pt idx="23">
                  <c:v>120.22</c:v>
                </c:pt>
                <c:pt idx="24">
                  <c:v>119.2</c:v>
                </c:pt>
                <c:pt idx="25">
                  <c:v>119.53</c:v>
                </c:pt>
                <c:pt idx="26">
                  <c:v>118.32</c:v>
                </c:pt>
                <c:pt idx="27">
                  <c:v>118.14</c:v>
                </c:pt>
                <c:pt idx="28">
                  <c:v>118.32</c:v>
                </c:pt>
                <c:pt idx="29">
                  <c:v>116.99000000000002</c:v>
                </c:pt>
                <c:pt idx="30">
                  <c:v>116.82</c:v>
                </c:pt>
                <c:pt idx="31">
                  <c:v>116.75</c:v>
                </c:pt>
                <c:pt idx="32">
                  <c:v>117.3</c:v>
                </c:pt>
                <c:pt idx="33">
                  <c:v>117.51</c:v>
                </c:pt>
                <c:pt idx="34">
                  <c:v>117.51</c:v>
                </c:pt>
                <c:pt idx="35">
                  <c:v>118.05</c:v>
                </c:pt>
                <c:pt idx="36">
                  <c:v>117.96000000000002</c:v>
                </c:pt>
                <c:pt idx="37">
                  <c:v>119.06</c:v>
                </c:pt>
                <c:pt idx="38">
                  <c:v>118.56</c:v>
                </c:pt>
                <c:pt idx="39">
                  <c:v>118.03</c:v>
                </c:pt>
                <c:pt idx="40">
                  <c:v>118.28</c:v>
                </c:pt>
                <c:pt idx="41">
                  <c:v>118.04</c:v>
                </c:pt>
                <c:pt idx="42">
                  <c:v>117.66</c:v>
                </c:pt>
                <c:pt idx="43">
                  <c:v>118.11</c:v>
                </c:pt>
                <c:pt idx="44">
                  <c:v>116.93</c:v>
                </c:pt>
                <c:pt idx="45">
                  <c:v>116.72</c:v>
                </c:pt>
                <c:pt idx="46">
                  <c:v>116.97</c:v>
                </c:pt>
                <c:pt idx="47">
                  <c:v>117.13</c:v>
                </c:pt>
                <c:pt idx="48">
                  <c:v>118.03</c:v>
                </c:pt>
                <c:pt idx="49">
                  <c:v>118.64999999999999</c:v>
                </c:pt>
                <c:pt idx="50">
                  <c:v>119.48</c:v>
                </c:pt>
                <c:pt idx="51">
                  <c:v>120.49000000000002</c:v>
                </c:pt>
                <c:pt idx="52">
                  <c:v>119.61</c:v>
                </c:pt>
                <c:pt idx="53">
                  <c:v>119.88</c:v>
                </c:pt>
                <c:pt idx="54">
                  <c:v>120.2</c:v>
                </c:pt>
                <c:pt idx="55">
                  <c:v>120.46000000000002</c:v>
                </c:pt>
                <c:pt idx="56">
                  <c:v>120.08</c:v>
                </c:pt>
                <c:pt idx="57">
                  <c:v>120.21000000000002</c:v>
                </c:pt>
                <c:pt idx="58">
                  <c:v>120.25</c:v>
                </c:pt>
                <c:pt idx="59">
                  <c:v>117.07</c:v>
                </c:pt>
                <c:pt idx="60">
                  <c:v>117.29</c:v>
                </c:pt>
                <c:pt idx="61">
                  <c:v>117.26</c:v>
                </c:pt>
                <c:pt idx="62">
                  <c:v>118.45</c:v>
                </c:pt>
                <c:pt idx="63">
                  <c:v>118.45</c:v>
                </c:pt>
                <c:pt idx="64">
                  <c:v>120.3</c:v>
                </c:pt>
                <c:pt idx="65">
                  <c:v>119.31</c:v>
                </c:pt>
                <c:pt idx="66">
                  <c:v>119.89</c:v>
                </c:pt>
                <c:pt idx="67">
                  <c:v>119.27</c:v>
                </c:pt>
                <c:pt idx="68">
                  <c:v>119.11999999999999</c:v>
                </c:pt>
                <c:pt idx="69">
                  <c:v>119.36999999999999</c:v>
                </c:pt>
                <c:pt idx="70">
                  <c:v>119.14</c:v>
                </c:pt>
                <c:pt idx="71">
                  <c:v>119.61999999999999</c:v>
                </c:pt>
                <c:pt idx="72">
                  <c:v>120.31</c:v>
                </c:pt>
                <c:pt idx="73">
                  <c:v>120.86999999999999</c:v>
                </c:pt>
                <c:pt idx="74">
                  <c:v>120.75</c:v>
                </c:pt>
                <c:pt idx="75">
                  <c:v>119.4</c:v>
                </c:pt>
                <c:pt idx="76">
                  <c:v>119.72</c:v>
                </c:pt>
                <c:pt idx="77">
                  <c:v>120.86999999999999</c:v>
                </c:pt>
                <c:pt idx="78">
                  <c:v>122.13</c:v>
                </c:pt>
                <c:pt idx="79">
                  <c:v>122.5</c:v>
                </c:pt>
                <c:pt idx="80">
                  <c:v>121.33</c:v>
                </c:pt>
                <c:pt idx="81">
                  <c:v>121.39</c:v>
                </c:pt>
                <c:pt idx="82">
                  <c:v>121.35</c:v>
                </c:pt>
                <c:pt idx="83">
                  <c:v>122.47</c:v>
                </c:pt>
                <c:pt idx="84">
                  <c:v>122.82</c:v>
                </c:pt>
                <c:pt idx="85">
                  <c:v>122.36</c:v>
                </c:pt>
                <c:pt idx="86">
                  <c:v>122.38</c:v>
                </c:pt>
                <c:pt idx="87">
                  <c:v>123.28</c:v>
                </c:pt>
                <c:pt idx="88">
                  <c:v>124.91000000000008</c:v>
                </c:pt>
                <c:pt idx="89">
                  <c:v>125.21000000000002</c:v>
                </c:pt>
                <c:pt idx="90">
                  <c:v>124.66999999999999</c:v>
                </c:pt>
                <c:pt idx="91">
                  <c:v>125.36</c:v>
                </c:pt>
                <c:pt idx="92">
                  <c:v>126.28</c:v>
                </c:pt>
                <c:pt idx="93">
                  <c:v>126.86</c:v>
                </c:pt>
                <c:pt idx="94">
                  <c:v>127.63</c:v>
                </c:pt>
                <c:pt idx="95">
                  <c:v>126.9</c:v>
                </c:pt>
                <c:pt idx="96">
                  <c:v>128.31</c:v>
                </c:pt>
                <c:pt idx="97">
                  <c:v>129.29</c:v>
                </c:pt>
                <c:pt idx="98">
                  <c:v>129.62</c:v>
                </c:pt>
                <c:pt idx="99">
                  <c:v>131.63999999999999</c:v>
                </c:pt>
                <c:pt idx="100">
                  <c:v>129.60999999999999</c:v>
                </c:pt>
                <c:pt idx="101">
                  <c:v>127.92</c:v>
                </c:pt>
                <c:pt idx="102">
                  <c:v>127.07</c:v>
                </c:pt>
                <c:pt idx="103">
                  <c:v>128.15</c:v>
                </c:pt>
                <c:pt idx="104">
                  <c:v>128.15</c:v>
                </c:pt>
                <c:pt idx="105">
                  <c:v>130.66999999999999</c:v>
                </c:pt>
                <c:pt idx="106">
                  <c:v>129.51</c:v>
                </c:pt>
                <c:pt idx="107">
                  <c:v>130.01</c:v>
                </c:pt>
                <c:pt idx="108">
                  <c:v>129.10999999999999</c:v>
                </c:pt>
                <c:pt idx="109">
                  <c:v>127.74000000000002</c:v>
                </c:pt>
                <c:pt idx="110">
                  <c:v>127.78</c:v>
                </c:pt>
                <c:pt idx="111">
                  <c:v>129.80000000000001</c:v>
                </c:pt>
                <c:pt idx="112">
                  <c:v>130.23999999999998</c:v>
                </c:pt>
                <c:pt idx="113">
                  <c:v>130.57</c:v>
                </c:pt>
                <c:pt idx="114">
                  <c:v>132.37</c:v>
                </c:pt>
                <c:pt idx="115">
                  <c:v>132.6</c:v>
                </c:pt>
                <c:pt idx="116">
                  <c:v>135.32000000000016</c:v>
                </c:pt>
                <c:pt idx="117">
                  <c:v>134.91</c:v>
                </c:pt>
                <c:pt idx="118">
                  <c:v>137.19999999999999</c:v>
                </c:pt>
                <c:pt idx="119">
                  <c:v>135.37</c:v>
                </c:pt>
                <c:pt idx="120">
                  <c:v>134.32000000000016</c:v>
                </c:pt>
                <c:pt idx="121">
                  <c:v>132.80000000000001</c:v>
                </c:pt>
                <c:pt idx="122">
                  <c:v>133.08000000000001</c:v>
                </c:pt>
                <c:pt idx="123">
                  <c:v>132.96</c:v>
                </c:pt>
                <c:pt idx="124">
                  <c:v>132.56</c:v>
                </c:pt>
                <c:pt idx="125">
                  <c:v>134.34</c:v>
                </c:pt>
                <c:pt idx="126">
                  <c:v>133.65</c:v>
                </c:pt>
                <c:pt idx="127">
                  <c:v>135.19999999999999</c:v>
                </c:pt>
                <c:pt idx="128">
                  <c:v>136.04</c:v>
                </c:pt>
                <c:pt idx="129">
                  <c:v>136.04</c:v>
                </c:pt>
                <c:pt idx="130">
                  <c:v>134.4</c:v>
                </c:pt>
                <c:pt idx="131">
                  <c:v>133.55000000000001</c:v>
                </c:pt>
                <c:pt idx="132">
                  <c:v>133.05000000000001</c:v>
                </c:pt>
                <c:pt idx="133">
                  <c:v>134.35000000000016</c:v>
                </c:pt>
                <c:pt idx="134">
                  <c:v>138.04</c:v>
                </c:pt>
                <c:pt idx="135">
                  <c:v>138.76999999999998</c:v>
                </c:pt>
                <c:pt idx="136">
                  <c:v>138.57</c:v>
                </c:pt>
                <c:pt idx="137">
                  <c:v>138.55000000000001</c:v>
                </c:pt>
                <c:pt idx="138">
                  <c:v>138.85000000000016</c:v>
                </c:pt>
                <c:pt idx="139">
                  <c:v>138.22</c:v>
                </c:pt>
                <c:pt idx="140">
                  <c:v>138.26999999999998</c:v>
                </c:pt>
                <c:pt idx="141">
                  <c:v>137.22</c:v>
                </c:pt>
                <c:pt idx="142">
                  <c:v>137.4</c:v>
                </c:pt>
                <c:pt idx="143">
                  <c:v>137.63999999999999</c:v>
                </c:pt>
                <c:pt idx="144">
                  <c:v>136.79</c:v>
                </c:pt>
                <c:pt idx="145">
                  <c:v>136.16</c:v>
                </c:pt>
                <c:pt idx="146">
                  <c:v>136.54</c:v>
                </c:pt>
                <c:pt idx="147">
                  <c:v>136.89000000000001</c:v>
                </c:pt>
                <c:pt idx="148">
                  <c:v>138.66999999999999</c:v>
                </c:pt>
                <c:pt idx="149">
                  <c:v>139.19</c:v>
                </c:pt>
                <c:pt idx="150">
                  <c:v>137.91999999999999</c:v>
                </c:pt>
                <c:pt idx="151">
                  <c:v>136.93</c:v>
                </c:pt>
                <c:pt idx="152">
                  <c:v>137.07</c:v>
                </c:pt>
                <c:pt idx="153">
                  <c:v>134.96</c:v>
                </c:pt>
                <c:pt idx="154">
                  <c:v>134.39000000000001</c:v>
                </c:pt>
                <c:pt idx="155">
                  <c:v>134.66</c:v>
                </c:pt>
                <c:pt idx="156">
                  <c:v>134.46</c:v>
                </c:pt>
                <c:pt idx="157">
                  <c:v>134.23999999999998</c:v>
                </c:pt>
                <c:pt idx="158">
                  <c:v>132.51</c:v>
                </c:pt>
                <c:pt idx="159">
                  <c:v>132.69</c:v>
                </c:pt>
                <c:pt idx="160">
                  <c:v>132.19999999999999</c:v>
                </c:pt>
                <c:pt idx="161">
                  <c:v>132.97999999999999</c:v>
                </c:pt>
                <c:pt idx="162">
                  <c:v>132.29</c:v>
                </c:pt>
                <c:pt idx="163">
                  <c:v>131.25</c:v>
                </c:pt>
                <c:pt idx="164">
                  <c:v>129.26999999999998</c:v>
                </c:pt>
                <c:pt idx="165">
                  <c:v>130.02000000000001</c:v>
                </c:pt>
                <c:pt idx="166">
                  <c:v>131.16</c:v>
                </c:pt>
                <c:pt idx="167">
                  <c:v>130.79</c:v>
                </c:pt>
                <c:pt idx="168">
                  <c:v>130.66999999999999</c:v>
                </c:pt>
                <c:pt idx="169">
                  <c:v>132.20999999999998</c:v>
                </c:pt>
                <c:pt idx="170">
                  <c:v>131.5</c:v>
                </c:pt>
                <c:pt idx="171">
                  <c:v>131.93</c:v>
                </c:pt>
                <c:pt idx="172">
                  <c:v>131.93</c:v>
                </c:pt>
                <c:pt idx="173">
                  <c:v>131.76</c:v>
                </c:pt>
                <c:pt idx="174">
                  <c:v>131.76</c:v>
                </c:pt>
                <c:pt idx="175">
                  <c:v>132.43</c:v>
                </c:pt>
                <c:pt idx="176">
                  <c:v>133.36000000000001</c:v>
                </c:pt>
                <c:pt idx="177">
                  <c:v>133.03</c:v>
                </c:pt>
                <c:pt idx="178">
                  <c:v>132.91999999999999</c:v>
                </c:pt>
                <c:pt idx="179">
                  <c:v>133.22999999999999</c:v>
                </c:pt>
                <c:pt idx="180">
                  <c:v>132.22999999999999</c:v>
                </c:pt>
                <c:pt idx="181">
                  <c:v>130.70999999999998</c:v>
                </c:pt>
                <c:pt idx="182">
                  <c:v>129.87</c:v>
                </c:pt>
                <c:pt idx="183">
                  <c:v>130.58000000000001</c:v>
                </c:pt>
                <c:pt idx="184">
                  <c:v>131.44</c:v>
                </c:pt>
                <c:pt idx="185">
                  <c:v>131.68</c:v>
                </c:pt>
                <c:pt idx="186">
                  <c:v>131.19</c:v>
                </c:pt>
                <c:pt idx="187">
                  <c:v>132.13999999999999</c:v>
                </c:pt>
                <c:pt idx="188">
                  <c:v>132.60999999999999</c:v>
                </c:pt>
                <c:pt idx="189">
                  <c:v>131.55000000000001</c:v>
                </c:pt>
                <c:pt idx="190">
                  <c:v>130.93</c:v>
                </c:pt>
                <c:pt idx="191">
                  <c:v>130.85000000000016</c:v>
                </c:pt>
                <c:pt idx="192">
                  <c:v>131.59</c:v>
                </c:pt>
                <c:pt idx="193">
                  <c:v>131.65</c:v>
                </c:pt>
                <c:pt idx="194">
                  <c:v>131.49</c:v>
                </c:pt>
                <c:pt idx="195">
                  <c:v>131.28</c:v>
                </c:pt>
                <c:pt idx="196">
                  <c:v>130.94999999999999</c:v>
                </c:pt>
                <c:pt idx="197">
                  <c:v>131.25</c:v>
                </c:pt>
                <c:pt idx="198">
                  <c:v>130.59</c:v>
                </c:pt>
                <c:pt idx="199">
                  <c:v>129.44</c:v>
                </c:pt>
                <c:pt idx="200">
                  <c:v>129.05000000000001</c:v>
                </c:pt>
                <c:pt idx="201">
                  <c:v>128.58000000000001</c:v>
                </c:pt>
                <c:pt idx="202">
                  <c:v>128.19</c:v>
                </c:pt>
                <c:pt idx="203">
                  <c:v>128.47</c:v>
                </c:pt>
                <c:pt idx="204">
                  <c:v>129.57</c:v>
                </c:pt>
                <c:pt idx="205">
                  <c:v>129.49</c:v>
                </c:pt>
                <c:pt idx="206">
                  <c:v>130.29</c:v>
                </c:pt>
                <c:pt idx="207">
                  <c:v>131.62</c:v>
                </c:pt>
                <c:pt idx="208">
                  <c:v>130.34</c:v>
                </c:pt>
                <c:pt idx="209">
                  <c:v>131.34</c:v>
                </c:pt>
                <c:pt idx="210">
                  <c:v>131.62</c:v>
                </c:pt>
                <c:pt idx="211">
                  <c:v>133.22999999999999</c:v>
                </c:pt>
                <c:pt idx="212">
                  <c:v>133.91</c:v>
                </c:pt>
                <c:pt idx="213">
                  <c:v>133.57</c:v>
                </c:pt>
                <c:pt idx="214">
                  <c:v>132.87</c:v>
                </c:pt>
                <c:pt idx="215">
                  <c:v>134.25</c:v>
                </c:pt>
                <c:pt idx="216">
                  <c:v>134.63999999999999</c:v>
                </c:pt>
                <c:pt idx="217">
                  <c:v>134.38000000000017</c:v>
                </c:pt>
                <c:pt idx="218">
                  <c:v>134.33000000000001</c:v>
                </c:pt>
                <c:pt idx="219">
                  <c:v>133.04</c:v>
                </c:pt>
                <c:pt idx="220">
                  <c:v>134.03</c:v>
                </c:pt>
                <c:pt idx="221">
                  <c:v>133.06</c:v>
                </c:pt>
                <c:pt idx="222">
                  <c:v>133.22</c:v>
                </c:pt>
                <c:pt idx="223">
                  <c:v>133.19999999999999</c:v>
                </c:pt>
                <c:pt idx="224">
                  <c:v>131.93</c:v>
                </c:pt>
                <c:pt idx="225">
                  <c:v>132.38000000000017</c:v>
                </c:pt>
                <c:pt idx="226">
                  <c:v>131.63999999999999</c:v>
                </c:pt>
                <c:pt idx="227">
                  <c:v>132.20999999999998</c:v>
                </c:pt>
                <c:pt idx="228">
                  <c:v>132.16999999999999</c:v>
                </c:pt>
                <c:pt idx="229">
                  <c:v>131.82000000000016</c:v>
                </c:pt>
                <c:pt idx="230">
                  <c:v>132.76999999999998</c:v>
                </c:pt>
                <c:pt idx="231">
                  <c:v>133.12</c:v>
                </c:pt>
                <c:pt idx="232">
                  <c:v>133.12</c:v>
                </c:pt>
                <c:pt idx="233">
                  <c:v>132.88000000000017</c:v>
                </c:pt>
                <c:pt idx="234">
                  <c:v>132.99</c:v>
                </c:pt>
                <c:pt idx="235">
                  <c:v>132.12</c:v>
                </c:pt>
                <c:pt idx="236">
                  <c:v>131.85000000000016</c:v>
                </c:pt>
                <c:pt idx="237">
                  <c:v>131.38000000000017</c:v>
                </c:pt>
                <c:pt idx="238">
                  <c:v>129.5</c:v>
                </c:pt>
                <c:pt idx="239">
                  <c:v>129.13999999999999</c:v>
                </c:pt>
                <c:pt idx="240">
                  <c:v>129.43</c:v>
                </c:pt>
                <c:pt idx="241">
                  <c:v>130.04</c:v>
                </c:pt>
                <c:pt idx="242">
                  <c:v>131.51</c:v>
                </c:pt>
                <c:pt idx="243">
                  <c:v>131.33000000000001</c:v>
                </c:pt>
                <c:pt idx="244">
                  <c:v>130.86000000000001</c:v>
                </c:pt>
                <c:pt idx="245">
                  <c:v>129.89000000000001</c:v>
                </c:pt>
                <c:pt idx="246">
                  <c:v>130.15</c:v>
                </c:pt>
                <c:pt idx="247">
                  <c:v>130.57</c:v>
                </c:pt>
                <c:pt idx="248">
                  <c:v>130.73999999999998</c:v>
                </c:pt>
                <c:pt idx="249">
                  <c:v>130.04</c:v>
                </c:pt>
                <c:pt idx="250">
                  <c:v>130.62</c:v>
                </c:pt>
                <c:pt idx="251">
                  <c:v>131.29</c:v>
                </c:pt>
                <c:pt idx="252">
                  <c:v>131.73999999999998</c:v>
                </c:pt>
                <c:pt idx="253">
                  <c:v>132.4</c:v>
                </c:pt>
                <c:pt idx="254">
                  <c:v>132.4</c:v>
                </c:pt>
                <c:pt idx="255">
                  <c:v>133.99</c:v>
                </c:pt>
                <c:pt idx="256">
                  <c:v>134.76999999999998</c:v>
                </c:pt>
                <c:pt idx="257">
                  <c:v>134.51</c:v>
                </c:pt>
                <c:pt idx="258">
                  <c:v>134.76999999999998</c:v>
                </c:pt>
                <c:pt idx="259">
                  <c:v>134.76999999999998</c:v>
                </c:pt>
                <c:pt idx="260">
                  <c:v>133.43</c:v>
                </c:pt>
                <c:pt idx="261">
                  <c:v>133.46</c:v>
                </c:pt>
                <c:pt idx="262">
                  <c:v>134.18</c:v>
                </c:pt>
                <c:pt idx="263">
                  <c:v>133.93</c:v>
                </c:pt>
                <c:pt idx="264">
                  <c:v>132.91</c:v>
                </c:pt>
                <c:pt idx="265">
                  <c:v>132.83000000000001</c:v>
                </c:pt>
                <c:pt idx="266">
                  <c:v>133.38000000000017</c:v>
                </c:pt>
                <c:pt idx="267">
                  <c:v>133.63999999999999</c:v>
                </c:pt>
                <c:pt idx="268">
                  <c:v>132.19999999999999</c:v>
                </c:pt>
                <c:pt idx="269">
                  <c:v>132.96</c:v>
                </c:pt>
                <c:pt idx="270">
                  <c:v>135.16</c:v>
                </c:pt>
                <c:pt idx="271">
                  <c:v>135.97</c:v>
                </c:pt>
                <c:pt idx="272">
                  <c:v>135.91</c:v>
                </c:pt>
                <c:pt idx="273">
                  <c:v>136.41999999999999</c:v>
                </c:pt>
                <c:pt idx="274">
                  <c:v>134.91</c:v>
                </c:pt>
                <c:pt idx="275">
                  <c:v>135.47999999999999</c:v>
                </c:pt>
                <c:pt idx="276">
                  <c:v>134.81</c:v>
                </c:pt>
                <c:pt idx="277">
                  <c:v>134.89000000000001</c:v>
                </c:pt>
                <c:pt idx="278">
                  <c:v>133.73999999999998</c:v>
                </c:pt>
                <c:pt idx="279">
                  <c:v>133.51</c:v>
                </c:pt>
                <c:pt idx="280">
                  <c:v>133.69</c:v>
                </c:pt>
                <c:pt idx="281">
                  <c:v>133.70999999999998</c:v>
                </c:pt>
                <c:pt idx="282">
                  <c:v>134.5</c:v>
                </c:pt>
                <c:pt idx="283">
                  <c:v>134.73999999999998</c:v>
                </c:pt>
                <c:pt idx="284">
                  <c:v>134.41</c:v>
                </c:pt>
                <c:pt idx="285">
                  <c:v>133</c:v>
                </c:pt>
                <c:pt idx="286">
                  <c:v>132.41</c:v>
                </c:pt>
                <c:pt idx="287">
                  <c:v>133.36000000000001</c:v>
                </c:pt>
                <c:pt idx="288">
                  <c:v>134.20999999999998</c:v>
                </c:pt>
                <c:pt idx="289">
                  <c:v>133.36000000000001</c:v>
                </c:pt>
                <c:pt idx="290">
                  <c:v>134.07</c:v>
                </c:pt>
                <c:pt idx="291">
                  <c:v>133.91999999999999</c:v>
                </c:pt>
                <c:pt idx="292">
                  <c:v>134.51</c:v>
                </c:pt>
                <c:pt idx="293">
                  <c:v>135.51</c:v>
                </c:pt>
                <c:pt idx="294">
                  <c:v>135.51</c:v>
                </c:pt>
                <c:pt idx="295">
                  <c:v>135.68</c:v>
                </c:pt>
                <c:pt idx="296">
                  <c:v>135.66</c:v>
                </c:pt>
                <c:pt idx="297">
                  <c:v>135.41</c:v>
                </c:pt>
                <c:pt idx="298">
                  <c:v>136.15</c:v>
                </c:pt>
                <c:pt idx="299">
                  <c:v>135.93</c:v>
                </c:pt>
                <c:pt idx="300">
                  <c:v>135.36000000000001</c:v>
                </c:pt>
                <c:pt idx="301">
                  <c:v>135.34</c:v>
                </c:pt>
                <c:pt idx="302">
                  <c:v>135.08000000000001</c:v>
                </c:pt>
                <c:pt idx="303">
                  <c:v>135.91</c:v>
                </c:pt>
                <c:pt idx="304">
                  <c:v>135.85000000000016</c:v>
                </c:pt>
                <c:pt idx="305">
                  <c:v>136.25</c:v>
                </c:pt>
                <c:pt idx="306">
                  <c:v>135.70999999999998</c:v>
                </c:pt>
                <c:pt idx="307">
                  <c:v>135.32000000000016</c:v>
                </c:pt>
                <c:pt idx="308">
                  <c:v>135.29</c:v>
                </c:pt>
                <c:pt idx="309">
                  <c:v>135.99</c:v>
                </c:pt>
                <c:pt idx="310">
                  <c:v>135.13999999999999</c:v>
                </c:pt>
                <c:pt idx="311">
                  <c:v>135.5</c:v>
                </c:pt>
                <c:pt idx="312">
                  <c:v>135.53</c:v>
                </c:pt>
                <c:pt idx="313">
                  <c:v>135.59</c:v>
                </c:pt>
                <c:pt idx="314">
                  <c:v>135.82000000000016</c:v>
                </c:pt>
                <c:pt idx="315">
                  <c:v>135.43</c:v>
                </c:pt>
                <c:pt idx="316">
                  <c:v>137.60999999999999</c:v>
                </c:pt>
                <c:pt idx="317">
                  <c:v>137.26999999999998</c:v>
                </c:pt>
                <c:pt idx="318">
                  <c:v>136.59</c:v>
                </c:pt>
                <c:pt idx="319">
                  <c:v>137.32000000000016</c:v>
                </c:pt>
                <c:pt idx="320">
                  <c:v>137.10999999999999</c:v>
                </c:pt>
                <c:pt idx="321">
                  <c:v>136.91</c:v>
                </c:pt>
                <c:pt idx="322">
                  <c:v>137.31</c:v>
                </c:pt>
                <c:pt idx="323">
                  <c:v>137.57</c:v>
                </c:pt>
                <c:pt idx="324">
                  <c:v>137.68</c:v>
                </c:pt>
                <c:pt idx="325">
                  <c:v>138.46</c:v>
                </c:pt>
                <c:pt idx="326">
                  <c:v>139.39000000000001</c:v>
                </c:pt>
                <c:pt idx="327">
                  <c:v>139.84</c:v>
                </c:pt>
                <c:pt idx="328">
                  <c:v>139.94</c:v>
                </c:pt>
                <c:pt idx="329">
                  <c:v>139.56</c:v>
                </c:pt>
                <c:pt idx="330">
                  <c:v>140.16</c:v>
                </c:pt>
                <c:pt idx="331">
                  <c:v>139.49</c:v>
                </c:pt>
                <c:pt idx="332">
                  <c:v>137.63999999999999</c:v>
                </c:pt>
                <c:pt idx="333">
                  <c:v>137.63999999999999</c:v>
                </c:pt>
                <c:pt idx="334">
                  <c:v>138.99</c:v>
                </c:pt>
                <c:pt idx="335">
                  <c:v>140.18</c:v>
                </c:pt>
                <c:pt idx="336">
                  <c:v>140.35000000000016</c:v>
                </c:pt>
                <c:pt idx="337">
                  <c:v>140.9</c:v>
                </c:pt>
                <c:pt idx="338">
                  <c:v>141.76</c:v>
                </c:pt>
                <c:pt idx="339">
                  <c:v>141.16999999999999</c:v>
                </c:pt>
                <c:pt idx="340">
                  <c:v>140.69</c:v>
                </c:pt>
                <c:pt idx="341">
                  <c:v>139.72</c:v>
                </c:pt>
                <c:pt idx="342">
                  <c:v>140.9</c:v>
                </c:pt>
                <c:pt idx="343">
                  <c:v>140.59</c:v>
                </c:pt>
                <c:pt idx="344">
                  <c:v>141.1</c:v>
                </c:pt>
                <c:pt idx="345">
                  <c:v>139.94</c:v>
                </c:pt>
                <c:pt idx="346">
                  <c:v>139.60999999999999</c:v>
                </c:pt>
                <c:pt idx="347">
                  <c:v>139.94999999999999</c:v>
                </c:pt>
                <c:pt idx="348">
                  <c:v>139.38000000000017</c:v>
                </c:pt>
                <c:pt idx="349">
                  <c:v>139.05000000000001</c:v>
                </c:pt>
                <c:pt idx="350">
                  <c:v>137.51</c:v>
                </c:pt>
                <c:pt idx="351">
                  <c:v>137.97</c:v>
                </c:pt>
                <c:pt idx="352">
                  <c:v>137.01</c:v>
                </c:pt>
                <c:pt idx="353">
                  <c:v>137.6</c:v>
                </c:pt>
                <c:pt idx="354">
                  <c:v>138.68</c:v>
                </c:pt>
                <c:pt idx="355">
                  <c:v>139.46</c:v>
                </c:pt>
                <c:pt idx="356">
                  <c:v>139.19999999999999</c:v>
                </c:pt>
                <c:pt idx="357">
                  <c:v>139.94</c:v>
                </c:pt>
                <c:pt idx="358">
                  <c:v>140.13999999999999</c:v>
                </c:pt>
                <c:pt idx="359">
                  <c:v>140.49</c:v>
                </c:pt>
                <c:pt idx="360">
                  <c:v>141.01</c:v>
                </c:pt>
                <c:pt idx="361">
                  <c:v>140.31</c:v>
                </c:pt>
                <c:pt idx="362">
                  <c:v>139.96</c:v>
                </c:pt>
                <c:pt idx="363">
                  <c:v>138.91999999999999</c:v>
                </c:pt>
                <c:pt idx="364">
                  <c:v>138.91999999999999</c:v>
                </c:pt>
                <c:pt idx="365">
                  <c:v>138.26999999999998</c:v>
                </c:pt>
                <c:pt idx="366">
                  <c:v>138.55000000000001</c:v>
                </c:pt>
                <c:pt idx="367">
                  <c:v>139.53</c:v>
                </c:pt>
                <c:pt idx="368">
                  <c:v>139.49</c:v>
                </c:pt>
                <c:pt idx="369">
                  <c:v>139.56</c:v>
                </c:pt>
                <c:pt idx="370">
                  <c:v>138.9</c:v>
                </c:pt>
                <c:pt idx="371">
                  <c:v>139.02000000000001</c:v>
                </c:pt>
                <c:pt idx="372">
                  <c:v>138.89000000000001</c:v>
                </c:pt>
                <c:pt idx="373">
                  <c:v>138.69</c:v>
                </c:pt>
                <c:pt idx="374">
                  <c:v>138.53</c:v>
                </c:pt>
                <c:pt idx="375">
                  <c:v>138.15</c:v>
                </c:pt>
                <c:pt idx="376">
                  <c:v>138.91</c:v>
                </c:pt>
                <c:pt idx="377">
                  <c:v>139.19</c:v>
                </c:pt>
                <c:pt idx="378">
                  <c:v>138.5</c:v>
                </c:pt>
                <c:pt idx="379">
                  <c:v>137.44999999999999</c:v>
                </c:pt>
                <c:pt idx="380">
                  <c:v>137.63</c:v>
                </c:pt>
                <c:pt idx="381">
                  <c:v>136.93</c:v>
                </c:pt>
                <c:pt idx="382">
                  <c:v>137.01</c:v>
                </c:pt>
                <c:pt idx="383">
                  <c:v>136.68</c:v>
                </c:pt>
                <c:pt idx="384">
                  <c:v>135.84</c:v>
                </c:pt>
                <c:pt idx="385">
                  <c:v>135.68</c:v>
                </c:pt>
                <c:pt idx="386">
                  <c:v>136.06</c:v>
                </c:pt>
                <c:pt idx="387">
                  <c:v>135.19999999999999</c:v>
                </c:pt>
                <c:pt idx="388">
                  <c:v>134.26</c:v>
                </c:pt>
                <c:pt idx="389">
                  <c:v>134.51</c:v>
                </c:pt>
                <c:pt idx="390">
                  <c:v>134.51</c:v>
                </c:pt>
                <c:pt idx="391">
                  <c:v>133.30000000000001</c:v>
                </c:pt>
                <c:pt idx="392">
                  <c:v>133.60999999999999</c:v>
                </c:pt>
                <c:pt idx="393">
                  <c:v>132.93</c:v>
                </c:pt>
                <c:pt idx="394">
                  <c:v>134.22999999999999</c:v>
                </c:pt>
                <c:pt idx="395">
                  <c:v>134.20999999999998</c:v>
                </c:pt>
                <c:pt idx="396">
                  <c:v>134.5</c:v>
                </c:pt>
                <c:pt idx="397">
                  <c:v>133.54</c:v>
                </c:pt>
                <c:pt idx="398">
                  <c:v>134.44999999999999</c:v>
                </c:pt>
                <c:pt idx="399">
                  <c:v>134.47999999999999</c:v>
                </c:pt>
                <c:pt idx="400">
                  <c:v>134.94999999999999</c:v>
                </c:pt>
                <c:pt idx="401">
                  <c:v>133.93</c:v>
                </c:pt>
                <c:pt idx="402">
                  <c:v>133.19999999999999</c:v>
                </c:pt>
                <c:pt idx="403">
                  <c:v>133.93</c:v>
                </c:pt>
                <c:pt idx="404">
                  <c:v>134.02000000000001</c:v>
                </c:pt>
                <c:pt idx="405">
                  <c:v>134.20999999999998</c:v>
                </c:pt>
                <c:pt idx="406">
                  <c:v>136.16</c:v>
                </c:pt>
                <c:pt idx="407">
                  <c:v>135.83000000000001</c:v>
                </c:pt>
                <c:pt idx="408">
                  <c:v>135.72999999999999</c:v>
                </c:pt>
                <c:pt idx="409">
                  <c:v>135.97999999999999</c:v>
                </c:pt>
                <c:pt idx="410">
                  <c:v>135.29</c:v>
                </c:pt>
                <c:pt idx="411">
                  <c:v>135.70999999999998</c:v>
                </c:pt>
                <c:pt idx="412">
                  <c:v>135.87</c:v>
                </c:pt>
                <c:pt idx="413">
                  <c:v>135.75</c:v>
                </c:pt>
                <c:pt idx="414">
                  <c:v>135.9</c:v>
                </c:pt>
                <c:pt idx="415">
                  <c:v>135.88000000000017</c:v>
                </c:pt>
                <c:pt idx="416">
                  <c:v>136.23999999999998</c:v>
                </c:pt>
                <c:pt idx="417">
                  <c:v>136.4</c:v>
                </c:pt>
                <c:pt idx="418">
                  <c:v>136.52000000000001</c:v>
                </c:pt>
                <c:pt idx="419">
                  <c:v>136.29</c:v>
                </c:pt>
                <c:pt idx="420">
                  <c:v>136.47</c:v>
                </c:pt>
                <c:pt idx="421">
                  <c:v>136.47</c:v>
                </c:pt>
                <c:pt idx="422">
                  <c:v>137.12</c:v>
                </c:pt>
                <c:pt idx="423">
                  <c:v>138.07</c:v>
                </c:pt>
                <c:pt idx="424">
                  <c:v>139.79</c:v>
                </c:pt>
                <c:pt idx="425">
                  <c:v>139.97</c:v>
                </c:pt>
                <c:pt idx="426">
                  <c:v>140.31</c:v>
                </c:pt>
                <c:pt idx="427">
                  <c:v>139.65</c:v>
                </c:pt>
                <c:pt idx="428">
                  <c:v>139.68</c:v>
                </c:pt>
                <c:pt idx="429">
                  <c:v>139.38000000000017</c:v>
                </c:pt>
                <c:pt idx="430">
                  <c:v>139.09</c:v>
                </c:pt>
                <c:pt idx="431">
                  <c:v>138.39000000000001</c:v>
                </c:pt>
                <c:pt idx="432">
                  <c:v>139.44999999999999</c:v>
                </c:pt>
                <c:pt idx="433">
                  <c:v>140.44</c:v>
                </c:pt>
                <c:pt idx="434">
                  <c:v>140.44</c:v>
                </c:pt>
                <c:pt idx="435">
                  <c:v>141.08000000000001</c:v>
                </c:pt>
                <c:pt idx="436">
                  <c:v>139.85000000000016</c:v>
                </c:pt>
                <c:pt idx="437">
                  <c:v>139.22</c:v>
                </c:pt>
                <c:pt idx="438">
                  <c:v>139.54</c:v>
                </c:pt>
                <c:pt idx="439">
                  <c:v>139.41999999999999</c:v>
                </c:pt>
                <c:pt idx="440">
                  <c:v>139.79</c:v>
                </c:pt>
                <c:pt idx="441">
                  <c:v>139.55000000000001</c:v>
                </c:pt>
                <c:pt idx="442">
                  <c:v>140.23999999999998</c:v>
                </c:pt>
                <c:pt idx="443">
                  <c:v>140.73999999999998</c:v>
                </c:pt>
                <c:pt idx="444">
                  <c:v>141.37</c:v>
                </c:pt>
                <c:pt idx="445">
                  <c:v>140.69999999999999</c:v>
                </c:pt>
                <c:pt idx="446">
                  <c:v>139.96</c:v>
                </c:pt>
                <c:pt idx="447">
                  <c:v>140.03</c:v>
                </c:pt>
                <c:pt idx="448">
                  <c:v>138.47</c:v>
                </c:pt>
                <c:pt idx="449">
                  <c:v>138.30000000000001</c:v>
                </c:pt>
                <c:pt idx="450">
                  <c:v>138.23999999999998</c:v>
                </c:pt>
                <c:pt idx="451">
                  <c:v>138.15</c:v>
                </c:pt>
                <c:pt idx="452">
                  <c:v>138.97999999999999</c:v>
                </c:pt>
                <c:pt idx="453">
                  <c:v>138.43</c:v>
                </c:pt>
                <c:pt idx="454">
                  <c:v>139.02000000000001</c:v>
                </c:pt>
                <c:pt idx="455">
                  <c:v>138.5</c:v>
                </c:pt>
                <c:pt idx="456">
                  <c:v>138.33000000000001</c:v>
                </c:pt>
                <c:pt idx="457">
                  <c:v>136.86000000000001</c:v>
                </c:pt>
                <c:pt idx="458">
                  <c:v>136.73999999999998</c:v>
                </c:pt>
                <c:pt idx="459">
                  <c:v>137.52000000000001</c:v>
                </c:pt>
                <c:pt idx="460">
                  <c:v>137.32000000000016</c:v>
                </c:pt>
                <c:pt idx="461">
                  <c:v>137.79</c:v>
                </c:pt>
                <c:pt idx="462">
                  <c:v>137.36000000000001</c:v>
                </c:pt>
                <c:pt idx="463">
                  <c:v>138.33000000000001</c:v>
                </c:pt>
                <c:pt idx="464">
                  <c:v>138.57</c:v>
                </c:pt>
                <c:pt idx="465">
                  <c:v>137.66</c:v>
                </c:pt>
                <c:pt idx="466">
                  <c:v>137.5</c:v>
                </c:pt>
                <c:pt idx="467">
                  <c:v>137.72999999999999</c:v>
                </c:pt>
                <c:pt idx="468">
                  <c:v>138.07</c:v>
                </c:pt>
                <c:pt idx="469">
                  <c:v>138.34</c:v>
                </c:pt>
                <c:pt idx="470">
                  <c:v>138.53</c:v>
                </c:pt>
                <c:pt idx="471">
                  <c:v>138.52000000000001</c:v>
                </c:pt>
                <c:pt idx="472">
                  <c:v>139.49</c:v>
                </c:pt>
                <c:pt idx="473">
                  <c:v>139.16999999999999</c:v>
                </c:pt>
                <c:pt idx="474">
                  <c:v>139.54</c:v>
                </c:pt>
                <c:pt idx="475">
                  <c:v>139.85000000000016</c:v>
                </c:pt>
                <c:pt idx="476">
                  <c:v>140.70999999999998</c:v>
                </c:pt>
                <c:pt idx="477">
                  <c:v>141.94999999999999</c:v>
                </c:pt>
                <c:pt idx="478">
                  <c:v>141.63999999999999</c:v>
                </c:pt>
                <c:pt idx="479">
                  <c:v>141.28</c:v>
                </c:pt>
                <c:pt idx="480">
                  <c:v>141.31</c:v>
                </c:pt>
                <c:pt idx="481">
                  <c:v>141.56</c:v>
                </c:pt>
                <c:pt idx="482">
                  <c:v>141.20999999999998</c:v>
                </c:pt>
                <c:pt idx="483">
                  <c:v>141.62</c:v>
                </c:pt>
                <c:pt idx="484">
                  <c:v>141.23999999999998</c:v>
                </c:pt>
                <c:pt idx="485">
                  <c:v>140.85000000000016</c:v>
                </c:pt>
                <c:pt idx="486">
                  <c:v>141.25</c:v>
                </c:pt>
                <c:pt idx="487">
                  <c:v>142.04</c:v>
                </c:pt>
                <c:pt idx="488">
                  <c:v>143.05000000000001</c:v>
                </c:pt>
                <c:pt idx="489">
                  <c:v>142.80000000000001</c:v>
                </c:pt>
                <c:pt idx="490">
                  <c:v>142.20999999999998</c:v>
                </c:pt>
                <c:pt idx="491">
                  <c:v>142.57</c:v>
                </c:pt>
                <c:pt idx="492">
                  <c:v>142.57</c:v>
                </c:pt>
                <c:pt idx="493">
                  <c:v>142.68</c:v>
                </c:pt>
                <c:pt idx="494">
                  <c:v>143.28</c:v>
                </c:pt>
                <c:pt idx="495">
                  <c:v>142.47999999999999</c:v>
                </c:pt>
                <c:pt idx="496">
                  <c:v>142.54</c:v>
                </c:pt>
                <c:pt idx="497">
                  <c:v>142.1</c:v>
                </c:pt>
                <c:pt idx="498">
                  <c:v>143.19</c:v>
                </c:pt>
                <c:pt idx="499">
                  <c:v>144.02000000000001</c:v>
                </c:pt>
                <c:pt idx="500">
                  <c:v>144.70999999999998</c:v>
                </c:pt>
                <c:pt idx="501">
                  <c:v>144.47999999999999</c:v>
                </c:pt>
                <c:pt idx="502">
                  <c:v>144.91</c:v>
                </c:pt>
                <c:pt idx="503">
                  <c:v>145.96</c:v>
                </c:pt>
                <c:pt idx="504">
                  <c:v>145.76999999999998</c:v>
                </c:pt>
                <c:pt idx="505">
                  <c:v>145.60999999999999</c:v>
                </c:pt>
                <c:pt idx="506">
                  <c:v>146.87</c:v>
                </c:pt>
                <c:pt idx="507">
                  <c:v>147.73999999999998</c:v>
                </c:pt>
                <c:pt idx="508">
                  <c:v>147.9</c:v>
                </c:pt>
                <c:pt idx="509">
                  <c:v>148.18</c:v>
                </c:pt>
                <c:pt idx="510">
                  <c:v>148.25</c:v>
                </c:pt>
                <c:pt idx="511">
                  <c:v>148.60999999999999</c:v>
                </c:pt>
                <c:pt idx="512">
                  <c:v>149.16</c:v>
                </c:pt>
                <c:pt idx="513">
                  <c:v>148.29</c:v>
                </c:pt>
                <c:pt idx="514">
                  <c:v>148.29</c:v>
                </c:pt>
                <c:pt idx="515">
                  <c:v>149.12</c:v>
                </c:pt>
                <c:pt idx="516">
                  <c:v>151.10999999999999</c:v>
                </c:pt>
                <c:pt idx="517">
                  <c:v>149.19</c:v>
                </c:pt>
                <c:pt idx="518">
                  <c:v>150.15</c:v>
                </c:pt>
                <c:pt idx="519">
                  <c:v>150.15</c:v>
                </c:pt>
                <c:pt idx="520">
                  <c:v>151.86000000000001</c:v>
                </c:pt>
                <c:pt idx="521">
                  <c:v>152.59</c:v>
                </c:pt>
                <c:pt idx="522">
                  <c:v>152.39000000000001</c:v>
                </c:pt>
                <c:pt idx="523">
                  <c:v>153.62</c:v>
                </c:pt>
                <c:pt idx="524">
                  <c:v>153.13</c:v>
                </c:pt>
                <c:pt idx="525">
                  <c:v>152.99</c:v>
                </c:pt>
                <c:pt idx="526">
                  <c:v>152.26</c:v>
                </c:pt>
                <c:pt idx="527">
                  <c:v>149.79</c:v>
                </c:pt>
                <c:pt idx="528">
                  <c:v>147.94999999999999</c:v>
                </c:pt>
                <c:pt idx="529">
                  <c:v>147.16</c:v>
                </c:pt>
                <c:pt idx="530">
                  <c:v>145.59</c:v>
                </c:pt>
                <c:pt idx="531">
                  <c:v>147</c:v>
                </c:pt>
                <c:pt idx="532">
                  <c:v>148.01</c:v>
                </c:pt>
                <c:pt idx="533">
                  <c:v>147.78</c:v>
                </c:pt>
                <c:pt idx="534">
                  <c:v>147.41999999999999</c:v>
                </c:pt>
                <c:pt idx="535">
                  <c:v>148</c:v>
                </c:pt>
                <c:pt idx="536">
                  <c:v>148.66</c:v>
                </c:pt>
                <c:pt idx="537">
                  <c:v>146.87</c:v>
                </c:pt>
                <c:pt idx="538">
                  <c:v>148.06</c:v>
                </c:pt>
                <c:pt idx="539">
                  <c:v>149.22999999999999</c:v>
                </c:pt>
                <c:pt idx="540">
                  <c:v>150.19</c:v>
                </c:pt>
                <c:pt idx="541">
                  <c:v>152.01</c:v>
                </c:pt>
                <c:pt idx="542">
                  <c:v>151.88000000000017</c:v>
                </c:pt>
                <c:pt idx="543">
                  <c:v>151.94999999999999</c:v>
                </c:pt>
                <c:pt idx="544">
                  <c:v>149.84</c:v>
                </c:pt>
                <c:pt idx="545">
                  <c:v>150.54</c:v>
                </c:pt>
                <c:pt idx="546">
                  <c:v>150.73999999999998</c:v>
                </c:pt>
                <c:pt idx="547">
                  <c:v>151.80000000000001</c:v>
                </c:pt>
                <c:pt idx="548">
                  <c:v>152.36000000000001</c:v>
                </c:pt>
                <c:pt idx="549">
                  <c:v>152.39000000000001</c:v>
                </c:pt>
                <c:pt idx="550">
                  <c:v>155.03</c:v>
                </c:pt>
                <c:pt idx="551">
                  <c:v>155.44999999999999</c:v>
                </c:pt>
                <c:pt idx="552">
                  <c:v>155.39000000000001</c:v>
                </c:pt>
                <c:pt idx="553">
                  <c:v>155.03</c:v>
                </c:pt>
                <c:pt idx="554">
                  <c:v>155.03</c:v>
                </c:pt>
                <c:pt idx="555">
                  <c:v>156.53</c:v>
                </c:pt>
                <c:pt idx="556">
                  <c:v>157.96</c:v>
                </c:pt>
                <c:pt idx="557">
                  <c:v>158.72</c:v>
                </c:pt>
                <c:pt idx="558">
                  <c:v>156.51</c:v>
                </c:pt>
                <c:pt idx="559">
                  <c:v>157.78</c:v>
                </c:pt>
                <c:pt idx="560">
                  <c:v>158.41999999999999</c:v>
                </c:pt>
                <c:pt idx="561">
                  <c:v>157.44999999999999</c:v>
                </c:pt>
                <c:pt idx="562">
                  <c:v>157.44</c:v>
                </c:pt>
                <c:pt idx="563">
                  <c:v>156.29</c:v>
                </c:pt>
                <c:pt idx="564">
                  <c:v>155.49</c:v>
                </c:pt>
                <c:pt idx="565">
                  <c:v>155.89000000000001</c:v>
                </c:pt>
                <c:pt idx="566">
                  <c:v>157.25</c:v>
                </c:pt>
                <c:pt idx="567">
                  <c:v>157.23999999999998</c:v>
                </c:pt>
                <c:pt idx="568">
                  <c:v>157.36000000000001</c:v>
                </c:pt>
                <c:pt idx="569">
                  <c:v>158.55000000000001</c:v>
                </c:pt>
                <c:pt idx="570">
                  <c:v>159.69</c:v>
                </c:pt>
                <c:pt idx="571">
                  <c:v>160.32000000000016</c:v>
                </c:pt>
                <c:pt idx="572">
                  <c:v>161.07</c:v>
                </c:pt>
                <c:pt idx="573">
                  <c:v>161.81</c:v>
                </c:pt>
                <c:pt idx="574">
                  <c:v>164.57</c:v>
                </c:pt>
                <c:pt idx="575">
                  <c:v>164.59</c:v>
                </c:pt>
                <c:pt idx="576">
                  <c:v>164.95000000000007</c:v>
                </c:pt>
                <c:pt idx="577">
                  <c:v>165.79</c:v>
                </c:pt>
                <c:pt idx="578">
                  <c:v>167.95000000000007</c:v>
                </c:pt>
                <c:pt idx="579">
                  <c:v>168.83</c:v>
                </c:pt>
                <c:pt idx="580">
                  <c:v>168.54</c:v>
                </c:pt>
                <c:pt idx="581">
                  <c:v>168.13</c:v>
                </c:pt>
                <c:pt idx="582">
                  <c:v>166.62</c:v>
                </c:pt>
                <c:pt idx="583">
                  <c:v>166.91</c:v>
                </c:pt>
                <c:pt idx="584">
                  <c:v>168.67</c:v>
                </c:pt>
                <c:pt idx="585">
                  <c:v>169.7</c:v>
                </c:pt>
                <c:pt idx="586">
                  <c:v>169.43</c:v>
                </c:pt>
                <c:pt idx="587">
                  <c:v>171</c:v>
                </c:pt>
                <c:pt idx="588">
                  <c:v>171</c:v>
                </c:pt>
                <c:pt idx="589">
                  <c:v>172.51</c:v>
                </c:pt>
                <c:pt idx="590">
                  <c:v>172.6</c:v>
                </c:pt>
                <c:pt idx="591">
                  <c:v>175.4</c:v>
                </c:pt>
                <c:pt idx="592">
                  <c:v>177.60999999999999</c:v>
                </c:pt>
                <c:pt idx="593">
                  <c:v>175.63</c:v>
                </c:pt>
                <c:pt idx="594">
                  <c:v>175.96</c:v>
                </c:pt>
                <c:pt idx="595">
                  <c:v>172.57</c:v>
                </c:pt>
                <c:pt idx="596">
                  <c:v>172.36</c:v>
                </c:pt>
                <c:pt idx="597">
                  <c:v>171.57</c:v>
                </c:pt>
                <c:pt idx="598">
                  <c:v>172.05</c:v>
                </c:pt>
                <c:pt idx="599">
                  <c:v>174.86</c:v>
                </c:pt>
                <c:pt idx="600">
                  <c:v>176.96</c:v>
                </c:pt>
                <c:pt idx="601">
                  <c:v>176.70999999999998</c:v>
                </c:pt>
                <c:pt idx="602">
                  <c:v>176.62</c:v>
                </c:pt>
                <c:pt idx="603">
                  <c:v>176.75</c:v>
                </c:pt>
                <c:pt idx="604">
                  <c:v>176.52</c:v>
                </c:pt>
                <c:pt idx="605">
                  <c:v>172.82000000000016</c:v>
                </c:pt>
                <c:pt idx="606">
                  <c:v>173.31</c:v>
                </c:pt>
                <c:pt idx="607">
                  <c:v>173.1</c:v>
                </c:pt>
                <c:pt idx="608">
                  <c:v>173.99</c:v>
                </c:pt>
                <c:pt idx="609">
                  <c:v>173.76</c:v>
                </c:pt>
                <c:pt idx="610">
                  <c:v>175.09</c:v>
                </c:pt>
                <c:pt idx="611">
                  <c:v>175.88000000000017</c:v>
                </c:pt>
                <c:pt idx="612">
                  <c:v>175.41</c:v>
                </c:pt>
                <c:pt idx="613">
                  <c:v>175.54</c:v>
                </c:pt>
                <c:pt idx="614">
                  <c:v>176.89000000000001</c:v>
                </c:pt>
                <c:pt idx="615">
                  <c:v>176.70999999999998</c:v>
                </c:pt>
                <c:pt idx="616">
                  <c:v>176.34</c:v>
                </c:pt>
                <c:pt idx="617">
                  <c:v>174.83</c:v>
                </c:pt>
                <c:pt idx="618">
                  <c:v>173.81</c:v>
                </c:pt>
                <c:pt idx="619">
                  <c:v>176.28</c:v>
                </c:pt>
                <c:pt idx="620">
                  <c:v>175.03</c:v>
                </c:pt>
                <c:pt idx="621">
                  <c:v>176.72</c:v>
                </c:pt>
                <c:pt idx="622">
                  <c:v>176.28</c:v>
                </c:pt>
                <c:pt idx="623">
                  <c:v>176.6</c:v>
                </c:pt>
                <c:pt idx="624">
                  <c:v>176.6</c:v>
                </c:pt>
                <c:pt idx="625">
                  <c:v>175.29</c:v>
                </c:pt>
                <c:pt idx="626">
                  <c:v>174.15</c:v>
                </c:pt>
                <c:pt idx="627">
                  <c:v>171.6</c:v>
                </c:pt>
                <c:pt idx="628">
                  <c:v>171.82000000000016</c:v>
                </c:pt>
                <c:pt idx="629">
                  <c:v>171.35000000000016</c:v>
                </c:pt>
                <c:pt idx="630">
                  <c:v>171.66</c:v>
                </c:pt>
                <c:pt idx="631">
                  <c:v>168.81</c:v>
                </c:pt>
                <c:pt idx="632">
                  <c:v>169.85000000000016</c:v>
                </c:pt>
                <c:pt idx="633">
                  <c:v>171.65</c:v>
                </c:pt>
                <c:pt idx="634">
                  <c:v>172.4</c:v>
                </c:pt>
                <c:pt idx="635">
                  <c:v>171.26999999999998</c:v>
                </c:pt>
                <c:pt idx="636">
                  <c:v>171.51</c:v>
                </c:pt>
                <c:pt idx="637">
                  <c:v>171.13</c:v>
                </c:pt>
                <c:pt idx="638">
                  <c:v>170.85000000000016</c:v>
                </c:pt>
                <c:pt idx="639">
                  <c:v>173.65</c:v>
                </c:pt>
                <c:pt idx="640">
                  <c:v>173.53</c:v>
                </c:pt>
                <c:pt idx="641">
                  <c:v>171.96</c:v>
                </c:pt>
                <c:pt idx="642">
                  <c:v>172.32000000000016</c:v>
                </c:pt>
                <c:pt idx="643">
                  <c:v>171.95000000000007</c:v>
                </c:pt>
                <c:pt idx="644">
                  <c:v>171.68</c:v>
                </c:pt>
                <c:pt idx="645">
                  <c:v>170.67</c:v>
                </c:pt>
                <c:pt idx="646">
                  <c:v>172.81</c:v>
                </c:pt>
                <c:pt idx="647">
                  <c:v>174.41</c:v>
                </c:pt>
                <c:pt idx="648">
                  <c:v>175.29</c:v>
                </c:pt>
                <c:pt idx="649">
                  <c:v>177.05</c:v>
                </c:pt>
                <c:pt idx="650">
                  <c:v>175.7</c:v>
                </c:pt>
                <c:pt idx="651">
                  <c:v>176.45000000000007</c:v>
                </c:pt>
                <c:pt idx="652">
                  <c:v>176.45000000000007</c:v>
                </c:pt>
                <c:pt idx="653">
                  <c:v>176.04</c:v>
                </c:pt>
                <c:pt idx="654">
                  <c:v>177.25</c:v>
                </c:pt>
                <c:pt idx="655">
                  <c:v>177.67</c:v>
                </c:pt>
                <c:pt idx="656">
                  <c:v>178.1</c:v>
                </c:pt>
                <c:pt idx="657">
                  <c:v>179.07</c:v>
                </c:pt>
                <c:pt idx="658">
                  <c:v>179.8</c:v>
                </c:pt>
                <c:pt idx="659">
                  <c:v>179.89000000000001</c:v>
                </c:pt>
                <c:pt idx="660">
                  <c:v>178.45000000000007</c:v>
                </c:pt>
                <c:pt idx="661">
                  <c:v>176.6</c:v>
                </c:pt>
                <c:pt idx="662">
                  <c:v>175.10999999999999</c:v>
                </c:pt>
                <c:pt idx="663">
                  <c:v>173.55</c:v>
                </c:pt>
                <c:pt idx="664">
                  <c:v>172.01</c:v>
                </c:pt>
                <c:pt idx="665">
                  <c:v>173.8</c:v>
                </c:pt>
                <c:pt idx="666">
                  <c:v>172.79</c:v>
                </c:pt>
                <c:pt idx="667">
                  <c:v>172.94</c:v>
                </c:pt>
                <c:pt idx="668">
                  <c:v>170.85000000000016</c:v>
                </c:pt>
                <c:pt idx="669">
                  <c:v>171.04</c:v>
                </c:pt>
                <c:pt idx="670">
                  <c:v>171.45000000000007</c:v>
                </c:pt>
                <c:pt idx="671">
                  <c:v>172.17</c:v>
                </c:pt>
                <c:pt idx="672">
                  <c:v>174.6</c:v>
                </c:pt>
                <c:pt idx="673">
                  <c:v>175.23</c:v>
                </c:pt>
                <c:pt idx="674">
                  <c:v>174.13</c:v>
                </c:pt>
                <c:pt idx="675">
                  <c:v>174.12</c:v>
                </c:pt>
                <c:pt idx="676">
                  <c:v>174.57</c:v>
                </c:pt>
                <c:pt idx="677">
                  <c:v>175.99</c:v>
                </c:pt>
                <c:pt idx="678">
                  <c:v>176.17</c:v>
                </c:pt>
                <c:pt idx="679">
                  <c:v>178.84</c:v>
                </c:pt>
                <c:pt idx="680">
                  <c:v>179.99</c:v>
                </c:pt>
                <c:pt idx="681">
                  <c:v>179.46</c:v>
                </c:pt>
                <c:pt idx="682">
                  <c:v>178.43</c:v>
                </c:pt>
                <c:pt idx="683">
                  <c:v>180.13</c:v>
                </c:pt>
                <c:pt idx="684">
                  <c:v>181.97</c:v>
                </c:pt>
                <c:pt idx="685">
                  <c:v>180.45000000000007</c:v>
                </c:pt>
                <c:pt idx="686">
                  <c:v>179.58</c:v>
                </c:pt>
                <c:pt idx="687">
                  <c:v>180.94</c:v>
                </c:pt>
                <c:pt idx="688">
                  <c:v>180.45000000000007</c:v>
                </c:pt>
                <c:pt idx="689">
                  <c:v>179.43</c:v>
                </c:pt>
                <c:pt idx="690">
                  <c:v>178.87</c:v>
                </c:pt>
                <c:pt idx="691">
                  <c:v>178.73</c:v>
                </c:pt>
                <c:pt idx="692">
                  <c:v>180.60999999999999</c:v>
                </c:pt>
                <c:pt idx="693">
                  <c:v>181.03</c:v>
                </c:pt>
                <c:pt idx="694">
                  <c:v>181.03</c:v>
                </c:pt>
                <c:pt idx="695">
                  <c:v>183.20999999999998</c:v>
                </c:pt>
                <c:pt idx="696">
                  <c:v>181.75</c:v>
                </c:pt>
                <c:pt idx="697">
                  <c:v>181.72</c:v>
                </c:pt>
                <c:pt idx="698">
                  <c:v>183.57</c:v>
                </c:pt>
                <c:pt idx="699">
                  <c:v>183.07</c:v>
                </c:pt>
                <c:pt idx="700">
                  <c:v>183.89000000000001</c:v>
                </c:pt>
                <c:pt idx="701">
                  <c:v>184.20999999999998</c:v>
                </c:pt>
                <c:pt idx="702">
                  <c:v>184.76</c:v>
                </c:pt>
                <c:pt idx="703">
                  <c:v>183.57</c:v>
                </c:pt>
                <c:pt idx="704">
                  <c:v>180.76</c:v>
                </c:pt>
                <c:pt idx="705">
                  <c:v>180.63</c:v>
                </c:pt>
                <c:pt idx="706">
                  <c:v>182.6</c:v>
                </c:pt>
                <c:pt idx="707">
                  <c:v>181.67</c:v>
                </c:pt>
                <c:pt idx="708">
                  <c:v>181.08</c:v>
                </c:pt>
                <c:pt idx="709">
                  <c:v>180.64</c:v>
                </c:pt>
                <c:pt idx="710">
                  <c:v>182.86</c:v>
                </c:pt>
                <c:pt idx="711">
                  <c:v>184.35000000000016</c:v>
                </c:pt>
                <c:pt idx="712">
                  <c:v>183.58</c:v>
                </c:pt>
                <c:pt idx="713">
                  <c:v>184.56</c:v>
                </c:pt>
                <c:pt idx="714">
                  <c:v>183.08</c:v>
                </c:pt>
                <c:pt idx="715">
                  <c:v>181.91</c:v>
                </c:pt>
                <c:pt idx="716">
                  <c:v>182.2</c:v>
                </c:pt>
                <c:pt idx="717">
                  <c:v>184.31</c:v>
                </c:pt>
                <c:pt idx="718">
                  <c:v>184.54</c:v>
                </c:pt>
                <c:pt idx="719">
                  <c:v>186.47</c:v>
                </c:pt>
                <c:pt idx="720">
                  <c:v>187.94</c:v>
                </c:pt>
                <c:pt idx="721">
                  <c:v>186.54</c:v>
                </c:pt>
                <c:pt idx="722">
                  <c:v>184.57</c:v>
                </c:pt>
                <c:pt idx="723">
                  <c:v>184.49</c:v>
                </c:pt>
                <c:pt idx="724">
                  <c:v>185.6</c:v>
                </c:pt>
                <c:pt idx="725">
                  <c:v>186.13</c:v>
                </c:pt>
                <c:pt idx="726">
                  <c:v>184.47</c:v>
                </c:pt>
                <c:pt idx="727">
                  <c:v>185.28</c:v>
                </c:pt>
                <c:pt idx="728">
                  <c:v>185.4</c:v>
                </c:pt>
                <c:pt idx="729">
                  <c:v>185.94</c:v>
                </c:pt>
                <c:pt idx="730">
                  <c:v>187.48000000000016</c:v>
                </c:pt>
                <c:pt idx="731">
                  <c:v>186.57</c:v>
                </c:pt>
                <c:pt idx="732">
                  <c:v>185.07</c:v>
                </c:pt>
                <c:pt idx="733">
                  <c:v>186.88000000000017</c:v>
                </c:pt>
                <c:pt idx="734">
                  <c:v>186.91</c:v>
                </c:pt>
                <c:pt idx="735">
                  <c:v>184.8</c:v>
                </c:pt>
                <c:pt idx="736">
                  <c:v>185.44</c:v>
                </c:pt>
                <c:pt idx="737">
                  <c:v>181.38000000000017</c:v>
                </c:pt>
                <c:pt idx="738">
                  <c:v>180.58</c:v>
                </c:pt>
                <c:pt idx="739">
                  <c:v>179.76</c:v>
                </c:pt>
                <c:pt idx="740">
                  <c:v>179.55</c:v>
                </c:pt>
                <c:pt idx="741">
                  <c:v>180.4</c:v>
                </c:pt>
                <c:pt idx="742">
                  <c:v>181.70999999999998</c:v>
                </c:pt>
                <c:pt idx="743">
                  <c:v>183.42000000000004</c:v>
                </c:pt>
                <c:pt idx="744">
                  <c:v>183.46</c:v>
                </c:pt>
                <c:pt idx="745">
                  <c:v>183.36</c:v>
                </c:pt>
                <c:pt idx="746">
                  <c:v>185.76</c:v>
                </c:pt>
                <c:pt idx="747">
                  <c:v>186.81</c:v>
                </c:pt>
                <c:pt idx="748">
                  <c:v>187.26</c:v>
                </c:pt>
                <c:pt idx="749">
                  <c:v>186.57</c:v>
                </c:pt>
                <c:pt idx="750">
                  <c:v>189.52</c:v>
                </c:pt>
                <c:pt idx="751">
                  <c:v>188.63</c:v>
                </c:pt>
                <c:pt idx="752">
                  <c:v>189.63</c:v>
                </c:pt>
                <c:pt idx="753">
                  <c:v>190.07</c:v>
                </c:pt>
                <c:pt idx="754">
                  <c:v>189.36</c:v>
                </c:pt>
                <c:pt idx="755">
                  <c:v>190.87</c:v>
                </c:pt>
                <c:pt idx="756">
                  <c:v>191.12</c:v>
                </c:pt>
                <c:pt idx="757">
                  <c:v>191.12</c:v>
                </c:pt>
                <c:pt idx="758">
                  <c:v>190.84</c:v>
                </c:pt>
                <c:pt idx="759">
                  <c:v>191.02</c:v>
                </c:pt>
                <c:pt idx="760">
                  <c:v>191.34</c:v>
                </c:pt>
                <c:pt idx="761">
                  <c:v>191.33</c:v>
                </c:pt>
                <c:pt idx="762">
                  <c:v>194.6</c:v>
                </c:pt>
                <c:pt idx="763">
                  <c:v>193.38000000000017</c:v>
                </c:pt>
                <c:pt idx="764">
                  <c:v>191.31</c:v>
                </c:pt>
                <c:pt idx="765">
                  <c:v>190.07</c:v>
                </c:pt>
                <c:pt idx="766">
                  <c:v>188.37</c:v>
                </c:pt>
                <c:pt idx="767">
                  <c:v>189.59</c:v>
                </c:pt>
                <c:pt idx="768">
                  <c:v>192.37</c:v>
                </c:pt>
                <c:pt idx="769">
                  <c:v>196.31</c:v>
                </c:pt>
                <c:pt idx="770">
                  <c:v>195.07</c:v>
                </c:pt>
                <c:pt idx="771">
                  <c:v>196.37</c:v>
                </c:pt>
                <c:pt idx="772">
                  <c:v>197.69</c:v>
                </c:pt>
                <c:pt idx="773">
                  <c:v>197.26999999999998</c:v>
                </c:pt>
                <c:pt idx="774">
                  <c:v>195.48000000000016</c:v>
                </c:pt>
                <c:pt idx="775">
                  <c:v>196.58</c:v>
                </c:pt>
                <c:pt idx="776">
                  <c:v>196.58</c:v>
                </c:pt>
                <c:pt idx="777">
                  <c:v>194.97</c:v>
                </c:pt>
                <c:pt idx="778">
                  <c:v>193.81</c:v>
                </c:pt>
                <c:pt idx="779">
                  <c:v>192.54</c:v>
                </c:pt>
                <c:pt idx="780">
                  <c:v>194.55</c:v>
                </c:pt>
                <c:pt idx="781">
                  <c:v>194.55</c:v>
                </c:pt>
                <c:pt idx="782">
                  <c:v>195.19</c:v>
                </c:pt>
                <c:pt idx="783">
                  <c:v>195.29</c:v>
                </c:pt>
                <c:pt idx="784">
                  <c:v>198.70999999999998</c:v>
                </c:pt>
                <c:pt idx="785">
                  <c:v>198.38000000000017</c:v>
                </c:pt>
                <c:pt idx="786">
                  <c:v>199.76999999999998</c:v>
                </c:pt>
                <c:pt idx="787">
                  <c:v>199.14</c:v>
                </c:pt>
                <c:pt idx="788">
                  <c:v>198.34</c:v>
                </c:pt>
                <c:pt idx="789">
                  <c:v>196.73</c:v>
                </c:pt>
                <c:pt idx="790">
                  <c:v>197.10999999999999</c:v>
                </c:pt>
                <c:pt idx="791">
                  <c:v>200.13</c:v>
                </c:pt>
                <c:pt idx="792">
                  <c:v>197.76999999999998</c:v>
                </c:pt>
                <c:pt idx="793">
                  <c:v>196.63</c:v>
                </c:pt>
                <c:pt idx="794">
                  <c:v>196.62</c:v>
                </c:pt>
                <c:pt idx="795">
                  <c:v>195.06</c:v>
                </c:pt>
                <c:pt idx="796">
                  <c:v>195.64</c:v>
                </c:pt>
                <c:pt idx="797">
                  <c:v>195.37</c:v>
                </c:pt>
                <c:pt idx="798">
                  <c:v>195.47</c:v>
                </c:pt>
                <c:pt idx="799">
                  <c:v>196.52</c:v>
                </c:pt>
                <c:pt idx="800">
                  <c:v>195.86</c:v>
                </c:pt>
                <c:pt idx="801">
                  <c:v>196.29</c:v>
                </c:pt>
                <c:pt idx="802">
                  <c:v>196.76999999999998</c:v>
                </c:pt>
                <c:pt idx="803">
                  <c:v>194.76999999999998</c:v>
                </c:pt>
                <c:pt idx="804">
                  <c:v>194.70999999999998</c:v>
                </c:pt>
                <c:pt idx="805">
                  <c:v>194.81</c:v>
                </c:pt>
                <c:pt idx="806">
                  <c:v>194.87</c:v>
                </c:pt>
                <c:pt idx="807">
                  <c:v>192.82000000000016</c:v>
                </c:pt>
                <c:pt idx="808">
                  <c:v>190.63</c:v>
                </c:pt>
                <c:pt idx="809">
                  <c:v>191.70999999999998</c:v>
                </c:pt>
                <c:pt idx="810">
                  <c:v>191.76999999999998</c:v>
                </c:pt>
                <c:pt idx="811">
                  <c:v>190.69</c:v>
                </c:pt>
                <c:pt idx="812">
                  <c:v>191.15</c:v>
                </c:pt>
                <c:pt idx="813">
                  <c:v>191.82000000000016</c:v>
                </c:pt>
                <c:pt idx="814">
                  <c:v>191.82000000000016</c:v>
                </c:pt>
                <c:pt idx="815">
                  <c:v>192.18</c:v>
                </c:pt>
                <c:pt idx="816">
                  <c:v>194.4</c:v>
                </c:pt>
                <c:pt idx="817">
                  <c:v>193.06</c:v>
                </c:pt>
                <c:pt idx="818">
                  <c:v>192.79</c:v>
                </c:pt>
                <c:pt idx="819">
                  <c:v>190.25</c:v>
                </c:pt>
                <c:pt idx="820">
                  <c:v>191.92000000000004</c:v>
                </c:pt>
                <c:pt idx="821">
                  <c:v>193.42000000000004</c:v>
                </c:pt>
                <c:pt idx="822">
                  <c:v>192.55</c:v>
                </c:pt>
                <c:pt idx="823">
                  <c:v>191.38000000000017</c:v>
                </c:pt>
                <c:pt idx="824">
                  <c:v>192.56</c:v>
                </c:pt>
                <c:pt idx="825">
                  <c:v>195</c:v>
                </c:pt>
                <c:pt idx="826">
                  <c:v>193.57</c:v>
                </c:pt>
                <c:pt idx="827">
                  <c:v>195.42000000000004</c:v>
                </c:pt>
                <c:pt idx="828">
                  <c:v>196.79</c:v>
                </c:pt>
                <c:pt idx="829">
                  <c:v>196.83</c:v>
                </c:pt>
                <c:pt idx="830">
                  <c:v>196.55</c:v>
                </c:pt>
                <c:pt idx="831">
                  <c:v>195.79</c:v>
                </c:pt>
                <c:pt idx="832">
                  <c:v>195.60999999999999</c:v>
                </c:pt>
                <c:pt idx="833">
                  <c:v>197.91</c:v>
                </c:pt>
                <c:pt idx="834">
                  <c:v>195.23999999999998</c:v>
                </c:pt>
                <c:pt idx="835">
                  <c:v>197.17</c:v>
                </c:pt>
                <c:pt idx="836">
                  <c:v>197.5</c:v>
                </c:pt>
                <c:pt idx="837">
                  <c:v>198.39000000000001</c:v>
                </c:pt>
                <c:pt idx="838">
                  <c:v>196.5</c:v>
                </c:pt>
                <c:pt idx="839">
                  <c:v>194.55</c:v>
                </c:pt>
                <c:pt idx="840">
                  <c:v>195.65</c:v>
                </c:pt>
                <c:pt idx="841">
                  <c:v>194.66</c:v>
                </c:pt>
                <c:pt idx="842">
                  <c:v>195.73999999999998</c:v>
                </c:pt>
                <c:pt idx="843">
                  <c:v>195.73999999999998</c:v>
                </c:pt>
                <c:pt idx="844">
                  <c:v>194.99</c:v>
                </c:pt>
                <c:pt idx="845">
                  <c:v>195.14</c:v>
                </c:pt>
                <c:pt idx="846">
                  <c:v>192.33</c:v>
                </c:pt>
                <c:pt idx="847">
                  <c:v>190.84</c:v>
                </c:pt>
                <c:pt idx="848">
                  <c:v>189.60999999999999</c:v>
                </c:pt>
                <c:pt idx="849">
                  <c:v>189.26999999999998</c:v>
                </c:pt>
                <c:pt idx="850">
                  <c:v>189.31</c:v>
                </c:pt>
                <c:pt idx="851">
                  <c:v>189.98000000000016</c:v>
                </c:pt>
                <c:pt idx="852">
                  <c:v>191.54</c:v>
                </c:pt>
                <c:pt idx="853">
                  <c:v>190.68</c:v>
                </c:pt>
                <c:pt idx="854">
                  <c:v>192.1</c:v>
                </c:pt>
                <c:pt idx="855">
                  <c:v>191.23</c:v>
                </c:pt>
                <c:pt idx="856">
                  <c:v>189.68</c:v>
                </c:pt>
                <c:pt idx="857">
                  <c:v>190.87</c:v>
                </c:pt>
                <c:pt idx="858">
                  <c:v>192.9</c:v>
                </c:pt>
                <c:pt idx="859">
                  <c:v>193.89000000000001</c:v>
                </c:pt>
                <c:pt idx="860">
                  <c:v>193.12</c:v>
                </c:pt>
                <c:pt idx="861">
                  <c:v>193.65</c:v>
                </c:pt>
                <c:pt idx="862">
                  <c:v>194.47</c:v>
                </c:pt>
                <c:pt idx="863">
                  <c:v>194.78</c:v>
                </c:pt>
                <c:pt idx="864">
                  <c:v>193.86</c:v>
                </c:pt>
                <c:pt idx="865">
                  <c:v>195.8</c:v>
                </c:pt>
                <c:pt idx="866">
                  <c:v>196.76999999999998</c:v>
                </c:pt>
                <c:pt idx="867">
                  <c:v>196.45000000000007</c:v>
                </c:pt>
                <c:pt idx="868">
                  <c:v>194.98000000000016</c:v>
                </c:pt>
                <c:pt idx="869">
                  <c:v>194.97</c:v>
                </c:pt>
                <c:pt idx="870">
                  <c:v>195.09</c:v>
                </c:pt>
                <c:pt idx="871">
                  <c:v>195.65</c:v>
                </c:pt>
                <c:pt idx="872">
                  <c:v>197.53</c:v>
                </c:pt>
                <c:pt idx="873">
                  <c:v>198.32000000000016</c:v>
                </c:pt>
                <c:pt idx="874">
                  <c:v>201.26</c:v>
                </c:pt>
                <c:pt idx="875">
                  <c:v>201.6</c:v>
                </c:pt>
                <c:pt idx="876">
                  <c:v>201.53</c:v>
                </c:pt>
                <c:pt idx="877">
                  <c:v>202.44</c:v>
                </c:pt>
                <c:pt idx="878">
                  <c:v>205.25</c:v>
                </c:pt>
                <c:pt idx="879">
                  <c:v>203.94</c:v>
                </c:pt>
                <c:pt idx="880">
                  <c:v>202.13</c:v>
                </c:pt>
                <c:pt idx="881">
                  <c:v>203.81</c:v>
                </c:pt>
                <c:pt idx="882">
                  <c:v>203.7</c:v>
                </c:pt>
                <c:pt idx="883">
                  <c:v>202.95000000000007</c:v>
                </c:pt>
                <c:pt idx="884">
                  <c:v>202.95000000000007</c:v>
                </c:pt>
                <c:pt idx="885">
                  <c:v>201.1</c:v>
                </c:pt>
                <c:pt idx="886">
                  <c:v>202.60999999999999</c:v>
                </c:pt>
                <c:pt idx="887">
                  <c:v>204.04</c:v>
                </c:pt>
                <c:pt idx="888">
                  <c:v>201.56</c:v>
                </c:pt>
                <c:pt idx="889">
                  <c:v>199.91</c:v>
                </c:pt>
                <c:pt idx="890">
                  <c:v>198.3</c:v>
                </c:pt>
                <c:pt idx="891">
                  <c:v>196.55</c:v>
                </c:pt>
                <c:pt idx="892">
                  <c:v>194.81</c:v>
                </c:pt>
                <c:pt idx="893">
                  <c:v>192.96</c:v>
                </c:pt>
                <c:pt idx="894">
                  <c:v>192.86</c:v>
                </c:pt>
                <c:pt idx="895">
                  <c:v>191.76</c:v>
                </c:pt>
                <c:pt idx="896">
                  <c:v>191.64</c:v>
                </c:pt>
                <c:pt idx="897">
                  <c:v>192.09</c:v>
                </c:pt>
                <c:pt idx="898">
                  <c:v>192.6</c:v>
                </c:pt>
                <c:pt idx="899">
                  <c:v>192.54</c:v>
                </c:pt>
                <c:pt idx="900">
                  <c:v>193.70999999999998</c:v>
                </c:pt>
                <c:pt idx="901">
                  <c:v>191.23999999999998</c:v>
                </c:pt>
                <c:pt idx="902">
                  <c:v>191.48000000000016</c:v>
                </c:pt>
                <c:pt idx="903">
                  <c:v>190.15</c:v>
                </c:pt>
                <c:pt idx="904">
                  <c:v>191.36</c:v>
                </c:pt>
                <c:pt idx="905">
                  <c:v>191</c:v>
                </c:pt>
                <c:pt idx="906">
                  <c:v>192.01</c:v>
                </c:pt>
                <c:pt idx="907">
                  <c:v>189.66</c:v>
                </c:pt>
                <c:pt idx="908">
                  <c:v>190.91</c:v>
                </c:pt>
                <c:pt idx="909">
                  <c:v>191.94</c:v>
                </c:pt>
                <c:pt idx="910">
                  <c:v>191.94</c:v>
                </c:pt>
                <c:pt idx="911">
                  <c:v>191.56</c:v>
                </c:pt>
                <c:pt idx="912">
                  <c:v>188.52</c:v>
                </c:pt>
                <c:pt idx="913">
                  <c:v>188.52</c:v>
                </c:pt>
                <c:pt idx="914">
                  <c:v>186.83</c:v>
                </c:pt>
                <c:pt idx="915">
                  <c:v>187.79</c:v>
                </c:pt>
                <c:pt idx="916">
                  <c:v>187.85000000000016</c:v>
                </c:pt>
                <c:pt idx="917">
                  <c:v>186.5</c:v>
                </c:pt>
                <c:pt idx="918">
                  <c:v>187.01</c:v>
                </c:pt>
                <c:pt idx="919">
                  <c:v>187.42000000000004</c:v>
                </c:pt>
                <c:pt idx="920">
                  <c:v>189.06</c:v>
                </c:pt>
                <c:pt idx="921">
                  <c:v>188.63</c:v>
                </c:pt>
                <c:pt idx="922">
                  <c:v>189.5</c:v>
                </c:pt>
                <c:pt idx="923">
                  <c:v>188.88000000000017</c:v>
                </c:pt>
                <c:pt idx="924">
                  <c:v>187.37</c:v>
                </c:pt>
                <c:pt idx="925">
                  <c:v>188.47</c:v>
                </c:pt>
                <c:pt idx="926">
                  <c:v>189.88000000000017</c:v>
                </c:pt>
                <c:pt idx="927">
                  <c:v>190.99</c:v>
                </c:pt>
                <c:pt idx="928">
                  <c:v>192.25</c:v>
                </c:pt>
                <c:pt idx="929">
                  <c:v>193.87</c:v>
                </c:pt>
                <c:pt idx="930">
                  <c:v>194.45000000000007</c:v>
                </c:pt>
                <c:pt idx="931">
                  <c:v>195.66</c:v>
                </c:pt>
                <c:pt idx="932">
                  <c:v>196.36</c:v>
                </c:pt>
                <c:pt idx="933">
                  <c:v>197.66</c:v>
                </c:pt>
                <c:pt idx="934">
                  <c:v>199.66</c:v>
                </c:pt>
                <c:pt idx="935">
                  <c:v>199.13</c:v>
                </c:pt>
                <c:pt idx="936">
                  <c:v>198.14</c:v>
                </c:pt>
                <c:pt idx="937">
                  <c:v>197.49</c:v>
                </c:pt>
                <c:pt idx="938">
                  <c:v>196.54</c:v>
                </c:pt>
                <c:pt idx="939">
                  <c:v>196.43</c:v>
                </c:pt>
                <c:pt idx="940">
                  <c:v>196.73</c:v>
                </c:pt>
                <c:pt idx="941">
                  <c:v>197.62</c:v>
                </c:pt>
                <c:pt idx="942">
                  <c:v>196.87</c:v>
                </c:pt>
                <c:pt idx="943">
                  <c:v>196.08</c:v>
                </c:pt>
                <c:pt idx="944">
                  <c:v>194.9</c:v>
                </c:pt>
                <c:pt idx="945">
                  <c:v>196.60999999999999</c:v>
                </c:pt>
                <c:pt idx="946">
                  <c:v>195.23</c:v>
                </c:pt>
                <c:pt idx="947">
                  <c:v>194.46</c:v>
                </c:pt>
                <c:pt idx="948">
                  <c:v>195.25</c:v>
                </c:pt>
                <c:pt idx="949">
                  <c:v>193.45000000000007</c:v>
                </c:pt>
                <c:pt idx="950">
                  <c:v>193.81</c:v>
                </c:pt>
                <c:pt idx="951">
                  <c:v>195.81</c:v>
                </c:pt>
                <c:pt idx="952">
                  <c:v>196.18</c:v>
                </c:pt>
                <c:pt idx="953">
                  <c:v>196.94</c:v>
                </c:pt>
                <c:pt idx="954">
                  <c:v>196.94</c:v>
                </c:pt>
                <c:pt idx="955">
                  <c:v>197.69</c:v>
                </c:pt>
                <c:pt idx="956">
                  <c:v>198.02</c:v>
                </c:pt>
                <c:pt idx="957">
                  <c:v>196.83</c:v>
                </c:pt>
                <c:pt idx="958">
                  <c:v>196.88000000000017</c:v>
                </c:pt>
                <c:pt idx="959">
                  <c:v>196.02</c:v>
                </c:pt>
                <c:pt idx="960">
                  <c:v>196.06</c:v>
                </c:pt>
                <c:pt idx="961">
                  <c:v>195.93</c:v>
                </c:pt>
                <c:pt idx="962">
                  <c:v>196.29</c:v>
                </c:pt>
                <c:pt idx="963">
                  <c:v>195.17</c:v>
                </c:pt>
                <c:pt idx="964">
                  <c:v>194.66</c:v>
                </c:pt>
                <c:pt idx="965">
                  <c:v>195.23</c:v>
                </c:pt>
                <c:pt idx="966">
                  <c:v>194.60999999999999</c:v>
                </c:pt>
                <c:pt idx="967">
                  <c:v>195.19</c:v>
                </c:pt>
                <c:pt idx="968">
                  <c:v>194.81</c:v>
                </c:pt>
                <c:pt idx="969">
                  <c:v>195.78</c:v>
                </c:pt>
                <c:pt idx="970">
                  <c:v>196.15</c:v>
                </c:pt>
                <c:pt idx="971">
                  <c:v>196.56</c:v>
                </c:pt>
                <c:pt idx="972">
                  <c:v>198.83</c:v>
                </c:pt>
                <c:pt idx="973">
                  <c:v>200.06</c:v>
                </c:pt>
                <c:pt idx="974">
                  <c:v>200.69</c:v>
                </c:pt>
                <c:pt idx="975">
                  <c:v>200.18</c:v>
                </c:pt>
                <c:pt idx="976">
                  <c:v>199.84</c:v>
                </c:pt>
                <c:pt idx="977">
                  <c:v>201.8</c:v>
                </c:pt>
                <c:pt idx="978">
                  <c:v>205.41</c:v>
                </c:pt>
                <c:pt idx="979">
                  <c:v>202.97</c:v>
                </c:pt>
                <c:pt idx="980">
                  <c:v>203.36</c:v>
                </c:pt>
                <c:pt idx="981">
                  <c:v>204.47</c:v>
                </c:pt>
                <c:pt idx="982">
                  <c:v>204.34</c:v>
                </c:pt>
                <c:pt idx="983">
                  <c:v>205.65</c:v>
                </c:pt>
                <c:pt idx="984">
                  <c:v>203.78</c:v>
                </c:pt>
                <c:pt idx="985">
                  <c:v>201.16</c:v>
                </c:pt>
                <c:pt idx="986">
                  <c:v>201.13</c:v>
                </c:pt>
                <c:pt idx="987">
                  <c:v>202.07</c:v>
                </c:pt>
                <c:pt idx="988">
                  <c:v>200.33</c:v>
                </c:pt>
                <c:pt idx="989">
                  <c:v>201.49</c:v>
                </c:pt>
                <c:pt idx="990">
                  <c:v>201.1</c:v>
                </c:pt>
                <c:pt idx="991">
                  <c:v>203.82000000000016</c:v>
                </c:pt>
                <c:pt idx="992">
                  <c:v>202.02</c:v>
                </c:pt>
                <c:pt idx="993">
                  <c:v>201.08</c:v>
                </c:pt>
                <c:pt idx="994">
                  <c:v>202.01</c:v>
                </c:pt>
                <c:pt idx="995">
                  <c:v>198.83</c:v>
                </c:pt>
                <c:pt idx="996">
                  <c:v>199.81</c:v>
                </c:pt>
                <c:pt idx="997">
                  <c:v>201.52</c:v>
                </c:pt>
                <c:pt idx="998">
                  <c:v>201.38000000000017</c:v>
                </c:pt>
                <c:pt idx="999">
                  <c:v>200.62</c:v>
                </c:pt>
                <c:pt idx="1000">
                  <c:v>199.68</c:v>
                </c:pt>
                <c:pt idx="1001">
                  <c:v>199.47</c:v>
                </c:pt>
                <c:pt idx="1002">
                  <c:v>199.09</c:v>
                </c:pt>
                <c:pt idx="1003">
                  <c:v>200.13</c:v>
                </c:pt>
                <c:pt idx="1004">
                  <c:v>199.44</c:v>
                </c:pt>
                <c:pt idx="1005">
                  <c:v>200.49</c:v>
                </c:pt>
                <c:pt idx="1006">
                  <c:v>199.93</c:v>
                </c:pt>
                <c:pt idx="1007">
                  <c:v>200.38000000000017</c:v>
                </c:pt>
                <c:pt idx="1008">
                  <c:v>200.18</c:v>
                </c:pt>
                <c:pt idx="1009">
                  <c:v>198.10999999999999</c:v>
                </c:pt>
                <c:pt idx="1010">
                  <c:v>196.97</c:v>
                </c:pt>
                <c:pt idx="1011">
                  <c:v>196</c:v>
                </c:pt>
                <c:pt idx="1012">
                  <c:v>192.8</c:v>
                </c:pt>
                <c:pt idx="1013">
                  <c:v>193.55</c:v>
                </c:pt>
                <c:pt idx="1014">
                  <c:v>193.45000000000007</c:v>
                </c:pt>
                <c:pt idx="1015">
                  <c:v>192.68</c:v>
                </c:pt>
                <c:pt idx="1016">
                  <c:v>190.92000000000004</c:v>
                </c:pt>
                <c:pt idx="1017">
                  <c:v>190.92000000000004</c:v>
                </c:pt>
                <c:pt idx="1018">
                  <c:v>190.7</c:v>
                </c:pt>
                <c:pt idx="1019">
                  <c:v>189.82000000000016</c:v>
                </c:pt>
                <c:pt idx="1020">
                  <c:v>190.07</c:v>
                </c:pt>
                <c:pt idx="1021">
                  <c:v>189.34</c:v>
                </c:pt>
                <c:pt idx="1022">
                  <c:v>188.15</c:v>
                </c:pt>
                <c:pt idx="1023">
                  <c:v>189.05</c:v>
                </c:pt>
                <c:pt idx="1024">
                  <c:v>189.7</c:v>
                </c:pt>
                <c:pt idx="1025">
                  <c:v>189.62</c:v>
                </c:pt>
                <c:pt idx="1026">
                  <c:v>188.07</c:v>
                </c:pt>
                <c:pt idx="1027">
                  <c:v>186.99</c:v>
                </c:pt>
                <c:pt idx="1028">
                  <c:v>186.76999999999998</c:v>
                </c:pt>
                <c:pt idx="1029">
                  <c:v>185.98000000000016</c:v>
                </c:pt>
                <c:pt idx="1030">
                  <c:v>184.83</c:v>
                </c:pt>
                <c:pt idx="1031">
                  <c:v>185.68</c:v>
                </c:pt>
                <c:pt idx="1032">
                  <c:v>186.67</c:v>
                </c:pt>
                <c:pt idx="1033">
                  <c:v>185.78</c:v>
                </c:pt>
                <c:pt idx="1034">
                  <c:v>183.79</c:v>
                </c:pt>
                <c:pt idx="1035">
                  <c:v>183.76999999999998</c:v>
                </c:pt>
                <c:pt idx="1036">
                  <c:v>184.23</c:v>
                </c:pt>
                <c:pt idx="1037">
                  <c:v>184.23</c:v>
                </c:pt>
                <c:pt idx="1038">
                  <c:v>183.88000000000017</c:v>
                </c:pt>
                <c:pt idx="1039">
                  <c:v>181.63</c:v>
                </c:pt>
                <c:pt idx="1040">
                  <c:v>181.73</c:v>
                </c:pt>
                <c:pt idx="1041">
                  <c:v>181.09</c:v>
                </c:pt>
                <c:pt idx="1042">
                  <c:v>181.09</c:v>
                </c:pt>
                <c:pt idx="1043">
                  <c:v>179.23</c:v>
                </c:pt>
                <c:pt idx="1044">
                  <c:v>177.22</c:v>
                </c:pt>
                <c:pt idx="1045">
                  <c:v>176.45000000000007</c:v>
                </c:pt>
                <c:pt idx="1046">
                  <c:v>176.23</c:v>
                </c:pt>
                <c:pt idx="1047">
                  <c:v>175.55</c:v>
                </c:pt>
                <c:pt idx="1048">
                  <c:v>173.58</c:v>
                </c:pt>
                <c:pt idx="1049">
                  <c:v>172.29</c:v>
                </c:pt>
                <c:pt idx="1050">
                  <c:v>173.95000000000007</c:v>
                </c:pt>
                <c:pt idx="1051">
                  <c:v>173.95000000000007</c:v>
                </c:pt>
                <c:pt idx="1052">
                  <c:v>174.54</c:v>
                </c:pt>
                <c:pt idx="1053">
                  <c:v>175.6</c:v>
                </c:pt>
                <c:pt idx="1054">
                  <c:v>175.6</c:v>
                </c:pt>
                <c:pt idx="1055">
                  <c:v>175.87</c:v>
                </c:pt>
                <c:pt idx="1056">
                  <c:v>175.06</c:v>
                </c:pt>
                <c:pt idx="1057">
                  <c:v>174.8</c:v>
                </c:pt>
                <c:pt idx="1058">
                  <c:v>174.47</c:v>
                </c:pt>
                <c:pt idx="1059">
                  <c:v>177.3</c:v>
                </c:pt>
                <c:pt idx="1060">
                  <c:v>178.25</c:v>
                </c:pt>
                <c:pt idx="1061">
                  <c:v>179.29</c:v>
                </c:pt>
                <c:pt idx="1062">
                  <c:v>181.42000000000004</c:v>
                </c:pt>
                <c:pt idx="1063">
                  <c:v>179.31</c:v>
                </c:pt>
                <c:pt idx="1064">
                  <c:v>179.39000000000001</c:v>
                </c:pt>
                <c:pt idx="1065">
                  <c:v>176.84</c:v>
                </c:pt>
                <c:pt idx="1066">
                  <c:v>176.5</c:v>
                </c:pt>
                <c:pt idx="1067">
                  <c:v>177.4</c:v>
                </c:pt>
                <c:pt idx="1068">
                  <c:v>177.26</c:v>
                </c:pt>
                <c:pt idx="1069">
                  <c:v>176.1</c:v>
                </c:pt>
                <c:pt idx="1070">
                  <c:v>175.93</c:v>
                </c:pt>
                <c:pt idx="1071">
                  <c:v>174.59</c:v>
                </c:pt>
                <c:pt idx="1072">
                  <c:v>174.29</c:v>
                </c:pt>
                <c:pt idx="1073">
                  <c:v>174.12</c:v>
                </c:pt>
                <c:pt idx="1074">
                  <c:v>174.12</c:v>
                </c:pt>
                <c:pt idx="1075">
                  <c:v>171.47</c:v>
                </c:pt>
                <c:pt idx="1076">
                  <c:v>173.44</c:v>
                </c:pt>
                <c:pt idx="1077">
                  <c:v>173.2</c:v>
                </c:pt>
                <c:pt idx="1078">
                  <c:v>171.84</c:v>
                </c:pt>
                <c:pt idx="1079">
                  <c:v>168.10999999999999</c:v>
                </c:pt>
                <c:pt idx="1080">
                  <c:v>167.28</c:v>
                </c:pt>
                <c:pt idx="1081">
                  <c:v>168.7</c:v>
                </c:pt>
                <c:pt idx="1082">
                  <c:v>168.4</c:v>
                </c:pt>
                <c:pt idx="1083">
                  <c:v>169.3</c:v>
                </c:pt>
                <c:pt idx="1084">
                  <c:v>169.52</c:v>
                </c:pt>
                <c:pt idx="1085">
                  <c:v>167.93</c:v>
                </c:pt>
                <c:pt idx="1086">
                  <c:v>168.01</c:v>
                </c:pt>
                <c:pt idx="1087">
                  <c:v>167.56</c:v>
                </c:pt>
                <c:pt idx="1088">
                  <c:v>166.51</c:v>
                </c:pt>
                <c:pt idx="1089">
                  <c:v>164.68</c:v>
                </c:pt>
                <c:pt idx="1090">
                  <c:v>164.51</c:v>
                </c:pt>
                <c:pt idx="1091">
                  <c:v>164.62</c:v>
                </c:pt>
                <c:pt idx="1092">
                  <c:v>164.93</c:v>
                </c:pt>
                <c:pt idx="1093">
                  <c:v>164.33</c:v>
                </c:pt>
                <c:pt idx="1094">
                  <c:v>161.59</c:v>
                </c:pt>
                <c:pt idx="1095">
                  <c:v>161.13</c:v>
                </c:pt>
                <c:pt idx="1096">
                  <c:v>165.01</c:v>
                </c:pt>
                <c:pt idx="1097">
                  <c:v>164.67</c:v>
                </c:pt>
                <c:pt idx="1098">
                  <c:v>165.15</c:v>
                </c:pt>
                <c:pt idx="1099">
                  <c:v>172.75</c:v>
                </c:pt>
                <c:pt idx="1100">
                  <c:v>170.01</c:v>
                </c:pt>
                <c:pt idx="1101">
                  <c:v>171.38000000000017</c:v>
                </c:pt>
                <c:pt idx="1102">
                  <c:v>172.66</c:v>
                </c:pt>
                <c:pt idx="1103">
                  <c:v>172.47</c:v>
                </c:pt>
                <c:pt idx="1104">
                  <c:v>170.96</c:v>
                </c:pt>
                <c:pt idx="1105">
                  <c:v>169.04</c:v>
                </c:pt>
                <c:pt idx="1106">
                  <c:v>167.38000000000017</c:v>
                </c:pt>
                <c:pt idx="1107">
                  <c:v>168.5</c:v>
                </c:pt>
                <c:pt idx="1108">
                  <c:v>168.9</c:v>
                </c:pt>
                <c:pt idx="1109">
                  <c:v>166.5</c:v>
                </c:pt>
                <c:pt idx="1110">
                  <c:v>166.42000000000004</c:v>
                </c:pt>
                <c:pt idx="1111">
                  <c:v>167.5</c:v>
                </c:pt>
                <c:pt idx="1112">
                  <c:v>168</c:v>
                </c:pt>
                <c:pt idx="1113">
                  <c:v>168</c:v>
                </c:pt>
                <c:pt idx="1114">
                  <c:v>166.51</c:v>
                </c:pt>
                <c:pt idx="1115">
                  <c:v>166.23</c:v>
                </c:pt>
                <c:pt idx="1116">
                  <c:v>168.04</c:v>
                </c:pt>
                <c:pt idx="1117">
                  <c:v>168.99</c:v>
                </c:pt>
                <c:pt idx="1118">
                  <c:v>167.83</c:v>
                </c:pt>
                <c:pt idx="1119">
                  <c:v>167.94</c:v>
                </c:pt>
                <c:pt idx="1120">
                  <c:v>169.41</c:v>
                </c:pt>
                <c:pt idx="1121">
                  <c:v>167.04</c:v>
                </c:pt>
                <c:pt idx="1122">
                  <c:v>165.4</c:v>
                </c:pt>
                <c:pt idx="1123">
                  <c:v>165.1</c:v>
                </c:pt>
                <c:pt idx="1124">
                  <c:v>165.49</c:v>
                </c:pt>
                <c:pt idx="1125">
                  <c:v>166.78</c:v>
                </c:pt>
                <c:pt idx="1126">
                  <c:v>164.98000000000016</c:v>
                </c:pt>
                <c:pt idx="1127">
                  <c:v>164.65</c:v>
                </c:pt>
                <c:pt idx="1128">
                  <c:v>166.62</c:v>
                </c:pt>
                <c:pt idx="1129">
                  <c:v>166.52</c:v>
                </c:pt>
                <c:pt idx="1130">
                  <c:v>165.67</c:v>
                </c:pt>
                <c:pt idx="1131">
                  <c:v>164.96</c:v>
                </c:pt>
                <c:pt idx="1132">
                  <c:v>163.9</c:v>
                </c:pt>
                <c:pt idx="1133">
                  <c:v>163.58000000000001</c:v>
                </c:pt>
                <c:pt idx="1134">
                  <c:v>162.9</c:v>
                </c:pt>
                <c:pt idx="1135">
                  <c:v>163.44</c:v>
                </c:pt>
                <c:pt idx="1136">
                  <c:v>162.16999999999999</c:v>
                </c:pt>
                <c:pt idx="1137">
                  <c:v>162.78</c:v>
                </c:pt>
                <c:pt idx="1138">
                  <c:v>160.56</c:v>
                </c:pt>
                <c:pt idx="1139">
                  <c:v>158.69999999999999</c:v>
                </c:pt>
                <c:pt idx="1140">
                  <c:v>158.66</c:v>
                </c:pt>
                <c:pt idx="1141">
                  <c:v>156.62</c:v>
                </c:pt>
                <c:pt idx="1142">
                  <c:v>157.5</c:v>
                </c:pt>
                <c:pt idx="1143">
                  <c:v>158.34</c:v>
                </c:pt>
                <c:pt idx="1144">
                  <c:v>158.34</c:v>
                </c:pt>
                <c:pt idx="1145">
                  <c:v>156.39000000000001</c:v>
                </c:pt>
                <c:pt idx="1146">
                  <c:v>156.26</c:v>
                </c:pt>
                <c:pt idx="1147">
                  <c:v>156.06</c:v>
                </c:pt>
                <c:pt idx="1148">
                  <c:v>157.81</c:v>
                </c:pt>
                <c:pt idx="1149">
                  <c:v>156.12</c:v>
                </c:pt>
                <c:pt idx="1150">
                  <c:v>155.78</c:v>
                </c:pt>
                <c:pt idx="1151">
                  <c:v>155.53</c:v>
                </c:pt>
                <c:pt idx="1152">
                  <c:v>155.72</c:v>
                </c:pt>
                <c:pt idx="1153">
                  <c:v>155.22</c:v>
                </c:pt>
                <c:pt idx="1154">
                  <c:v>153.41</c:v>
                </c:pt>
                <c:pt idx="1155">
                  <c:v>151.23999999999998</c:v>
                </c:pt>
                <c:pt idx="1156">
                  <c:v>150.54</c:v>
                </c:pt>
                <c:pt idx="1157">
                  <c:v>149.43</c:v>
                </c:pt>
                <c:pt idx="1158">
                  <c:v>149.41</c:v>
                </c:pt>
                <c:pt idx="1159">
                  <c:v>146.65</c:v>
                </c:pt>
                <c:pt idx="1160">
                  <c:v>146.96</c:v>
                </c:pt>
                <c:pt idx="1161">
                  <c:v>150.38000000000017</c:v>
                </c:pt>
                <c:pt idx="1162">
                  <c:v>148.49</c:v>
                </c:pt>
                <c:pt idx="1163">
                  <c:v>150.38000000000017</c:v>
                </c:pt>
                <c:pt idx="1164">
                  <c:v>151.59</c:v>
                </c:pt>
                <c:pt idx="1165">
                  <c:v>154.70999999999998</c:v>
                </c:pt>
                <c:pt idx="1166">
                  <c:v>154.88000000000017</c:v>
                </c:pt>
                <c:pt idx="1167">
                  <c:v>152.82000000000016</c:v>
                </c:pt>
                <c:pt idx="1168">
                  <c:v>152.91</c:v>
                </c:pt>
                <c:pt idx="1169">
                  <c:v>151.76999999999998</c:v>
                </c:pt>
                <c:pt idx="1170">
                  <c:v>152.58000000000001</c:v>
                </c:pt>
                <c:pt idx="1171">
                  <c:v>152.26999999999998</c:v>
                </c:pt>
                <c:pt idx="1172">
                  <c:v>152.26</c:v>
                </c:pt>
                <c:pt idx="1173">
                  <c:v>152.26</c:v>
                </c:pt>
                <c:pt idx="1174">
                  <c:v>149.94</c:v>
                </c:pt>
                <c:pt idx="1175">
                  <c:v>149.70999999999998</c:v>
                </c:pt>
                <c:pt idx="1176">
                  <c:v>150.15</c:v>
                </c:pt>
                <c:pt idx="1177">
                  <c:v>149.38000000000017</c:v>
                </c:pt>
                <c:pt idx="1178">
                  <c:v>148.32000000000016</c:v>
                </c:pt>
                <c:pt idx="1179">
                  <c:v>148</c:v>
                </c:pt>
                <c:pt idx="1180">
                  <c:v>149.53</c:v>
                </c:pt>
                <c:pt idx="1181">
                  <c:v>149.75</c:v>
                </c:pt>
                <c:pt idx="1182">
                  <c:v>148.82000000000016</c:v>
                </c:pt>
                <c:pt idx="1183">
                  <c:v>148.89000000000001</c:v>
                </c:pt>
                <c:pt idx="1184">
                  <c:v>146.41</c:v>
                </c:pt>
                <c:pt idx="1185">
                  <c:v>146.06</c:v>
                </c:pt>
                <c:pt idx="1186">
                  <c:v>146.52000000000001</c:v>
                </c:pt>
                <c:pt idx="1187">
                  <c:v>145.47999999999999</c:v>
                </c:pt>
                <c:pt idx="1188">
                  <c:v>145.69999999999999</c:v>
                </c:pt>
                <c:pt idx="1189">
                  <c:v>145.84</c:v>
                </c:pt>
                <c:pt idx="1190">
                  <c:v>145.76</c:v>
                </c:pt>
                <c:pt idx="1191">
                  <c:v>145.18</c:v>
                </c:pt>
                <c:pt idx="1192">
                  <c:v>145.76999999999998</c:v>
                </c:pt>
                <c:pt idx="1193">
                  <c:v>145.02000000000001</c:v>
                </c:pt>
                <c:pt idx="1194">
                  <c:v>142.53</c:v>
                </c:pt>
                <c:pt idx="1195">
                  <c:v>143.12</c:v>
                </c:pt>
                <c:pt idx="1196">
                  <c:v>143.06</c:v>
                </c:pt>
                <c:pt idx="1197">
                  <c:v>143.33000000000001</c:v>
                </c:pt>
                <c:pt idx="1198">
                  <c:v>144.01</c:v>
                </c:pt>
                <c:pt idx="1199">
                  <c:v>141.58000000000001</c:v>
                </c:pt>
                <c:pt idx="1200">
                  <c:v>139.34</c:v>
                </c:pt>
                <c:pt idx="1201">
                  <c:v>138.79</c:v>
                </c:pt>
                <c:pt idx="1202">
                  <c:v>140.30000000000001</c:v>
                </c:pt>
                <c:pt idx="1203">
                  <c:v>140.47</c:v>
                </c:pt>
                <c:pt idx="1204">
                  <c:v>140.87</c:v>
                </c:pt>
                <c:pt idx="1205">
                  <c:v>139.79</c:v>
                </c:pt>
                <c:pt idx="1206">
                  <c:v>139.89000000000001</c:v>
                </c:pt>
                <c:pt idx="1207">
                  <c:v>141.49</c:v>
                </c:pt>
                <c:pt idx="1208">
                  <c:v>139.13</c:v>
                </c:pt>
                <c:pt idx="1209">
                  <c:v>139.96</c:v>
                </c:pt>
                <c:pt idx="1210">
                  <c:v>139.93</c:v>
                </c:pt>
                <c:pt idx="1211">
                  <c:v>138.41999999999999</c:v>
                </c:pt>
                <c:pt idx="1212">
                  <c:v>136.6</c:v>
                </c:pt>
                <c:pt idx="1213">
                  <c:v>136.87</c:v>
                </c:pt>
                <c:pt idx="1214">
                  <c:v>136.19999999999999</c:v>
                </c:pt>
                <c:pt idx="1215">
                  <c:v>138.68</c:v>
                </c:pt>
                <c:pt idx="1216">
                  <c:v>138.35000000000016</c:v>
                </c:pt>
                <c:pt idx="1217">
                  <c:v>141.97999999999999</c:v>
                </c:pt>
                <c:pt idx="1218">
                  <c:v>142</c:v>
                </c:pt>
                <c:pt idx="1219">
                  <c:v>142</c:v>
                </c:pt>
                <c:pt idx="1220">
                  <c:v>142.16999999999999</c:v>
                </c:pt>
                <c:pt idx="1221">
                  <c:v>141.06</c:v>
                </c:pt>
                <c:pt idx="1222">
                  <c:v>143.18</c:v>
                </c:pt>
                <c:pt idx="1223">
                  <c:v>141.94</c:v>
                </c:pt>
                <c:pt idx="1224">
                  <c:v>142.05000000000001</c:v>
                </c:pt>
                <c:pt idx="1225">
                  <c:v>143.55000000000001</c:v>
                </c:pt>
                <c:pt idx="1226">
                  <c:v>143.18</c:v>
                </c:pt>
                <c:pt idx="1227">
                  <c:v>142.97</c:v>
                </c:pt>
                <c:pt idx="1228">
                  <c:v>145.12</c:v>
                </c:pt>
                <c:pt idx="1229">
                  <c:v>144.91</c:v>
                </c:pt>
                <c:pt idx="1230">
                  <c:v>145.72</c:v>
                </c:pt>
                <c:pt idx="1231">
                  <c:v>145.31</c:v>
                </c:pt>
                <c:pt idx="1232">
                  <c:v>146.18</c:v>
                </c:pt>
                <c:pt idx="1233">
                  <c:v>145.49</c:v>
                </c:pt>
                <c:pt idx="1234">
                  <c:v>145.28</c:v>
                </c:pt>
                <c:pt idx="1235">
                  <c:v>146.19999999999999</c:v>
                </c:pt>
                <c:pt idx="1236">
                  <c:v>146.46</c:v>
                </c:pt>
                <c:pt idx="1237">
                  <c:v>143.91</c:v>
                </c:pt>
                <c:pt idx="1238">
                  <c:v>144.63999999999999</c:v>
                </c:pt>
                <c:pt idx="1239">
                  <c:v>143.78</c:v>
                </c:pt>
                <c:pt idx="1240">
                  <c:v>144.44</c:v>
                </c:pt>
                <c:pt idx="1241">
                  <c:v>144.57</c:v>
                </c:pt>
                <c:pt idx="1242">
                  <c:v>142.20999999999998</c:v>
                </c:pt>
                <c:pt idx="1243">
                  <c:v>143.19</c:v>
                </c:pt>
                <c:pt idx="1244">
                  <c:v>142.18</c:v>
                </c:pt>
                <c:pt idx="1245">
                  <c:v>142.16</c:v>
                </c:pt>
                <c:pt idx="1246">
                  <c:v>141.43</c:v>
                </c:pt>
                <c:pt idx="1247">
                  <c:v>141.58000000000001</c:v>
                </c:pt>
                <c:pt idx="1248">
                  <c:v>142.15</c:v>
                </c:pt>
                <c:pt idx="1249">
                  <c:v>139.39000000000001</c:v>
                </c:pt>
                <c:pt idx="1250">
                  <c:v>139.49</c:v>
                </c:pt>
                <c:pt idx="1251">
                  <c:v>140.78</c:v>
                </c:pt>
                <c:pt idx="1252">
                  <c:v>140.37</c:v>
                </c:pt>
                <c:pt idx="1253">
                  <c:v>140.52000000000001</c:v>
                </c:pt>
                <c:pt idx="1254">
                  <c:v>141.22</c:v>
                </c:pt>
                <c:pt idx="1255">
                  <c:v>139.76999999999998</c:v>
                </c:pt>
                <c:pt idx="1256">
                  <c:v>140.19</c:v>
                </c:pt>
                <c:pt idx="1257">
                  <c:v>140.04</c:v>
                </c:pt>
                <c:pt idx="1258">
                  <c:v>140.75</c:v>
                </c:pt>
                <c:pt idx="1259">
                  <c:v>141.18</c:v>
                </c:pt>
                <c:pt idx="1260">
                  <c:v>141.47999999999999</c:v>
                </c:pt>
                <c:pt idx="1261">
                  <c:v>141.37</c:v>
                </c:pt>
                <c:pt idx="1262">
                  <c:v>141.38000000000017</c:v>
                </c:pt>
                <c:pt idx="1263">
                  <c:v>141.13999999999999</c:v>
                </c:pt>
                <c:pt idx="1264">
                  <c:v>139.26999999999998</c:v>
                </c:pt>
                <c:pt idx="1265">
                  <c:v>140.05000000000001</c:v>
                </c:pt>
                <c:pt idx="1266">
                  <c:v>140.19</c:v>
                </c:pt>
                <c:pt idx="1267">
                  <c:v>141.33000000000001</c:v>
                </c:pt>
                <c:pt idx="1268">
                  <c:v>139.9</c:v>
                </c:pt>
                <c:pt idx="1269">
                  <c:v>136.73999999999998</c:v>
                </c:pt>
                <c:pt idx="1270">
                  <c:v>135.58000000000001</c:v>
                </c:pt>
                <c:pt idx="1271">
                  <c:v>135.33000000000001</c:v>
                </c:pt>
                <c:pt idx="1272">
                  <c:v>134.79</c:v>
                </c:pt>
                <c:pt idx="1273">
                  <c:v>134.9</c:v>
                </c:pt>
                <c:pt idx="1274">
                  <c:v>132.36000000000001</c:v>
                </c:pt>
                <c:pt idx="1275">
                  <c:v>131.29</c:v>
                </c:pt>
                <c:pt idx="1276">
                  <c:v>130.84</c:v>
                </c:pt>
                <c:pt idx="1277">
                  <c:v>130.84</c:v>
                </c:pt>
                <c:pt idx="1278">
                  <c:v>131.10999999999999</c:v>
                </c:pt>
                <c:pt idx="1279">
                  <c:v>127.9</c:v>
                </c:pt>
                <c:pt idx="1280">
                  <c:v>127.55</c:v>
                </c:pt>
                <c:pt idx="1281">
                  <c:v>127.58</c:v>
                </c:pt>
                <c:pt idx="1282">
                  <c:v>127.08</c:v>
                </c:pt>
                <c:pt idx="1283">
                  <c:v>126.76</c:v>
                </c:pt>
                <c:pt idx="1284">
                  <c:v>127.59</c:v>
                </c:pt>
                <c:pt idx="1285">
                  <c:v>126.17999999999998</c:v>
                </c:pt>
                <c:pt idx="1286">
                  <c:v>125.42</c:v>
                </c:pt>
                <c:pt idx="1287">
                  <c:v>124.13</c:v>
                </c:pt>
                <c:pt idx="1288">
                  <c:v>123.77</c:v>
                </c:pt>
                <c:pt idx="1289">
                  <c:v>125.72</c:v>
                </c:pt>
                <c:pt idx="1290">
                  <c:v>126.39</c:v>
                </c:pt>
                <c:pt idx="1291">
                  <c:v>129.57</c:v>
                </c:pt>
                <c:pt idx="1292">
                  <c:v>124.41000000000008</c:v>
                </c:pt>
                <c:pt idx="1293">
                  <c:v>123.72</c:v>
                </c:pt>
                <c:pt idx="1294">
                  <c:v>121.88</c:v>
                </c:pt>
                <c:pt idx="1295">
                  <c:v>122.25</c:v>
                </c:pt>
                <c:pt idx="1296">
                  <c:v>122.66</c:v>
                </c:pt>
                <c:pt idx="1297">
                  <c:v>122.39</c:v>
                </c:pt>
                <c:pt idx="1298">
                  <c:v>122.39</c:v>
                </c:pt>
                <c:pt idx="1299">
                  <c:v>123</c:v>
                </c:pt>
                <c:pt idx="1300">
                  <c:v>124.39</c:v>
                </c:pt>
                <c:pt idx="1301">
                  <c:v>124.28</c:v>
                </c:pt>
                <c:pt idx="1302">
                  <c:v>125.43</c:v>
                </c:pt>
                <c:pt idx="1303">
                  <c:v>125.43</c:v>
                </c:pt>
                <c:pt idx="1304">
                  <c:v>126.92</c:v>
                </c:pt>
                <c:pt idx="1305">
                  <c:v>126.03</c:v>
                </c:pt>
                <c:pt idx="1306">
                  <c:v>128.96</c:v>
                </c:pt>
                <c:pt idx="1307">
                  <c:v>129.32000000000016</c:v>
                </c:pt>
                <c:pt idx="1308">
                  <c:v>129.72</c:v>
                </c:pt>
                <c:pt idx="1309">
                  <c:v>131</c:v>
                </c:pt>
                <c:pt idx="1310">
                  <c:v>129.06</c:v>
                </c:pt>
                <c:pt idx="1311">
                  <c:v>126.54</c:v>
                </c:pt>
                <c:pt idx="1312">
                  <c:v>125.78</c:v>
                </c:pt>
                <c:pt idx="1313">
                  <c:v>125.31</c:v>
                </c:pt>
                <c:pt idx="1314">
                  <c:v>125.31</c:v>
                </c:pt>
                <c:pt idx="1315">
                  <c:v>123.79</c:v>
                </c:pt>
                <c:pt idx="1316">
                  <c:v>122.61</c:v>
                </c:pt>
                <c:pt idx="1317">
                  <c:v>124.52</c:v>
                </c:pt>
                <c:pt idx="1318">
                  <c:v>124.47</c:v>
                </c:pt>
                <c:pt idx="1319">
                  <c:v>122.88</c:v>
                </c:pt>
                <c:pt idx="1320">
                  <c:v>121.64999999999999</c:v>
                </c:pt>
                <c:pt idx="1321">
                  <c:v>122.38</c:v>
                </c:pt>
                <c:pt idx="1322">
                  <c:v>123.51</c:v>
                </c:pt>
                <c:pt idx="1323">
                  <c:v>124.26</c:v>
                </c:pt>
                <c:pt idx="1324">
                  <c:v>122.89</c:v>
                </c:pt>
                <c:pt idx="1325">
                  <c:v>123.44000000000008</c:v>
                </c:pt>
                <c:pt idx="1326">
                  <c:v>123.29</c:v>
                </c:pt>
                <c:pt idx="1327">
                  <c:v>122.64999999999999</c:v>
                </c:pt>
                <c:pt idx="1328">
                  <c:v>122.22</c:v>
                </c:pt>
                <c:pt idx="1329">
                  <c:v>122.17999999999998</c:v>
                </c:pt>
                <c:pt idx="1330">
                  <c:v>121.36</c:v>
                </c:pt>
                <c:pt idx="1331">
                  <c:v>121.19</c:v>
                </c:pt>
                <c:pt idx="1332">
                  <c:v>120.9</c:v>
                </c:pt>
                <c:pt idx="1333">
                  <c:v>120.64999999999999</c:v>
                </c:pt>
                <c:pt idx="1334">
                  <c:v>120.64999999999999</c:v>
                </c:pt>
                <c:pt idx="1335">
                  <c:v>117.98</c:v>
                </c:pt>
                <c:pt idx="1336">
                  <c:v>118.4</c:v>
                </c:pt>
                <c:pt idx="1337">
                  <c:v>119.98</c:v>
                </c:pt>
                <c:pt idx="1338">
                  <c:v>119.29</c:v>
                </c:pt>
                <c:pt idx="1339">
                  <c:v>119</c:v>
                </c:pt>
                <c:pt idx="1340">
                  <c:v>120.71000000000002</c:v>
                </c:pt>
                <c:pt idx="1341">
                  <c:v>120.58</c:v>
                </c:pt>
                <c:pt idx="1342">
                  <c:v>121.03</c:v>
                </c:pt>
                <c:pt idx="1343">
                  <c:v>118.82</c:v>
                </c:pt>
                <c:pt idx="1344">
                  <c:v>118.82</c:v>
                </c:pt>
                <c:pt idx="1345">
                  <c:v>119.84</c:v>
                </c:pt>
                <c:pt idx="1346">
                  <c:v>120.99000000000002</c:v>
                </c:pt>
                <c:pt idx="1347">
                  <c:v>122.58</c:v>
                </c:pt>
                <c:pt idx="1348">
                  <c:v>123.23</c:v>
                </c:pt>
                <c:pt idx="1349">
                  <c:v>124.51</c:v>
                </c:pt>
                <c:pt idx="1350">
                  <c:v>125.43</c:v>
                </c:pt>
                <c:pt idx="1351">
                  <c:v>128.28</c:v>
                </c:pt>
                <c:pt idx="1352">
                  <c:v>126.75</c:v>
                </c:pt>
                <c:pt idx="1353">
                  <c:v>126.61999999999999</c:v>
                </c:pt>
                <c:pt idx="1354">
                  <c:v>125.63</c:v>
                </c:pt>
                <c:pt idx="1355">
                  <c:v>126.14</c:v>
                </c:pt>
                <c:pt idx="1356">
                  <c:v>128.52000000000001</c:v>
                </c:pt>
                <c:pt idx="1357">
                  <c:v>127.86</c:v>
                </c:pt>
                <c:pt idx="1358">
                  <c:v>128.69999999999999</c:v>
                </c:pt>
                <c:pt idx="1359">
                  <c:v>131.12</c:v>
                </c:pt>
                <c:pt idx="1360">
                  <c:v>130.28</c:v>
                </c:pt>
                <c:pt idx="1361">
                  <c:v>129.22999999999999</c:v>
                </c:pt>
                <c:pt idx="1362">
                  <c:v>131.22</c:v>
                </c:pt>
                <c:pt idx="1363">
                  <c:v>133.08000000000001</c:v>
                </c:pt>
                <c:pt idx="1364">
                  <c:v>133.51</c:v>
                </c:pt>
                <c:pt idx="1365">
                  <c:v>134.70999999999998</c:v>
                </c:pt>
                <c:pt idx="1366">
                  <c:v>134.41</c:v>
                </c:pt>
                <c:pt idx="1367">
                  <c:v>133.60999999999999</c:v>
                </c:pt>
                <c:pt idx="1368">
                  <c:v>133.60999999999999</c:v>
                </c:pt>
                <c:pt idx="1369">
                  <c:v>134.23999999999998</c:v>
                </c:pt>
                <c:pt idx="1370">
                  <c:v>133.84</c:v>
                </c:pt>
                <c:pt idx="1371">
                  <c:v>131.30000000000001</c:v>
                </c:pt>
                <c:pt idx="1372">
                  <c:v>130.28</c:v>
                </c:pt>
                <c:pt idx="1373">
                  <c:v>132.75</c:v>
                </c:pt>
                <c:pt idx="1374">
                  <c:v>132.02000000000001</c:v>
                </c:pt>
                <c:pt idx="1375">
                  <c:v>133.37</c:v>
                </c:pt>
                <c:pt idx="1376">
                  <c:v>132.29</c:v>
                </c:pt>
                <c:pt idx="1377">
                  <c:v>133.34</c:v>
                </c:pt>
                <c:pt idx="1378">
                  <c:v>134.44</c:v>
                </c:pt>
                <c:pt idx="1379">
                  <c:v>135.84</c:v>
                </c:pt>
                <c:pt idx="1380">
                  <c:v>135.04</c:v>
                </c:pt>
                <c:pt idx="1381">
                  <c:v>135.76</c:v>
                </c:pt>
                <c:pt idx="1382">
                  <c:v>135.6</c:v>
                </c:pt>
                <c:pt idx="1383">
                  <c:v>135.22999999999999</c:v>
                </c:pt>
                <c:pt idx="1384">
                  <c:v>134.25</c:v>
                </c:pt>
                <c:pt idx="1385">
                  <c:v>134.65</c:v>
                </c:pt>
                <c:pt idx="1386">
                  <c:v>136.44</c:v>
                </c:pt>
                <c:pt idx="1387">
                  <c:v>137.89000000000001</c:v>
                </c:pt>
                <c:pt idx="1388">
                  <c:v>137.88000000000017</c:v>
                </c:pt>
                <c:pt idx="1389">
                  <c:v>138.72</c:v>
                </c:pt>
                <c:pt idx="1390">
                  <c:v>139.04</c:v>
                </c:pt>
                <c:pt idx="1391">
                  <c:v>139.34</c:v>
                </c:pt>
                <c:pt idx="1392">
                  <c:v>137.73999999999998</c:v>
                </c:pt>
                <c:pt idx="1393">
                  <c:v>136.6</c:v>
                </c:pt>
                <c:pt idx="1394">
                  <c:v>137.55000000000001</c:v>
                </c:pt>
                <c:pt idx="1395">
                  <c:v>136.78</c:v>
                </c:pt>
                <c:pt idx="1396">
                  <c:v>135.18</c:v>
                </c:pt>
                <c:pt idx="1397">
                  <c:v>136.22</c:v>
                </c:pt>
                <c:pt idx="1398">
                  <c:v>136.26999999999998</c:v>
                </c:pt>
                <c:pt idx="1399">
                  <c:v>135.80000000000001</c:v>
                </c:pt>
                <c:pt idx="1400">
                  <c:v>133.9</c:v>
                </c:pt>
                <c:pt idx="1401">
                  <c:v>133.62</c:v>
                </c:pt>
                <c:pt idx="1402">
                  <c:v>133.5</c:v>
                </c:pt>
                <c:pt idx="1403">
                  <c:v>133.85000000000016</c:v>
                </c:pt>
                <c:pt idx="1404">
                  <c:v>131.87</c:v>
                </c:pt>
                <c:pt idx="1405">
                  <c:v>132.09</c:v>
                </c:pt>
                <c:pt idx="1406">
                  <c:v>132.69</c:v>
                </c:pt>
                <c:pt idx="1407">
                  <c:v>131.79</c:v>
                </c:pt>
                <c:pt idx="1408">
                  <c:v>131.49</c:v>
                </c:pt>
                <c:pt idx="1409">
                  <c:v>131.49</c:v>
                </c:pt>
                <c:pt idx="1410">
                  <c:v>130.72999999999999</c:v>
                </c:pt>
                <c:pt idx="1411">
                  <c:v>132.37</c:v>
                </c:pt>
                <c:pt idx="1412">
                  <c:v>133.32000000000016</c:v>
                </c:pt>
                <c:pt idx="1413">
                  <c:v>135.02000000000001</c:v>
                </c:pt>
                <c:pt idx="1414">
                  <c:v>136.52000000000001</c:v>
                </c:pt>
                <c:pt idx="1415">
                  <c:v>136.13</c:v>
                </c:pt>
                <c:pt idx="1416">
                  <c:v>136.55000000000001</c:v>
                </c:pt>
                <c:pt idx="1417">
                  <c:v>135.78</c:v>
                </c:pt>
                <c:pt idx="1418">
                  <c:v>137.66999999999999</c:v>
                </c:pt>
                <c:pt idx="1419">
                  <c:v>137.44</c:v>
                </c:pt>
                <c:pt idx="1420">
                  <c:v>137.43</c:v>
                </c:pt>
                <c:pt idx="1421">
                  <c:v>135.68</c:v>
                </c:pt>
                <c:pt idx="1422">
                  <c:v>136.30000000000001</c:v>
                </c:pt>
                <c:pt idx="1423">
                  <c:v>137.31</c:v>
                </c:pt>
                <c:pt idx="1424">
                  <c:v>136.38000000000017</c:v>
                </c:pt>
                <c:pt idx="1425">
                  <c:v>136.26999999999998</c:v>
                </c:pt>
                <c:pt idx="1426">
                  <c:v>137.47999999999999</c:v>
                </c:pt>
                <c:pt idx="1427">
                  <c:v>136.84</c:v>
                </c:pt>
                <c:pt idx="1428">
                  <c:v>137.08000000000001</c:v>
                </c:pt>
                <c:pt idx="1429">
                  <c:v>136.30000000000001</c:v>
                </c:pt>
                <c:pt idx="1430">
                  <c:v>137.13</c:v>
                </c:pt>
                <c:pt idx="1431">
                  <c:v>140.23999999999998</c:v>
                </c:pt>
                <c:pt idx="1432">
                  <c:v>139.6</c:v>
                </c:pt>
                <c:pt idx="1433">
                  <c:v>139.36000000000001</c:v>
                </c:pt>
                <c:pt idx="1434">
                  <c:v>139.36000000000001</c:v>
                </c:pt>
                <c:pt idx="1435">
                  <c:v>137.23999999999998</c:v>
                </c:pt>
                <c:pt idx="1436">
                  <c:v>137.22999999999999</c:v>
                </c:pt>
                <c:pt idx="1437">
                  <c:v>137.59</c:v>
                </c:pt>
                <c:pt idx="1438">
                  <c:v>137.69999999999999</c:v>
                </c:pt>
                <c:pt idx="1439">
                  <c:v>137.33000000000001</c:v>
                </c:pt>
                <c:pt idx="1440">
                  <c:v>137.59</c:v>
                </c:pt>
                <c:pt idx="1441">
                  <c:v>137.65</c:v>
                </c:pt>
                <c:pt idx="1442">
                  <c:v>139.03</c:v>
                </c:pt>
                <c:pt idx="1443">
                  <c:v>138.91999999999999</c:v>
                </c:pt>
                <c:pt idx="1444">
                  <c:v>139.63</c:v>
                </c:pt>
                <c:pt idx="1445">
                  <c:v>138.30000000000001</c:v>
                </c:pt>
                <c:pt idx="1446">
                  <c:v>138.9</c:v>
                </c:pt>
                <c:pt idx="1447">
                  <c:v>141.07</c:v>
                </c:pt>
                <c:pt idx="1448">
                  <c:v>143.72999999999999</c:v>
                </c:pt>
                <c:pt idx="1449">
                  <c:v>142.73999999999998</c:v>
                </c:pt>
                <c:pt idx="1450">
                  <c:v>141.6</c:v>
                </c:pt>
                <c:pt idx="1451">
                  <c:v>141.63999999999999</c:v>
                </c:pt>
                <c:pt idx="1452">
                  <c:v>142.94999999999999</c:v>
                </c:pt>
                <c:pt idx="1453">
                  <c:v>141.84</c:v>
                </c:pt>
                <c:pt idx="1454">
                  <c:v>143.25</c:v>
                </c:pt>
                <c:pt idx="1455">
                  <c:v>143.63999999999999</c:v>
                </c:pt>
                <c:pt idx="1456">
                  <c:v>145.19999999999999</c:v>
                </c:pt>
                <c:pt idx="1457">
                  <c:v>145.56</c:v>
                </c:pt>
                <c:pt idx="1458">
                  <c:v>146.47999999999999</c:v>
                </c:pt>
                <c:pt idx="1459">
                  <c:v>147.66</c:v>
                </c:pt>
                <c:pt idx="1460">
                  <c:v>147.73999999999998</c:v>
                </c:pt>
                <c:pt idx="1461">
                  <c:v>148.16</c:v>
                </c:pt>
                <c:pt idx="1462">
                  <c:v>146.82000000000016</c:v>
                </c:pt>
                <c:pt idx="1463">
                  <c:v>147.82000000000016</c:v>
                </c:pt>
                <c:pt idx="1464">
                  <c:v>147.15</c:v>
                </c:pt>
                <c:pt idx="1465">
                  <c:v>148.20999999999998</c:v>
                </c:pt>
                <c:pt idx="1466">
                  <c:v>147.53</c:v>
                </c:pt>
                <c:pt idx="1467">
                  <c:v>148.46</c:v>
                </c:pt>
                <c:pt idx="1468">
                  <c:v>147.76999999999998</c:v>
                </c:pt>
                <c:pt idx="1469">
                  <c:v>147.72</c:v>
                </c:pt>
                <c:pt idx="1470">
                  <c:v>147.18</c:v>
                </c:pt>
                <c:pt idx="1471">
                  <c:v>145.28</c:v>
                </c:pt>
                <c:pt idx="1472">
                  <c:v>145.22</c:v>
                </c:pt>
                <c:pt idx="1473">
                  <c:v>145.93</c:v>
                </c:pt>
                <c:pt idx="1474">
                  <c:v>148.10999999999999</c:v>
                </c:pt>
                <c:pt idx="1475">
                  <c:v>149.16</c:v>
                </c:pt>
                <c:pt idx="1476">
                  <c:v>149.37</c:v>
                </c:pt>
                <c:pt idx="1477">
                  <c:v>147.63</c:v>
                </c:pt>
                <c:pt idx="1478">
                  <c:v>148.80000000000001</c:v>
                </c:pt>
                <c:pt idx="1479">
                  <c:v>148.80000000000001</c:v>
                </c:pt>
                <c:pt idx="1480">
                  <c:v>151.81</c:v>
                </c:pt>
                <c:pt idx="1481">
                  <c:v>151.59</c:v>
                </c:pt>
                <c:pt idx="1482">
                  <c:v>153.15</c:v>
                </c:pt>
                <c:pt idx="1483">
                  <c:v>153.56</c:v>
                </c:pt>
                <c:pt idx="1484">
                  <c:v>154.22</c:v>
                </c:pt>
                <c:pt idx="1485">
                  <c:v>152.94999999999999</c:v>
                </c:pt>
                <c:pt idx="1486">
                  <c:v>152.47999999999999</c:v>
                </c:pt>
                <c:pt idx="1487">
                  <c:v>152.54</c:v>
                </c:pt>
                <c:pt idx="1488">
                  <c:v>153.12</c:v>
                </c:pt>
                <c:pt idx="1489">
                  <c:v>152.09</c:v>
                </c:pt>
                <c:pt idx="1490">
                  <c:v>152.02000000000001</c:v>
                </c:pt>
                <c:pt idx="1491">
                  <c:v>152.52000000000001</c:v>
                </c:pt>
                <c:pt idx="1492">
                  <c:v>154.76999999999998</c:v>
                </c:pt>
                <c:pt idx="1493">
                  <c:v>154.82000000000016</c:v>
                </c:pt>
                <c:pt idx="1494">
                  <c:v>155.34</c:v>
                </c:pt>
                <c:pt idx="1495">
                  <c:v>156.66</c:v>
                </c:pt>
                <c:pt idx="1496">
                  <c:v>156.93</c:v>
                </c:pt>
                <c:pt idx="1497">
                  <c:v>155.49</c:v>
                </c:pt>
                <c:pt idx="1498">
                  <c:v>155.35000000000016</c:v>
                </c:pt>
                <c:pt idx="1499">
                  <c:v>153.41</c:v>
                </c:pt>
                <c:pt idx="1500">
                  <c:v>152.57</c:v>
                </c:pt>
                <c:pt idx="1501">
                  <c:v>151.97999999999999</c:v>
                </c:pt>
                <c:pt idx="1502">
                  <c:v>150.35000000000016</c:v>
                </c:pt>
                <c:pt idx="1503">
                  <c:v>146.96</c:v>
                </c:pt>
                <c:pt idx="1504">
                  <c:v>148.36000000000001</c:v>
                </c:pt>
                <c:pt idx="1505">
                  <c:v>152.63</c:v>
                </c:pt>
                <c:pt idx="1506">
                  <c:v>156.47</c:v>
                </c:pt>
                <c:pt idx="1507">
                  <c:v>153.16999999999999</c:v>
                </c:pt>
                <c:pt idx="1508">
                  <c:v>154.31</c:v>
                </c:pt>
                <c:pt idx="1509">
                  <c:v>152.76</c:v>
                </c:pt>
                <c:pt idx="1510">
                  <c:v>152.69999999999999</c:v>
                </c:pt>
                <c:pt idx="1511">
                  <c:v>152.75</c:v>
                </c:pt>
                <c:pt idx="1512">
                  <c:v>152.25</c:v>
                </c:pt>
                <c:pt idx="1513">
                  <c:v>154.08000000000001</c:v>
                </c:pt>
                <c:pt idx="1514">
                  <c:v>154.18</c:v>
                </c:pt>
                <c:pt idx="1515">
                  <c:v>152.52000000000001</c:v>
                </c:pt>
                <c:pt idx="1516">
                  <c:v>152.20999999999998</c:v>
                </c:pt>
                <c:pt idx="1517">
                  <c:v>149.26999999999998</c:v>
                </c:pt>
                <c:pt idx="1518">
                  <c:v>149.72999999999999</c:v>
                </c:pt>
                <c:pt idx="1519">
                  <c:v>151.82000000000016</c:v>
                </c:pt>
                <c:pt idx="1520">
                  <c:v>150.73999999999998</c:v>
                </c:pt>
                <c:pt idx="1521">
                  <c:v>151.72</c:v>
                </c:pt>
                <c:pt idx="1522">
                  <c:v>152.63</c:v>
                </c:pt>
                <c:pt idx="1523">
                  <c:v>152.13</c:v>
                </c:pt>
                <c:pt idx="1524">
                  <c:v>152.22999999999999</c:v>
                </c:pt>
                <c:pt idx="1525">
                  <c:v>154.06</c:v>
                </c:pt>
                <c:pt idx="1526">
                  <c:v>154.75</c:v>
                </c:pt>
                <c:pt idx="1527">
                  <c:v>154.02000000000001</c:v>
                </c:pt>
                <c:pt idx="1528">
                  <c:v>155.54</c:v>
                </c:pt>
                <c:pt idx="1529">
                  <c:v>156.35000000000016</c:v>
                </c:pt>
                <c:pt idx="1530">
                  <c:v>156.51</c:v>
                </c:pt>
                <c:pt idx="1531">
                  <c:v>157.34</c:v>
                </c:pt>
                <c:pt idx="1532">
                  <c:v>154.55000000000001</c:v>
                </c:pt>
                <c:pt idx="1533">
                  <c:v>155.94</c:v>
                </c:pt>
                <c:pt idx="1534">
                  <c:v>157.68</c:v>
                </c:pt>
                <c:pt idx="1535">
                  <c:v>156.66</c:v>
                </c:pt>
                <c:pt idx="1536">
                  <c:v>157.16999999999999</c:v>
                </c:pt>
                <c:pt idx="1537">
                  <c:v>157.16999999999999</c:v>
                </c:pt>
                <c:pt idx="1538">
                  <c:v>157.29</c:v>
                </c:pt>
                <c:pt idx="1539">
                  <c:v>156.34</c:v>
                </c:pt>
                <c:pt idx="1540">
                  <c:v>153.94</c:v>
                </c:pt>
                <c:pt idx="1541">
                  <c:v>154.19999999999999</c:v>
                </c:pt>
                <c:pt idx="1542">
                  <c:v>155.96</c:v>
                </c:pt>
                <c:pt idx="1543">
                  <c:v>156.16999999999999</c:v>
                </c:pt>
                <c:pt idx="1544">
                  <c:v>157.22999999999999</c:v>
                </c:pt>
                <c:pt idx="1545">
                  <c:v>156.80000000000001</c:v>
                </c:pt>
                <c:pt idx="1546">
                  <c:v>156.99</c:v>
                </c:pt>
                <c:pt idx="1547">
                  <c:v>155.4</c:v>
                </c:pt>
                <c:pt idx="1548">
                  <c:v>154.26999999999998</c:v>
                </c:pt>
                <c:pt idx="1549">
                  <c:v>154.26</c:v>
                </c:pt>
                <c:pt idx="1550">
                  <c:v>155.5</c:v>
                </c:pt>
                <c:pt idx="1551">
                  <c:v>156.85000000000016</c:v>
                </c:pt>
                <c:pt idx="1552">
                  <c:v>158.94999999999999</c:v>
                </c:pt>
                <c:pt idx="1553">
                  <c:v>159.4</c:v>
                </c:pt>
                <c:pt idx="1554">
                  <c:v>159.52000000000001</c:v>
                </c:pt>
                <c:pt idx="1555">
                  <c:v>157.91999999999999</c:v>
                </c:pt>
                <c:pt idx="1556">
                  <c:v>156.49</c:v>
                </c:pt>
                <c:pt idx="1557">
                  <c:v>157.6</c:v>
                </c:pt>
                <c:pt idx="1558">
                  <c:v>157.6</c:v>
                </c:pt>
                <c:pt idx="1559">
                  <c:v>158.04</c:v>
                </c:pt>
                <c:pt idx="1560">
                  <c:v>158.99</c:v>
                </c:pt>
                <c:pt idx="1561">
                  <c:v>159.08000000000001</c:v>
                </c:pt>
                <c:pt idx="1562">
                  <c:v>157.69</c:v>
                </c:pt>
                <c:pt idx="1563">
                  <c:v>157.69</c:v>
                </c:pt>
                <c:pt idx="1564">
                  <c:v>156.83000000000001</c:v>
                </c:pt>
                <c:pt idx="1565">
                  <c:v>155.49</c:v>
                </c:pt>
                <c:pt idx="1566">
                  <c:v>154.91</c:v>
                </c:pt>
                <c:pt idx="1567">
                  <c:v>154.99</c:v>
                </c:pt>
                <c:pt idx="1568">
                  <c:v>154.75</c:v>
                </c:pt>
                <c:pt idx="1569">
                  <c:v>155.28</c:v>
                </c:pt>
                <c:pt idx="1570">
                  <c:v>157.26</c:v>
                </c:pt>
                <c:pt idx="1571">
                  <c:v>159.06</c:v>
                </c:pt>
                <c:pt idx="1572">
                  <c:v>160.23999999999998</c:v>
                </c:pt>
                <c:pt idx="1573">
                  <c:v>162.86000000000001</c:v>
                </c:pt>
                <c:pt idx="1574">
                  <c:v>162.86000000000001</c:v>
                </c:pt>
                <c:pt idx="1575">
                  <c:v>165.01</c:v>
                </c:pt>
                <c:pt idx="1576">
                  <c:v>166.6</c:v>
                </c:pt>
                <c:pt idx="1577">
                  <c:v>167.31</c:v>
                </c:pt>
                <c:pt idx="1578">
                  <c:v>166.94</c:v>
                </c:pt>
                <c:pt idx="1579">
                  <c:v>165.76999999999998</c:v>
                </c:pt>
                <c:pt idx="1580">
                  <c:v>167.23999999999998</c:v>
                </c:pt>
                <c:pt idx="1581">
                  <c:v>166.01</c:v>
                </c:pt>
                <c:pt idx="1582">
                  <c:v>165.31</c:v>
                </c:pt>
                <c:pt idx="1583">
                  <c:v>164.67</c:v>
                </c:pt>
                <c:pt idx="1584">
                  <c:v>165.45000000000007</c:v>
                </c:pt>
                <c:pt idx="1585">
                  <c:v>166.85000000000016</c:v>
                </c:pt>
                <c:pt idx="1586">
                  <c:v>165.48000000000016</c:v>
                </c:pt>
                <c:pt idx="1587">
                  <c:v>166.37</c:v>
                </c:pt>
                <c:pt idx="1588">
                  <c:v>169.19</c:v>
                </c:pt>
                <c:pt idx="1589">
                  <c:v>167.59</c:v>
                </c:pt>
                <c:pt idx="1590">
                  <c:v>165.43</c:v>
                </c:pt>
                <c:pt idx="1591">
                  <c:v>167.54</c:v>
                </c:pt>
                <c:pt idx="1592">
                  <c:v>170.26999999999998</c:v>
                </c:pt>
                <c:pt idx="1593">
                  <c:v>169.73</c:v>
                </c:pt>
                <c:pt idx="1594">
                  <c:v>170.2</c:v>
                </c:pt>
                <c:pt idx="1595">
                  <c:v>169.58</c:v>
                </c:pt>
                <c:pt idx="1596">
                  <c:v>169.60999999999999</c:v>
                </c:pt>
                <c:pt idx="1597">
                  <c:v>168.94</c:v>
                </c:pt>
                <c:pt idx="1598">
                  <c:v>168.72</c:v>
                </c:pt>
                <c:pt idx="1599">
                  <c:v>168.72</c:v>
                </c:pt>
                <c:pt idx="1600">
                  <c:v>168.86</c:v>
                </c:pt>
                <c:pt idx="1601">
                  <c:v>169.3</c:v>
                </c:pt>
                <c:pt idx="1602">
                  <c:v>170.32000000000016</c:v>
                </c:pt>
                <c:pt idx="1603">
                  <c:v>169.64</c:v>
                </c:pt>
                <c:pt idx="1604">
                  <c:v>169.23</c:v>
                </c:pt>
                <c:pt idx="1605">
                  <c:v>170.2</c:v>
                </c:pt>
                <c:pt idx="1606">
                  <c:v>174.25</c:v>
                </c:pt>
                <c:pt idx="1607">
                  <c:v>174.26999999999998</c:v>
                </c:pt>
                <c:pt idx="1608">
                  <c:v>174.85000000000016</c:v>
                </c:pt>
                <c:pt idx="1609">
                  <c:v>176.4</c:v>
                </c:pt>
                <c:pt idx="1610">
                  <c:v>179.94</c:v>
                </c:pt>
                <c:pt idx="1611">
                  <c:v>173.72</c:v>
                </c:pt>
                <c:pt idx="1612">
                  <c:v>175.44</c:v>
                </c:pt>
                <c:pt idx="1613">
                  <c:v>174.73</c:v>
                </c:pt>
                <c:pt idx="1614">
                  <c:v>176.2</c:v>
                </c:pt>
                <c:pt idx="1615">
                  <c:v>175.67</c:v>
                </c:pt>
                <c:pt idx="1616">
                  <c:v>174.49</c:v>
                </c:pt>
                <c:pt idx="1617">
                  <c:v>175.59</c:v>
                </c:pt>
                <c:pt idx="1618">
                  <c:v>174.94</c:v>
                </c:pt>
                <c:pt idx="1619">
                  <c:v>170.07</c:v>
                </c:pt>
                <c:pt idx="1620">
                  <c:v>171.25</c:v>
                </c:pt>
                <c:pt idx="1621">
                  <c:v>171.01</c:v>
                </c:pt>
                <c:pt idx="1622">
                  <c:v>170.60999999999999</c:v>
                </c:pt>
                <c:pt idx="1623">
                  <c:v>171.54</c:v>
                </c:pt>
                <c:pt idx="1624">
                  <c:v>171.07</c:v>
                </c:pt>
                <c:pt idx="1625">
                  <c:v>170.05</c:v>
                </c:pt>
                <c:pt idx="1626">
                  <c:v>167.91</c:v>
                </c:pt>
                <c:pt idx="1627">
                  <c:v>168.76</c:v>
                </c:pt>
                <c:pt idx="1628">
                  <c:v>170.48000000000016</c:v>
                </c:pt>
                <c:pt idx="1629">
                  <c:v>168.86</c:v>
                </c:pt>
                <c:pt idx="1630">
                  <c:v>166.01</c:v>
                </c:pt>
                <c:pt idx="1631">
                  <c:v>167.19</c:v>
                </c:pt>
                <c:pt idx="1632">
                  <c:v>165.96</c:v>
                </c:pt>
                <c:pt idx="1633">
                  <c:v>164.95000000000007</c:v>
                </c:pt>
                <c:pt idx="1634">
                  <c:v>162.47</c:v>
                </c:pt>
                <c:pt idx="1635">
                  <c:v>162.63</c:v>
                </c:pt>
                <c:pt idx="1636">
                  <c:v>166.20999999999998</c:v>
                </c:pt>
                <c:pt idx="1637">
                  <c:v>166.85000000000016</c:v>
                </c:pt>
                <c:pt idx="1638">
                  <c:v>165.34</c:v>
                </c:pt>
                <c:pt idx="1639">
                  <c:v>166.62</c:v>
                </c:pt>
                <c:pt idx="1640">
                  <c:v>167.54</c:v>
                </c:pt>
                <c:pt idx="1641">
                  <c:v>169.91</c:v>
                </c:pt>
                <c:pt idx="1642">
                  <c:v>169.84</c:v>
                </c:pt>
                <c:pt idx="1643">
                  <c:v>169.84</c:v>
                </c:pt>
                <c:pt idx="1644">
                  <c:v>169.78</c:v>
                </c:pt>
                <c:pt idx="1645">
                  <c:v>168.78</c:v>
                </c:pt>
                <c:pt idx="1646">
                  <c:v>166.88000000000017</c:v>
                </c:pt>
                <c:pt idx="1647">
                  <c:v>167.63</c:v>
                </c:pt>
                <c:pt idx="1648">
                  <c:v>168.26</c:v>
                </c:pt>
                <c:pt idx="1649">
                  <c:v>170.81</c:v>
                </c:pt>
                <c:pt idx="1650">
                  <c:v>173.73999999999998</c:v>
                </c:pt>
                <c:pt idx="1651">
                  <c:v>172.62</c:v>
                </c:pt>
                <c:pt idx="1652">
                  <c:v>173.53</c:v>
                </c:pt>
                <c:pt idx="1653">
                  <c:v>174.16</c:v>
                </c:pt>
                <c:pt idx="1654">
                  <c:v>175.57</c:v>
                </c:pt>
                <c:pt idx="1655">
                  <c:v>177.22</c:v>
                </c:pt>
                <c:pt idx="1656">
                  <c:v>177.73</c:v>
                </c:pt>
                <c:pt idx="1657">
                  <c:v>179.93</c:v>
                </c:pt>
                <c:pt idx="1658">
                  <c:v>180.8</c:v>
                </c:pt>
                <c:pt idx="1659">
                  <c:v>181.18</c:v>
                </c:pt>
                <c:pt idx="1660">
                  <c:v>182.08</c:v>
                </c:pt>
                <c:pt idx="1661">
                  <c:v>181.86</c:v>
                </c:pt>
                <c:pt idx="1662">
                  <c:v>183.76999999999998</c:v>
                </c:pt>
                <c:pt idx="1663">
                  <c:v>184</c:v>
                </c:pt>
                <c:pt idx="1664">
                  <c:v>182.43</c:v>
                </c:pt>
                <c:pt idx="1665">
                  <c:v>182.56</c:v>
                </c:pt>
                <c:pt idx="1666">
                  <c:v>185.51</c:v>
                </c:pt>
                <c:pt idx="1667">
                  <c:v>186.25</c:v>
                </c:pt>
                <c:pt idx="1668">
                  <c:v>185.65</c:v>
                </c:pt>
                <c:pt idx="1669">
                  <c:v>185.65</c:v>
                </c:pt>
                <c:pt idx="1670">
                  <c:v>184.89000000000001</c:v>
                </c:pt>
                <c:pt idx="1671">
                  <c:v>182.05</c:v>
                </c:pt>
                <c:pt idx="1672">
                  <c:v>183.92000000000004</c:v>
                </c:pt>
                <c:pt idx="1673">
                  <c:v>184.86</c:v>
                </c:pt>
                <c:pt idx="1674">
                  <c:v>184.5</c:v>
                </c:pt>
                <c:pt idx="1675">
                  <c:v>184.25</c:v>
                </c:pt>
                <c:pt idx="1676">
                  <c:v>183.13</c:v>
                </c:pt>
                <c:pt idx="1677">
                  <c:v>183.94</c:v>
                </c:pt>
                <c:pt idx="1678">
                  <c:v>184.86</c:v>
                </c:pt>
                <c:pt idx="1679">
                  <c:v>185.97</c:v>
                </c:pt>
                <c:pt idx="1680">
                  <c:v>187.57</c:v>
                </c:pt>
                <c:pt idx="1681">
                  <c:v>187.64</c:v>
                </c:pt>
                <c:pt idx="1682">
                  <c:v>187.76</c:v>
                </c:pt>
                <c:pt idx="1683">
                  <c:v>185.68</c:v>
                </c:pt>
                <c:pt idx="1684">
                  <c:v>183.68</c:v>
                </c:pt>
                <c:pt idx="1685">
                  <c:v>185.33</c:v>
                </c:pt>
                <c:pt idx="1686">
                  <c:v>187.36</c:v>
                </c:pt>
                <c:pt idx="1687">
                  <c:v>189.92000000000004</c:v>
                </c:pt>
                <c:pt idx="1688">
                  <c:v>188.22</c:v>
                </c:pt>
                <c:pt idx="1689">
                  <c:v>186.95000000000007</c:v>
                </c:pt>
                <c:pt idx="1690">
                  <c:v>188.49</c:v>
                </c:pt>
                <c:pt idx="1691">
                  <c:v>187.76</c:v>
                </c:pt>
                <c:pt idx="1692">
                  <c:v>189.70999999999998</c:v>
                </c:pt>
                <c:pt idx="1693">
                  <c:v>187.76</c:v>
                </c:pt>
                <c:pt idx="1694">
                  <c:v>187.3</c:v>
                </c:pt>
                <c:pt idx="1695">
                  <c:v>187.3</c:v>
                </c:pt>
                <c:pt idx="1696">
                  <c:v>183.23</c:v>
                </c:pt>
                <c:pt idx="1697">
                  <c:v>180.73</c:v>
                </c:pt>
                <c:pt idx="1698">
                  <c:v>181.83</c:v>
                </c:pt>
                <c:pt idx="1699">
                  <c:v>181.47</c:v>
                </c:pt>
                <c:pt idx="1700">
                  <c:v>182.88000000000017</c:v>
                </c:pt>
                <c:pt idx="1701">
                  <c:v>183.53</c:v>
                </c:pt>
                <c:pt idx="1702">
                  <c:v>186.42000000000004</c:v>
                </c:pt>
                <c:pt idx="1703">
                  <c:v>184.7</c:v>
                </c:pt>
                <c:pt idx="1704">
                  <c:v>185.12</c:v>
                </c:pt>
                <c:pt idx="1705">
                  <c:v>189.46</c:v>
                </c:pt>
                <c:pt idx="1706">
                  <c:v>187.55</c:v>
                </c:pt>
                <c:pt idx="1707">
                  <c:v>186.04</c:v>
                </c:pt>
                <c:pt idx="1708">
                  <c:v>183.82000000000016</c:v>
                </c:pt>
                <c:pt idx="1709">
                  <c:v>180.47</c:v>
                </c:pt>
                <c:pt idx="1710">
                  <c:v>179.91</c:v>
                </c:pt>
                <c:pt idx="1711">
                  <c:v>179.94</c:v>
                </c:pt>
                <c:pt idx="1712">
                  <c:v>180.65</c:v>
                </c:pt>
                <c:pt idx="1713">
                  <c:v>181.06</c:v>
                </c:pt>
                <c:pt idx="1714">
                  <c:v>179.01</c:v>
                </c:pt>
                <c:pt idx="1715">
                  <c:v>179.9</c:v>
                </c:pt>
                <c:pt idx="1716">
                  <c:v>181.76999999999998</c:v>
                </c:pt>
                <c:pt idx="1717">
                  <c:v>182.13</c:v>
                </c:pt>
                <c:pt idx="1718">
                  <c:v>183.76999999999998</c:v>
                </c:pt>
                <c:pt idx="1719">
                  <c:v>181.97</c:v>
                </c:pt>
                <c:pt idx="1720">
                  <c:v>182.84</c:v>
                </c:pt>
                <c:pt idx="1721">
                  <c:v>184.41</c:v>
                </c:pt>
                <c:pt idx="1722">
                  <c:v>186.29</c:v>
                </c:pt>
                <c:pt idx="1723">
                  <c:v>186.51</c:v>
                </c:pt>
                <c:pt idx="1724">
                  <c:v>187.32000000000016</c:v>
                </c:pt>
                <c:pt idx="1725">
                  <c:v>186.64</c:v>
                </c:pt>
                <c:pt idx="1726">
                  <c:v>187.37</c:v>
                </c:pt>
                <c:pt idx="1727">
                  <c:v>188.09</c:v>
                </c:pt>
                <c:pt idx="1728">
                  <c:v>188.70999999999998</c:v>
                </c:pt>
                <c:pt idx="1729">
                  <c:v>190.58</c:v>
                </c:pt>
                <c:pt idx="1730">
                  <c:v>188.32000000000016</c:v>
                </c:pt>
                <c:pt idx="1731">
                  <c:v>189.78</c:v>
                </c:pt>
                <c:pt idx="1732">
                  <c:v>189.48000000000016</c:v>
                </c:pt>
                <c:pt idx="1733">
                  <c:v>190.89000000000001</c:v>
                </c:pt>
                <c:pt idx="1734">
                  <c:v>193.16</c:v>
                </c:pt>
                <c:pt idx="1735">
                  <c:v>193.48000000000016</c:v>
                </c:pt>
                <c:pt idx="1736">
                  <c:v>195.25</c:v>
                </c:pt>
                <c:pt idx="1737">
                  <c:v>195.2</c:v>
                </c:pt>
                <c:pt idx="1738">
                  <c:v>195.98000000000016</c:v>
                </c:pt>
                <c:pt idx="1739">
                  <c:v>195.98000000000016</c:v>
                </c:pt>
                <c:pt idx="1740">
                  <c:v>197.57</c:v>
                </c:pt>
                <c:pt idx="1741">
                  <c:v>199.4</c:v>
                </c:pt>
                <c:pt idx="1742">
                  <c:v>200.75</c:v>
                </c:pt>
                <c:pt idx="1743">
                  <c:v>197.73999999999998</c:v>
                </c:pt>
                <c:pt idx="1744">
                  <c:v>201.01</c:v>
                </c:pt>
                <c:pt idx="1745">
                  <c:v>199.8</c:v>
                </c:pt>
                <c:pt idx="1746">
                  <c:v>198.41</c:v>
                </c:pt>
                <c:pt idx="1747">
                  <c:v>198.34</c:v>
                </c:pt>
                <c:pt idx="1748">
                  <c:v>199.92000000000004</c:v>
                </c:pt>
                <c:pt idx="1749">
                  <c:v>201.37</c:v>
                </c:pt>
                <c:pt idx="1750">
                  <c:v>200.32000000000016</c:v>
                </c:pt>
                <c:pt idx="1751">
                  <c:v>199.33</c:v>
                </c:pt>
                <c:pt idx="1752">
                  <c:v>197.95000000000007</c:v>
                </c:pt>
                <c:pt idx="1753">
                  <c:v>195.76999999999998</c:v>
                </c:pt>
                <c:pt idx="1754">
                  <c:v>194.36</c:v>
                </c:pt>
                <c:pt idx="1755">
                  <c:v>194.45000000000007</c:v>
                </c:pt>
                <c:pt idx="1756">
                  <c:v>194.35000000000016</c:v>
                </c:pt>
                <c:pt idx="1757">
                  <c:v>191.43</c:v>
                </c:pt>
                <c:pt idx="1758">
                  <c:v>192.63</c:v>
                </c:pt>
                <c:pt idx="1759">
                  <c:v>194.89000000000001</c:v>
                </c:pt>
                <c:pt idx="1760">
                  <c:v>195.18</c:v>
                </c:pt>
                <c:pt idx="1761">
                  <c:v>194.13</c:v>
                </c:pt>
                <c:pt idx="1762">
                  <c:v>192.56</c:v>
                </c:pt>
                <c:pt idx="1763">
                  <c:v>192.66</c:v>
                </c:pt>
                <c:pt idx="1764">
                  <c:v>194.8</c:v>
                </c:pt>
                <c:pt idx="1765">
                  <c:v>198.48000000000016</c:v>
                </c:pt>
                <c:pt idx="1766">
                  <c:v>199.8</c:v>
                </c:pt>
                <c:pt idx="1767">
                  <c:v>204.63</c:v>
                </c:pt>
                <c:pt idx="1768">
                  <c:v>200.73999999999998</c:v>
                </c:pt>
                <c:pt idx="1769">
                  <c:v>197.4</c:v>
                </c:pt>
                <c:pt idx="1770">
                  <c:v>197.51</c:v>
                </c:pt>
                <c:pt idx="1771">
                  <c:v>196.76</c:v>
                </c:pt>
                <c:pt idx="1772">
                  <c:v>194.69</c:v>
                </c:pt>
                <c:pt idx="1773">
                  <c:v>195.85000000000016</c:v>
                </c:pt>
                <c:pt idx="1774">
                  <c:v>196.7</c:v>
                </c:pt>
                <c:pt idx="1775">
                  <c:v>196.08</c:v>
                </c:pt>
                <c:pt idx="1776">
                  <c:v>193.26</c:v>
                </c:pt>
                <c:pt idx="1777">
                  <c:v>192.58</c:v>
                </c:pt>
                <c:pt idx="1778">
                  <c:v>190.16</c:v>
                </c:pt>
                <c:pt idx="1779">
                  <c:v>190.12</c:v>
                </c:pt>
                <c:pt idx="1780">
                  <c:v>190.53</c:v>
                </c:pt>
                <c:pt idx="1781">
                  <c:v>191.36</c:v>
                </c:pt>
                <c:pt idx="1782">
                  <c:v>190.85000000000016</c:v>
                </c:pt>
                <c:pt idx="1783">
                  <c:v>191.87</c:v>
                </c:pt>
                <c:pt idx="1784">
                  <c:v>192.17</c:v>
                </c:pt>
                <c:pt idx="1785">
                  <c:v>194.18</c:v>
                </c:pt>
                <c:pt idx="1786">
                  <c:v>194.57</c:v>
                </c:pt>
                <c:pt idx="1787">
                  <c:v>195.37</c:v>
                </c:pt>
                <c:pt idx="1788">
                  <c:v>195.32000000000016</c:v>
                </c:pt>
                <c:pt idx="1789">
                  <c:v>195.53</c:v>
                </c:pt>
                <c:pt idx="1790">
                  <c:v>197.05</c:v>
                </c:pt>
                <c:pt idx="1791">
                  <c:v>199.81</c:v>
                </c:pt>
                <c:pt idx="1792">
                  <c:v>198.1</c:v>
                </c:pt>
                <c:pt idx="1793">
                  <c:v>200.2</c:v>
                </c:pt>
                <c:pt idx="1794">
                  <c:v>201.44</c:v>
                </c:pt>
                <c:pt idx="1795">
                  <c:v>201.43</c:v>
                </c:pt>
                <c:pt idx="1796">
                  <c:v>202.38000000000017</c:v>
                </c:pt>
                <c:pt idx="1797">
                  <c:v>202.38000000000017</c:v>
                </c:pt>
                <c:pt idx="1798">
                  <c:v>202.68</c:v>
                </c:pt>
                <c:pt idx="1799">
                  <c:v>202.92000000000004</c:v>
                </c:pt>
                <c:pt idx="1800">
                  <c:v>199.86</c:v>
                </c:pt>
                <c:pt idx="1801">
                  <c:v>200.37</c:v>
                </c:pt>
                <c:pt idx="1802">
                  <c:v>199.73</c:v>
                </c:pt>
                <c:pt idx="1803">
                  <c:v>196.54</c:v>
                </c:pt>
                <c:pt idx="1804">
                  <c:v>197.92000000000004</c:v>
                </c:pt>
                <c:pt idx="1805">
                  <c:v>194.43</c:v>
                </c:pt>
                <c:pt idx="1806">
                  <c:v>197.87</c:v>
                </c:pt>
                <c:pt idx="1807">
                  <c:v>197.33</c:v>
                </c:pt>
                <c:pt idx="1808">
                  <c:v>196.36</c:v>
                </c:pt>
                <c:pt idx="1809">
                  <c:v>199.78</c:v>
                </c:pt>
                <c:pt idx="1810">
                  <c:v>197.34</c:v>
                </c:pt>
                <c:pt idx="1811">
                  <c:v>194.07</c:v>
                </c:pt>
                <c:pt idx="1812">
                  <c:v>191.54</c:v>
                </c:pt>
                <c:pt idx="1813">
                  <c:v>194.48000000000016</c:v>
                </c:pt>
                <c:pt idx="1814">
                  <c:v>194.48000000000016</c:v>
                </c:pt>
                <c:pt idx="1815">
                  <c:v>195.63</c:v>
                </c:pt>
                <c:pt idx="1816">
                  <c:v>191.75</c:v>
                </c:pt>
                <c:pt idx="1817">
                  <c:v>193.17</c:v>
                </c:pt>
                <c:pt idx="1818">
                  <c:v>192.7</c:v>
                </c:pt>
                <c:pt idx="1819">
                  <c:v>192.7</c:v>
                </c:pt>
                <c:pt idx="1820">
                  <c:v>194.52</c:v>
                </c:pt>
                <c:pt idx="1821">
                  <c:v>194.5</c:v>
                </c:pt>
                <c:pt idx="1822">
                  <c:v>193.1</c:v>
                </c:pt>
                <c:pt idx="1823">
                  <c:v>195.93</c:v>
                </c:pt>
                <c:pt idx="1824">
                  <c:v>195.93</c:v>
                </c:pt>
                <c:pt idx="1825">
                  <c:v>192.92000000000004</c:v>
                </c:pt>
                <c:pt idx="1826">
                  <c:v>193.53</c:v>
                </c:pt>
                <c:pt idx="1827">
                  <c:v>194.97</c:v>
                </c:pt>
                <c:pt idx="1828">
                  <c:v>195.54</c:v>
                </c:pt>
                <c:pt idx="1829">
                  <c:v>195.49</c:v>
                </c:pt>
                <c:pt idx="1830">
                  <c:v>195.82000000000016</c:v>
                </c:pt>
                <c:pt idx="1831">
                  <c:v>198.75</c:v>
                </c:pt>
                <c:pt idx="1832">
                  <c:v>198.19</c:v>
                </c:pt>
                <c:pt idx="1833">
                  <c:v>199.17</c:v>
                </c:pt>
                <c:pt idx="1834">
                  <c:v>199.17</c:v>
                </c:pt>
                <c:pt idx="1835">
                  <c:v>198.53</c:v>
                </c:pt>
                <c:pt idx="1836">
                  <c:v>196.78</c:v>
                </c:pt>
                <c:pt idx="1837">
                  <c:v>199.04</c:v>
                </c:pt>
                <c:pt idx="1838">
                  <c:v>201.95000000000007</c:v>
                </c:pt>
                <c:pt idx="1839">
                  <c:v>202.4</c:v>
                </c:pt>
                <c:pt idx="1840">
                  <c:v>200.67</c:v>
                </c:pt>
                <c:pt idx="1841">
                  <c:v>199.28</c:v>
                </c:pt>
                <c:pt idx="1842">
                  <c:v>199.78</c:v>
                </c:pt>
                <c:pt idx="1843">
                  <c:v>200.97</c:v>
                </c:pt>
                <c:pt idx="1844">
                  <c:v>197.4</c:v>
                </c:pt>
                <c:pt idx="1845">
                  <c:v>197.55</c:v>
                </c:pt>
                <c:pt idx="1846">
                  <c:v>195.57</c:v>
                </c:pt>
                <c:pt idx="1847">
                  <c:v>199.82000000000016</c:v>
                </c:pt>
                <c:pt idx="1848">
                  <c:v>203.36</c:v>
                </c:pt>
                <c:pt idx="1849">
                  <c:v>200.56</c:v>
                </c:pt>
                <c:pt idx="1850">
                  <c:v>200.69</c:v>
                </c:pt>
                <c:pt idx="1851">
                  <c:v>203.06</c:v>
                </c:pt>
                <c:pt idx="1852">
                  <c:v>203</c:v>
                </c:pt>
                <c:pt idx="1853">
                  <c:v>201.56</c:v>
                </c:pt>
                <c:pt idx="1854">
                  <c:v>199.99</c:v>
                </c:pt>
                <c:pt idx="1855">
                  <c:v>200.70999999999998</c:v>
                </c:pt>
                <c:pt idx="1856">
                  <c:v>198.65</c:v>
                </c:pt>
                <c:pt idx="1857">
                  <c:v>196.37</c:v>
                </c:pt>
                <c:pt idx="1858">
                  <c:v>197.42000000000004</c:v>
                </c:pt>
                <c:pt idx="1859">
                  <c:v>197.42000000000004</c:v>
                </c:pt>
                <c:pt idx="1860">
                  <c:v>196.20999999999998</c:v>
                </c:pt>
                <c:pt idx="1861">
                  <c:v>195.51</c:v>
                </c:pt>
                <c:pt idx="1862">
                  <c:v>195.08</c:v>
                </c:pt>
                <c:pt idx="1863">
                  <c:v>195.76999999999998</c:v>
                </c:pt>
                <c:pt idx="1864">
                  <c:v>194.08</c:v>
                </c:pt>
                <c:pt idx="1865">
                  <c:v>194.18</c:v>
                </c:pt>
                <c:pt idx="1866">
                  <c:v>193.5</c:v>
                </c:pt>
                <c:pt idx="1867">
                  <c:v>193.94</c:v>
                </c:pt>
                <c:pt idx="1868">
                  <c:v>195.17</c:v>
                </c:pt>
                <c:pt idx="1869">
                  <c:v>196.89000000000001</c:v>
                </c:pt>
                <c:pt idx="1870">
                  <c:v>196.3</c:v>
                </c:pt>
                <c:pt idx="1871">
                  <c:v>197.49</c:v>
                </c:pt>
                <c:pt idx="1872">
                  <c:v>195.55</c:v>
                </c:pt>
                <c:pt idx="1873">
                  <c:v>194.13</c:v>
                </c:pt>
                <c:pt idx="1874">
                  <c:v>193.83</c:v>
                </c:pt>
                <c:pt idx="1875">
                  <c:v>192.18</c:v>
                </c:pt>
                <c:pt idx="1876">
                  <c:v>188.16</c:v>
                </c:pt>
                <c:pt idx="1877">
                  <c:v>187.05</c:v>
                </c:pt>
                <c:pt idx="1878">
                  <c:v>186.52</c:v>
                </c:pt>
                <c:pt idx="1879">
                  <c:v>185.55</c:v>
                </c:pt>
                <c:pt idx="1880">
                  <c:v>185.63</c:v>
                </c:pt>
                <c:pt idx="1881">
                  <c:v>186.12</c:v>
                </c:pt>
                <c:pt idx="1882">
                  <c:v>185.39000000000001</c:v>
                </c:pt>
                <c:pt idx="1883">
                  <c:v>187.73</c:v>
                </c:pt>
                <c:pt idx="1884">
                  <c:v>189.17</c:v>
                </c:pt>
                <c:pt idx="1885">
                  <c:v>190.56</c:v>
                </c:pt>
                <c:pt idx="1886">
                  <c:v>186.26</c:v>
                </c:pt>
                <c:pt idx="1887">
                  <c:v>185.75</c:v>
                </c:pt>
                <c:pt idx="1888">
                  <c:v>183.26999999999998</c:v>
                </c:pt>
                <c:pt idx="1889">
                  <c:v>181.93</c:v>
                </c:pt>
                <c:pt idx="1890">
                  <c:v>183.6</c:v>
                </c:pt>
                <c:pt idx="1891">
                  <c:v>186.46</c:v>
                </c:pt>
                <c:pt idx="1892">
                  <c:v>187.48000000000016</c:v>
                </c:pt>
                <c:pt idx="1893">
                  <c:v>186.78</c:v>
                </c:pt>
                <c:pt idx="1894">
                  <c:v>187.63</c:v>
                </c:pt>
                <c:pt idx="1895">
                  <c:v>190.42000000000004</c:v>
                </c:pt>
                <c:pt idx="1896">
                  <c:v>189.86</c:v>
                </c:pt>
                <c:pt idx="1897">
                  <c:v>190.14</c:v>
                </c:pt>
                <c:pt idx="1898">
                  <c:v>190.14</c:v>
                </c:pt>
                <c:pt idx="1899">
                  <c:v>191.96</c:v>
                </c:pt>
                <c:pt idx="1900">
                  <c:v>190.56</c:v>
                </c:pt>
                <c:pt idx="1901">
                  <c:v>190.46</c:v>
                </c:pt>
                <c:pt idx="1902">
                  <c:v>189.32000000000016</c:v>
                </c:pt>
                <c:pt idx="1903">
                  <c:v>187.88000000000017</c:v>
                </c:pt>
                <c:pt idx="1904">
                  <c:v>187.81</c:v>
                </c:pt>
                <c:pt idx="1905">
                  <c:v>185.97</c:v>
                </c:pt>
                <c:pt idx="1906">
                  <c:v>186.68</c:v>
                </c:pt>
                <c:pt idx="1907">
                  <c:v>189.69</c:v>
                </c:pt>
                <c:pt idx="1908">
                  <c:v>189.19</c:v>
                </c:pt>
                <c:pt idx="1909">
                  <c:v>189.62</c:v>
                </c:pt>
                <c:pt idx="1910">
                  <c:v>191.44</c:v>
                </c:pt>
                <c:pt idx="1911">
                  <c:v>189.2</c:v>
                </c:pt>
                <c:pt idx="1912">
                  <c:v>191.22</c:v>
                </c:pt>
                <c:pt idx="1913">
                  <c:v>190.62</c:v>
                </c:pt>
                <c:pt idx="1914">
                  <c:v>189.37</c:v>
                </c:pt>
                <c:pt idx="1915">
                  <c:v>189.2</c:v>
                </c:pt>
                <c:pt idx="1916">
                  <c:v>189.7</c:v>
                </c:pt>
                <c:pt idx="1917">
                  <c:v>190.06</c:v>
                </c:pt>
                <c:pt idx="1918">
                  <c:v>189.28</c:v>
                </c:pt>
                <c:pt idx="1919">
                  <c:v>189.43</c:v>
                </c:pt>
                <c:pt idx="1920">
                  <c:v>190.83</c:v>
                </c:pt>
                <c:pt idx="1921">
                  <c:v>190.13</c:v>
                </c:pt>
                <c:pt idx="1922">
                  <c:v>190.5</c:v>
                </c:pt>
                <c:pt idx="1923">
                  <c:v>194.03</c:v>
                </c:pt>
                <c:pt idx="1924">
                  <c:v>193.33</c:v>
                </c:pt>
                <c:pt idx="1925">
                  <c:v>192.25</c:v>
                </c:pt>
                <c:pt idx="1926">
                  <c:v>191.39000000000001</c:v>
                </c:pt>
                <c:pt idx="1927">
                  <c:v>188.81</c:v>
                </c:pt>
                <c:pt idx="1928">
                  <c:v>186.88000000000017</c:v>
                </c:pt>
                <c:pt idx="1929">
                  <c:v>186.88000000000017</c:v>
                </c:pt>
                <c:pt idx="1930">
                  <c:v>185.26999999999998</c:v>
                </c:pt>
                <c:pt idx="1931">
                  <c:v>184.34</c:v>
                </c:pt>
                <c:pt idx="1932">
                  <c:v>183.68</c:v>
                </c:pt>
                <c:pt idx="1933">
                  <c:v>183.6</c:v>
                </c:pt>
                <c:pt idx="1934">
                  <c:v>183.65</c:v>
                </c:pt>
                <c:pt idx="1935">
                  <c:v>183.9</c:v>
                </c:pt>
                <c:pt idx="1936">
                  <c:v>182.65</c:v>
                </c:pt>
                <c:pt idx="1937">
                  <c:v>182.26999999999998</c:v>
                </c:pt>
                <c:pt idx="1938">
                  <c:v>184.05</c:v>
                </c:pt>
                <c:pt idx="1939">
                  <c:v>185.09</c:v>
                </c:pt>
                <c:pt idx="1940">
                  <c:v>186.16</c:v>
                </c:pt>
                <c:pt idx="1941">
                  <c:v>185.20999999999998</c:v>
                </c:pt>
                <c:pt idx="1942">
                  <c:v>185.37</c:v>
                </c:pt>
                <c:pt idx="1943">
                  <c:v>182.98000000000016</c:v>
                </c:pt>
                <c:pt idx="1944">
                  <c:v>181.53</c:v>
                </c:pt>
                <c:pt idx="1945">
                  <c:v>181.34</c:v>
                </c:pt>
                <c:pt idx="1946">
                  <c:v>176.65</c:v>
                </c:pt>
                <c:pt idx="1947">
                  <c:v>177.32000000000016</c:v>
                </c:pt>
                <c:pt idx="1948">
                  <c:v>177.06</c:v>
                </c:pt>
                <c:pt idx="1949">
                  <c:v>176.89000000000001</c:v>
                </c:pt>
                <c:pt idx="1950">
                  <c:v>176.83</c:v>
                </c:pt>
                <c:pt idx="1951">
                  <c:v>173.57</c:v>
                </c:pt>
                <c:pt idx="1952">
                  <c:v>173.07</c:v>
                </c:pt>
                <c:pt idx="1953">
                  <c:v>174.9</c:v>
                </c:pt>
                <c:pt idx="1954">
                  <c:v>173.5</c:v>
                </c:pt>
                <c:pt idx="1955">
                  <c:v>173.70999999999998</c:v>
                </c:pt>
                <c:pt idx="1956">
                  <c:v>173.70999999999998</c:v>
                </c:pt>
                <c:pt idx="1957">
                  <c:v>174.78</c:v>
                </c:pt>
                <c:pt idx="1958">
                  <c:v>177.12</c:v>
                </c:pt>
                <c:pt idx="1959">
                  <c:v>176.45000000000007</c:v>
                </c:pt>
                <c:pt idx="1960">
                  <c:v>176.48000000000016</c:v>
                </c:pt>
                <c:pt idx="1961">
                  <c:v>176.92000000000004</c:v>
                </c:pt>
                <c:pt idx="1962">
                  <c:v>177.68</c:v>
                </c:pt>
                <c:pt idx="1963">
                  <c:v>175.51</c:v>
                </c:pt>
                <c:pt idx="1964">
                  <c:v>173.94</c:v>
                </c:pt>
                <c:pt idx="1965">
                  <c:v>174.70999999999998</c:v>
                </c:pt>
                <c:pt idx="1966">
                  <c:v>172.58</c:v>
                </c:pt>
                <c:pt idx="1967">
                  <c:v>171.57</c:v>
                </c:pt>
                <c:pt idx="1968">
                  <c:v>172.55</c:v>
                </c:pt>
                <c:pt idx="1969">
                  <c:v>172.85000000000016</c:v>
                </c:pt>
                <c:pt idx="1970">
                  <c:v>173.14</c:v>
                </c:pt>
                <c:pt idx="1971">
                  <c:v>175.45000000000007</c:v>
                </c:pt>
                <c:pt idx="1972">
                  <c:v>174.84</c:v>
                </c:pt>
                <c:pt idx="1973">
                  <c:v>175.34</c:v>
                </c:pt>
                <c:pt idx="1974">
                  <c:v>174.48000000000016</c:v>
                </c:pt>
                <c:pt idx="1975">
                  <c:v>173.86</c:v>
                </c:pt>
                <c:pt idx="1976">
                  <c:v>173.07</c:v>
                </c:pt>
                <c:pt idx="1977">
                  <c:v>174.63</c:v>
                </c:pt>
                <c:pt idx="1978">
                  <c:v>173.84</c:v>
                </c:pt>
                <c:pt idx="1979">
                  <c:v>174.60999999999999</c:v>
                </c:pt>
                <c:pt idx="1980">
                  <c:v>175.09</c:v>
                </c:pt>
                <c:pt idx="1981">
                  <c:v>174.51</c:v>
                </c:pt>
                <c:pt idx="1982">
                  <c:v>174.99</c:v>
                </c:pt>
                <c:pt idx="1983">
                  <c:v>175.46</c:v>
                </c:pt>
                <c:pt idx="1984">
                  <c:v>175.83</c:v>
                </c:pt>
                <c:pt idx="1985">
                  <c:v>176.63</c:v>
                </c:pt>
                <c:pt idx="1986">
                  <c:v>176.92000000000004</c:v>
                </c:pt>
                <c:pt idx="1987">
                  <c:v>175.62</c:v>
                </c:pt>
                <c:pt idx="1988">
                  <c:v>174.51</c:v>
                </c:pt>
                <c:pt idx="1989">
                  <c:v>173.56</c:v>
                </c:pt>
                <c:pt idx="1990">
                  <c:v>174.76999999999998</c:v>
                </c:pt>
                <c:pt idx="1991">
                  <c:v>173.38000000000017</c:v>
                </c:pt>
                <c:pt idx="1992">
                  <c:v>173.76999999999998</c:v>
                </c:pt>
                <c:pt idx="1993">
                  <c:v>173.98000000000016</c:v>
                </c:pt>
                <c:pt idx="1994">
                  <c:v>173.54</c:v>
                </c:pt>
                <c:pt idx="1995">
                  <c:v>173.73999999999998</c:v>
                </c:pt>
                <c:pt idx="1996">
                  <c:v>173.66</c:v>
                </c:pt>
                <c:pt idx="1997">
                  <c:v>171.10999999999999</c:v>
                </c:pt>
                <c:pt idx="1998">
                  <c:v>172.84</c:v>
                </c:pt>
                <c:pt idx="1999">
                  <c:v>172.84</c:v>
                </c:pt>
                <c:pt idx="2000">
                  <c:v>170.97</c:v>
                </c:pt>
                <c:pt idx="2001">
                  <c:v>171.31</c:v>
                </c:pt>
                <c:pt idx="2002">
                  <c:v>171.51</c:v>
                </c:pt>
                <c:pt idx="2003">
                  <c:v>172.65</c:v>
                </c:pt>
                <c:pt idx="2004">
                  <c:v>171.51</c:v>
                </c:pt>
                <c:pt idx="2005">
                  <c:v>171.68</c:v>
                </c:pt>
                <c:pt idx="2006">
                  <c:v>171.68</c:v>
                </c:pt>
                <c:pt idx="2007">
                  <c:v>171.68</c:v>
                </c:pt>
                <c:pt idx="2008">
                  <c:v>171.68</c:v>
                </c:pt>
                <c:pt idx="2009">
                  <c:v>174.6</c:v>
                </c:pt>
                <c:pt idx="2010">
                  <c:v>170.79</c:v>
                </c:pt>
                <c:pt idx="2011">
                  <c:v>167.25</c:v>
                </c:pt>
                <c:pt idx="2012">
                  <c:v>166.69</c:v>
                </c:pt>
                <c:pt idx="2013">
                  <c:v>165.03</c:v>
                </c:pt>
                <c:pt idx="2014">
                  <c:v>156.35000000000016</c:v>
                </c:pt>
                <c:pt idx="2015">
                  <c:v>155.65</c:v>
                </c:pt>
                <c:pt idx="2016">
                  <c:v>157.46</c:v>
                </c:pt>
                <c:pt idx="2017">
                  <c:v>157.94</c:v>
                </c:pt>
                <c:pt idx="2018">
                  <c:v>158.33000000000001</c:v>
                </c:pt>
                <c:pt idx="2019">
                  <c:v>157.72999999999999</c:v>
                </c:pt>
                <c:pt idx="2020">
                  <c:v>156.56</c:v>
                </c:pt>
                <c:pt idx="2021">
                  <c:v>155.6</c:v>
                </c:pt>
                <c:pt idx="2022">
                  <c:v>157.41</c:v>
                </c:pt>
                <c:pt idx="2023">
                  <c:v>156.15</c:v>
                </c:pt>
                <c:pt idx="2024">
                  <c:v>155.54</c:v>
                </c:pt>
                <c:pt idx="2025">
                  <c:v>154.83000000000001</c:v>
                </c:pt>
                <c:pt idx="2026">
                  <c:v>155.13</c:v>
                </c:pt>
                <c:pt idx="2027">
                  <c:v>156.81</c:v>
                </c:pt>
                <c:pt idx="2028">
                  <c:v>153.76</c:v>
                </c:pt>
                <c:pt idx="2029">
                  <c:v>151.99</c:v>
                </c:pt>
                <c:pt idx="2030">
                  <c:v>152.70999999999998</c:v>
                </c:pt>
                <c:pt idx="2031">
                  <c:v>152.26</c:v>
                </c:pt>
                <c:pt idx="2032">
                  <c:v>150.65</c:v>
                </c:pt>
                <c:pt idx="2033">
                  <c:v>152.13999999999999</c:v>
                </c:pt>
                <c:pt idx="2034">
                  <c:v>151.56</c:v>
                </c:pt>
                <c:pt idx="2035">
                  <c:v>150.63999999999999</c:v>
                </c:pt>
                <c:pt idx="2036">
                  <c:v>152.47</c:v>
                </c:pt>
                <c:pt idx="2037">
                  <c:v>151.6</c:v>
                </c:pt>
                <c:pt idx="2038">
                  <c:v>151.84</c:v>
                </c:pt>
                <c:pt idx="2039">
                  <c:v>152.70999999999998</c:v>
                </c:pt>
                <c:pt idx="2040">
                  <c:v>151.88000000000017</c:v>
                </c:pt>
                <c:pt idx="2041">
                  <c:v>150.9</c:v>
                </c:pt>
                <c:pt idx="2042">
                  <c:v>149.35000000000016</c:v>
                </c:pt>
                <c:pt idx="2043">
                  <c:v>148.25</c:v>
                </c:pt>
                <c:pt idx="2044">
                  <c:v>147.32000000000016</c:v>
                </c:pt>
                <c:pt idx="2045">
                  <c:v>147.16999999999999</c:v>
                </c:pt>
                <c:pt idx="2046">
                  <c:v>148.20999999999998</c:v>
                </c:pt>
                <c:pt idx="2047">
                  <c:v>151.12</c:v>
                </c:pt>
                <c:pt idx="2048">
                  <c:v>154.46</c:v>
                </c:pt>
                <c:pt idx="2049">
                  <c:v>152.02000000000001</c:v>
                </c:pt>
                <c:pt idx="2050">
                  <c:v>154.96</c:v>
                </c:pt>
                <c:pt idx="2051">
                  <c:v>151.37</c:v>
                </c:pt>
                <c:pt idx="2052">
                  <c:v>145.78</c:v>
                </c:pt>
                <c:pt idx="2053">
                  <c:v>148.20999999999998</c:v>
                </c:pt>
                <c:pt idx="2054">
                  <c:v>148.55000000000001</c:v>
                </c:pt>
                <c:pt idx="2055">
                  <c:v>149.84</c:v>
                </c:pt>
                <c:pt idx="2056">
                  <c:v>149.66</c:v>
                </c:pt>
                <c:pt idx="2057">
                  <c:v>149.66</c:v>
                </c:pt>
                <c:pt idx="2058">
                  <c:v>149.60999999999999</c:v>
                </c:pt>
                <c:pt idx="2059">
                  <c:v>148.99</c:v>
                </c:pt>
                <c:pt idx="2060">
                  <c:v>150.88000000000017</c:v>
                </c:pt>
                <c:pt idx="2061">
                  <c:v>149.47999999999999</c:v>
                </c:pt>
                <c:pt idx="2062">
                  <c:v>148.97</c:v>
                </c:pt>
                <c:pt idx="2063">
                  <c:v>151.87</c:v>
                </c:pt>
                <c:pt idx="2064">
                  <c:v>152.04</c:v>
                </c:pt>
                <c:pt idx="2065">
                  <c:v>150.01</c:v>
                </c:pt>
                <c:pt idx="2066">
                  <c:v>149.31</c:v>
                </c:pt>
                <c:pt idx="2067">
                  <c:v>147.19</c:v>
                </c:pt>
                <c:pt idx="2068">
                  <c:v>147.68</c:v>
                </c:pt>
                <c:pt idx="2069">
                  <c:v>145.81</c:v>
                </c:pt>
                <c:pt idx="2070">
                  <c:v>145.87</c:v>
                </c:pt>
                <c:pt idx="2071">
                  <c:v>145.63999999999999</c:v>
                </c:pt>
                <c:pt idx="2072">
                  <c:v>145.19999999999999</c:v>
                </c:pt>
                <c:pt idx="2073">
                  <c:v>148.85000000000016</c:v>
                </c:pt>
                <c:pt idx="2074">
                  <c:v>148.34</c:v>
                </c:pt>
                <c:pt idx="2075">
                  <c:v>148.26</c:v>
                </c:pt>
                <c:pt idx="2076">
                  <c:v>148.20999999999998</c:v>
                </c:pt>
                <c:pt idx="2077">
                  <c:v>147.32000000000016</c:v>
                </c:pt>
                <c:pt idx="2078">
                  <c:v>148.66999999999999</c:v>
                </c:pt>
                <c:pt idx="2079">
                  <c:v>148.78</c:v>
                </c:pt>
                <c:pt idx="2080">
                  <c:v>148.78</c:v>
                </c:pt>
                <c:pt idx="2081">
                  <c:v>153.16</c:v>
                </c:pt>
                <c:pt idx="2082">
                  <c:v>151.22999999999999</c:v>
                </c:pt>
                <c:pt idx="2083">
                  <c:v>150.26</c:v>
                </c:pt>
                <c:pt idx="2084">
                  <c:v>147.97</c:v>
                </c:pt>
                <c:pt idx="2085">
                  <c:v>147.97</c:v>
                </c:pt>
                <c:pt idx="2086">
                  <c:v>150.9</c:v>
                </c:pt>
                <c:pt idx="2087">
                  <c:v>149.04</c:v>
                </c:pt>
                <c:pt idx="2088">
                  <c:v>153.05000000000001</c:v>
                </c:pt>
                <c:pt idx="2089">
                  <c:v>154.20999999999998</c:v>
                </c:pt>
                <c:pt idx="2090">
                  <c:v>153.80000000000001</c:v>
                </c:pt>
                <c:pt idx="2091">
                  <c:v>152.20999999999998</c:v>
                </c:pt>
                <c:pt idx="2092">
                  <c:v>152.07</c:v>
                </c:pt>
                <c:pt idx="2093">
                  <c:v>150.58000000000001</c:v>
                </c:pt>
                <c:pt idx="2094">
                  <c:v>148.23999999999998</c:v>
                </c:pt>
                <c:pt idx="2095">
                  <c:v>148.70999999999998</c:v>
                </c:pt>
                <c:pt idx="2096">
                  <c:v>149.89000000000001</c:v>
                </c:pt>
                <c:pt idx="2097">
                  <c:v>146.63</c:v>
                </c:pt>
                <c:pt idx="2098">
                  <c:v>145.46</c:v>
                </c:pt>
                <c:pt idx="2099">
                  <c:v>145.46</c:v>
                </c:pt>
                <c:pt idx="2100">
                  <c:v>145.39000000000001</c:v>
                </c:pt>
                <c:pt idx="2101">
                  <c:v>146.6</c:v>
                </c:pt>
                <c:pt idx="2102">
                  <c:v>146.81</c:v>
                </c:pt>
                <c:pt idx="2103">
                  <c:v>147.49</c:v>
                </c:pt>
                <c:pt idx="2104">
                  <c:v>146.36000000000001</c:v>
                </c:pt>
                <c:pt idx="2105">
                  <c:v>145.26</c:v>
                </c:pt>
                <c:pt idx="2106">
                  <c:v>143.97</c:v>
                </c:pt>
                <c:pt idx="2107">
                  <c:v>145.60999999999999</c:v>
                </c:pt>
                <c:pt idx="2108">
                  <c:v>148.39000000000001</c:v>
                </c:pt>
                <c:pt idx="2109">
                  <c:v>147.88000000000017</c:v>
                </c:pt>
                <c:pt idx="2110">
                  <c:v>147.94999999999999</c:v>
                </c:pt>
                <c:pt idx="2111">
                  <c:v>147.23999999999998</c:v>
                </c:pt>
                <c:pt idx="2112">
                  <c:v>147.75</c:v>
                </c:pt>
                <c:pt idx="2113">
                  <c:v>149.46</c:v>
                </c:pt>
                <c:pt idx="2114">
                  <c:v>151.69</c:v>
                </c:pt>
                <c:pt idx="2115">
                  <c:v>150.66999999999999</c:v>
                </c:pt>
                <c:pt idx="2116">
                  <c:v>151.44999999999999</c:v>
                </c:pt>
                <c:pt idx="2117">
                  <c:v>150.81</c:v>
                </c:pt>
                <c:pt idx="2118">
                  <c:v>150.91999999999999</c:v>
                </c:pt>
                <c:pt idx="2119">
                  <c:v>150.91999999999999</c:v>
                </c:pt>
                <c:pt idx="2120">
                  <c:v>149.08000000000001</c:v>
                </c:pt>
                <c:pt idx="2121">
                  <c:v>148.07</c:v>
                </c:pt>
                <c:pt idx="2122">
                  <c:v>149.63999999999999</c:v>
                </c:pt>
                <c:pt idx="2123">
                  <c:v>149.49</c:v>
                </c:pt>
                <c:pt idx="2124">
                  <c:v>147.13</c:v>
                </c:pt>
                <c:pt idx="2125">
                  <c:v>149.44999999999999</c:v>
                </c:pt>
                <c:pt idx="2126">
                  <c:v>149.6</c:v>
                </c:pt>
                <c:pt idx="2127">
                  <c:v>150.66</c:v>
                </c:pt>
                <c:pt idx="2128">
                  <c:v>153.72999999999999</c:v>
                </c:pt>
                <c:pt idx="2129">
                  <c:v>154.37</c:v>
                </c:pt>
                <c:pt idx="2130">
                  <c:v>156.26</c:v>
                </c:pt>
                <c:pt idx="2131">
                  <c:v>157.08000000000001</c:v>
                </c:pt>
                <c:pt idx="2132">
                  <c:v>159.86000000000001</c:v>
                </c:pt>
                <c:pt idx="2133">
                  <c:v>160.73999999999998</c:v>
                </c:pt>
                <c:pt idx="2134">
                  <c:v>163.56</c:v>
                </c:pt>
                <c:pt idx="2135">
                  <c:v>163.43</c:v>
                </c:pt>
                <c:pt idx="2136">
                  <c:v>162.91999999999999</c:v>
                </c:pt>
                <c:pt idx="2137">
                  <c:v>164.09</c:v>
                </c:pt>
                <c:pt idx="2138">
                  <c:v>164.44</c:v>
                </c:pt>
                <c:pt idx="2139">
                  <c:v>165.72</c:v>
                </c:pt>
                <c:pt idx="2140">
                  <c:v>165.52</c:v>
                </c:pt>
                <c:pt idx="2141">
                  <c:v>164.45000000000007</c:v>
                </c:pt>
                <c:pt idx="2142">
                  <c:v>166.13</c:v>
                </c:pt>
                <c:pt idx="2143">
                  <c:v>164.93</c:v>
                </c:pt>
                <c:pt idx="2144">
                  <c:v>163.99</c:v>
                </c:pt>
                <c:pt idx="2145">
                  <c:v>164.85000000000016</c:v>
                </c:pt>
                <c:pt idx="2146">
                  <c:v>166.57</c:v>
                </c:pt>
                <c:pt idx="2147">
                  <c:v>167.22</c:v>
                </c:pt>
                <c:pt idx="2148">
                  <c:v>167.22</c:v>
                </c:pt>
                <c:pt idx="2149">
                  <c:v>169.63</c:v>
                </c:pt>
                <c:pt idx="2150">
                  <c:v>172.06</c:v>
                </c:pt>
                <c:pt idx="2151">
                  <c:v>169.84</c:v>
                </c:pt>
                <c:pt idx="2152">
                  <c:v>166.52</c:v>
                </c:pt>
                <c:pt idx="2153">
                  <c:v>165.25</c:v>
                </c:pt>
                <c:pt idx="2154">
                  <c:v>165.36</c:v>
                </c:pt>
                <c:pt idx="2155">
                  <c:v>164.1</c:v>
                </c:pt>
                <c:pt idx="2156">
                  <c:v>164.18</c:v>
                </c:pt>
                <c:pt idx="2157">
                  <c:v>161.04</c:v>
                </c:pt>
                <c:pt idx="2158">
                  <c:v>157.46</c:v>
                </c:pt>
                <c:pt idx="2159">
                  <c:v>160.43</c:v>
                </c:pt>
                <c:pt idx="2160">
                  <c:v>161.32000000000016</c:v>
                </c:pt>
                <c:pt idx="2161">
                  <c:v>164.88000000000017</c:v>
                </c:pt>
                <c:pt idx="2162">
                  <c:v>165.22</c:v>
                </c:pt>
                <c:pt idx="2163">
                  <c:v>165.4</c:v>
                </c:pt>
                <c:pt idx="2164">
                  <c:v>165.73999999999998</c:v>
                </c:pt>
                <c:pt idx="2165">
                  <c:v>166.10999999999999</c:v>
                </c:pt>
                <c:pt idx="2166">
                  <c:v>164.79</c:v>
                </c:pt>
                <c:pt idx="2167">
                  <c:v>164.1</c:v>
                </c:pt>
                <c:pt idx="2168">
                  <c:v>164.83</c:v>
                </c:pt>
                <c:pt idx="2169">
                  <c:v>165.82000000000016</c:v>
                </c:pt>
                <c:pt idx="2170">
                  <c:v>166.64</c:v>
                </c:pt>
                <c:pt idx="2171">
                  <c:v>164.29</c:v>
                </c:pt>
                <c:pt idx="2172">
                  <c:v>163.18</c:v>
                </c:pt>
                <c:pt idx="2173">
                  <c:v>163.63999999999999</c:v>
                </c:pt>
                <c:pt idx="2174">
                  <c:v>162.33000000000001</c:v>
                </c:pt>
                <c:pt idx="2175">
                  <c:v>163.54</c:v>
                </c:pt>
                <c:pt idx="2176">
                  <c:v>165.55</c:v>
                </c:pt>
                <c:pt idx="2177">
                  <c:v>165.46</c:v>
                </c:pt>
                <c:pt idx="2178">
                  <c:v>166.85000000000016</c:v>
                </c:pt>
                <c:pt idx="2179">
                  <c:v>168.73</c:v>
                </c:pt>
                <c:pt idx="2180">
                  <c:v>170.7</c:v>
                </c:pt>
                <c:pt idx="2181">
                  <c:v>168.1</c:v>
                </c:pt>
                <c:pt idx="2182">
                  <c:v>168.31</c:v>
                </c:pt>
                <c:pt idx="2183">
                  <c:v>167.93</c:v>
                </c:pt>
                <c:pt idx="2184">
                  <c:v>167.73</c:v>
                </c:pt>
                <c:pt idx="2185">
                  <c:v>165.79</c:v>
                </c:pt>
                <c:pt idx="2186">
                  <c:v>165.88000000000017</c:v>
                </c:pt>
                <c:pt idx="2187">
                  <c:v>165.76</c:v>
                </c:pt>
                <c:pt idx="2188">
                  <c:v>165.01</c:v>
                </c:pt>
                <c:pt idx="2189">
                  <c:v>165.01</c:v>
                </c:pt>
                <c:pt idx="2190">
                  <c:v>164.53</c:v>
                </c:pt>
                <c:pt idx="2191">
                  <c:v>166.48000000000016</c:v>
                </c:pt>
                <c:pt idx="2192">
                  <c:v>163.49</c:v>
                </c:pt>
                <c:pt idx="2193">
                  <c:v>165.81</c:v>
                </c:pt>
                <c:pt idx="2194">
                  <c:v>165.16</c:v>
                </c:pt>
                <c:pt idx="2195">
                  <c:v>165.89000000000001</c:v>
                </c:pt>
                <c:pt idx="2196">
                  <c:v>164.6</c:v>
                </c:pt>
                <c:pt idx="2197">
                  <c:v>164.18</c:v>
                </c:pt>
                <c:pt idx="2198">
                  <c:v>163.72999999999999</c:v>
                </c:pt>
                <c:pt idx="2199">
                  <c:v>161.93</c:v>
                </c:pt>
                <c:pt idx="2200">
                  <c:v>161.36000000000001</c:v>
                </c:pt>
                <c:pt idx="2201">
                  <c:v>162.31</c:v>
                </c:pt>
                <c:pt idx="2202">
                  <c:v>164.9</c:v>
                </c:pt>
                <c:pt idx="2203">
                  <c:v>165.32000000000016</c:v>
                </c:pt>
                <c:pt idx="2204">
                  <c:v>165.76</c:v>
                </c:pt>
                <c:pt idx="2205">
                  <c:v>164.33</c:v>
                </c:pt>
                <c:pt idx="2206">
                  <c:v>164.10999999999999</c:v>
                </c:pt>
                <c:pt idx="2207">
                  <c:v>165.37</c:v>
                </c:pt>
                <c:pt idx="2208">
                  <c:v>164.9</c:v>
                </c:pt>
                <c:pt idx="2209">
                  <c:v>167.83</c:v>
                </c:pt>
                <c:pt idx="2210">
                  <c:v>168.04</c:v>
                </c:pt>
                <c:pt idx="2211">
                  <c:v>168.32000000000016</c:v>
                </c:pt>
                <c:pt idx="2212">
                  <c:v>168.70999999999998</c:v>
                </c:pt>
                <c:pt idx="2213">
                  <c:v>169.23999999999998</c:v>
                </c:pt>
                <c:pt idx="2214">
                  <c:v>170.29</c:v>
                </c:pt>
                <c:pt idx="2215">
                  <c:v>170.5</c:v>
                </c:pt>
                <c:pt idx="2216">
                  <c:v>170.2</c:v>
                </c:pt>
                <c:pt idx="2217">
                  <c:v>170.2</c:v>
                </c:pt>
                <c:pt idx="2218">
                  <c:v>170.68</c:v>
                </c:pt>
                <c:pt idx="2219">
                  <c:v>168.02</c:v>
                </c:pt>
                <c:pt idx="2220">
                  <c:v>169.43</c:v>
                </c:pt>
                <c:pt idx="2221">
                  <c:v>170.94</c:v>
                </c:pt>
                <c:pt idx="2222">
                  <c:v>171.44</c:v>
                </c:pt>
                <c:pt idx="2223">
                  <c:v>171.54</c:v>
                </c:pt>
                <c:pt idx="2224">
                  <c:v>170.69</c:v>
                </c:pt>
                <c:pt idx="2225">
                  <c:v>173.04</c:v>
                </c:pt>
                <c:pt idx="2226">
                  <c:v>172.88000000000017</c:v>
                </c:pt>
                <c:pt idx="2227">
                  <c:v>172.9</c:v>
                </c:pt>
                <c:pt idx="2228">
                  <c:v>173.49</c:v>
                </c:pt>
                <c:pt idx="2229">
                  <c:v>171.93</c:v>
                </c:pt>
                <c:pt idx="2230">
                  <c:v>169.01</c:v>
                </c:pt>
                <c:pt idx="2231">
                  <c:v>170.12</c:v>
                </c:pt>
                <c:pt idx="2232">
                  <c:v>169.54</c:v>
                </c:pt>
                <c:pt idx="2233">
                  <c:v>168.3</c:v>
                </c:pt>
                <c:pt idx="2234">
                  <c:v>166.87</c:v>
                </c:pt>
                <c:pt idx="2235">
                  <c:v>169.45000000000007</c:v>
                </c:pt>
                <c:pt idx="2236">
                  <c:v>169.78</c:v>
                </c:pt>
                <c:pt idx="2237">
                  <c:v>168.18</c:v>
                </c:pt>
                <c:pt idx="2238">
                  <c:v>168.84</c:v>
                </c:pt>
                <c:pt idx="2239">
                  <c:v>166.7</c:v>
                </c:pt>
                <c:pt idx="2240">
                  <c:v>168.33</c:v>
                </c:pt>
                <c:pt idx="2241">
                  <c:v>167.49</c:v>
                </c:pt>
                <c:pt idx="2242">
                  <c:v>167.91</c:v>
                </c:pt>
                <c:pt idx="2243">
                  <c:v>168.82000000000016</c:v>
                </c:pt>
                <c:pt idx="2244">
                  <c:v>172.02</c:v>
                </c:pt>
                <c:pt idx="2245">
                  <c:v>172.73</c:v>
                </c:pt>
                <c:pt idx="2246">
                  <c:v>173.35000000000016</c:v>
                </c:pt>
                <c:pt idx="2247">
                  <c:v>176.5</c:v>
                </c:pt>
                <c:pt idx="2248">
                  <c:v>176</c:v>
                </c:pt>
                <c:pt idx="2249">
                  <c:v>176.09</c:v>
                </c:pt>
                <c:pt idx="2250">
                  <c:v>175.3</c:v>
                </c:pt>
                <c:pt idx="2251">
                  <c:v>176.63</c:v>
                </c:pt>
                <c:pt idx="2252">
                  <c:v>177.54</c:v>
                </c:pt>
                <c:pt idx="2253">
                  <c:v>176.7</c:v>
                </c:pt>
                <c:pt idx="2254">
                  <c:v>178.26999999999998</c:v>
                </c:pt>
                <c:pt idx="2255">
                  <c:v>177.65</c:v>
                </c:pt>
                <c:pt idx="2256">
                  <c:v>176.37</c:v>
                </c:pt>
                <c:pt idx="2257">
                  <c:v>176.92000000000004</c:v>
                </c:pt>
                <c:pt idx="2258">
                  <c:v>177.5</c:v>
                </c:pt>
                <c:pt idx="2259">
                  <c:v>177.5</c:v>
                </c:pt>
                <c:pt idx="2260">
                  <c:v>174.78</c:v>
                </c:pt>
                <c:pt idx="2261">
                  <c:v>176.81</c:v>
                </c:pt>
                <c:pt idx="2262">
                  <c:v>179.18</c:v>
                </c:pt>
                <c:pt idx="2263">
                  <c:v>180.97</c:v>
                </c:pt>
                <c:pt idx="2264">
                  <c:v>183.73</c:v>
                </c:pt>
                <c:pt idx="2265">
                  <c:v>183.93</c:v>
                </c:pt>
                <c:pt idx="2266">
                  <c:v>183.99</c:v>
                </c:pt>
                <c:pt idx="2267">
                  <c:v>182.01</c:v>
                </c:pt>
                <c:pt idx="2268">
                  <c:v>183.68</c:v>
                </c:pt>
                <c:pt idx="2269">
                  <c:v>183.59</c:v>
                </c:pt>
                <c:pt idx="2270">
                  <c:v>182.73</c:v>
                </c:pt>
                <c:pt idx="2271">
                  <c:v>183.63</c:v>
                </c:pt>
                <c:pt idx="2272">
                  <c:v>183.51</c:v>
                </c:pt>
                <c:pt idx="2273">
                  <c:v>182.68</c:v>
                </c:pt>
                <c:pt idx="2274">
                  <c:v>183.8</c:v>
                </c:pt>
                <c:pt idx="2275">
                  <c:v>183.67</c:v>
                </c:pt>
                <c:pt idx="2276">
                  <c:v>183.09</c:v>
                </c:pt>
                <c:pt idx="2277">
                  <c:v>182.91</c:v>
                </c:pt>
                <c:pt idx="2278">
                  <c:v>183.42000000000004</c:v>
                </c:pt>
                <c:pt idx="2279">
                  <c:v>182.87</c:v>
                </c:pt>
                <c:pt idx="2280">
                  <c:v>184.10999999999999</c:v>
                </c:pt>
                <c:pt idx="2281">
                  <c:v>184.42000000000004</c:v>
                </c:pt>
                <c:pt idx="2282">
                  <c:v>181.46</c:v>
                </c:pt>
                <c:pt idx="2283">
                  <c:v>180.66</c:v>
                </c:pt>
                <c:pt idx="2284">
                  <c:v>181.68</c:v>
                </c:pt>
                <c:pt idx="2285">
                  <c:v>182.31</c:v>
                </c:pt>
                <c:pt idx="2286">
                  <c:v>182.26</c:v>
                </c:pt>
                <c:pt idx="2287">
                  <c:v>181.05</c:v>
                </c:pt>
                <c:pt idx="2288">
                  <c:v>182.5</c:v>
                </c:pt>
                <c:pt idx="2289">
                  <c:v>184.91</c:v>
                </c:pt>
                <c:pt idx="2290">
                  <c:v>186.44</c:v>
                </c:pt>
                <c:pt idx="2291">
                  <c:v>185.06</c:v>
                </c:pt>
                <c:pt idx="2292">
                  <c:v>185.82000000000016</c:v>
                </c:pt>
                <c:pt idx="2293">
                  <c:v>184.12</c:v>
                </c:pt>
                <c:pt idx="2294">
                  <c:v>182</c:v>
                </c:pt>
                <c:pt idx="2295">
                  <c:v>181.31</c:v>
                </c:pt>
                <c:pt idx="2296">
                  <c:v>182.04</c:v>
                </c:pt>
                <c:pt idx="2297">
                  <c:v>182.63</c:v>
                </c:pt>
                <c:pt idx="2298">
                  <c:v>181</c:v>
                </c:pt>
                <c:pt idx="2299">
                  <c:v>180.7</c:v>
                </c:pt>
                <c:pt idx="2300">
                  <c:v>179.17</c:v>
                </c:pt>
                <c:pt idx="2301">
                  <c:v>179.48000000000016</c:v>
                </c:pt>
                <c:pt idx="2302">
                  <c:v>181.4</c:v>
                </c:pt>
                <c:pt idx="2303">
                  <c:v>181.20999999999998</c:v>
                </c:pt>
                <c:pt idx="2304">
                  <c:v>180.66</c:v>
                </c:pt>
                <c:pt idx="2305">
                  <c:v>178.95000000000007</c:v>
                </c:pt>
                <c:pt idx="2306">
                  <c:v>178.81</c:v>
                </c:pt>
                <c:pt idx="2307">
                  <c:v>177.76999999999998</c:v>
                </c:pt>
                <c:pt idx="2308">
                  <c:v>177.82000000000016</c:v>
                </c:pt>
                <c:pt idx="2309">
                  <c:v>177.76999999999998</c:v>
                </c:pt>
                <c:pt idx="2310">
                  <c:v>176.8</c:v>
                </c:pt>
                <c:pt idx="2311">
                  <c:v>174.35000000000016</c:v>
                </c:pt>
                <c:pt idx="2312">
                  <c:v>174.66</c:v>
                </c:pt>
                <c:pt idx="2313">
                  <c:v>176.45000000000007</c:v>
                </c:pt>
                <c:pt idx="2314">
                  <c:v>179.58</c:v>
                </c:pt>
                <c:pt idx="2315">
                  <c:v>179.65</c:v>
                </c:pt>
                <c:pt idx="2316">
                  <c:v>181.76</c:v>
                </c:pt>
                <c:pt idx="2317">
                  <c:v>182.52</c:v>
                </c:pt>
                <c:pt idx="2318">
                  <c:v>183.57</c:v>
                </c:pt>
                <c:pt idx="2319">
                  <c:v>181.22</c:v>
                </c:pt>
                <c:pt idx="2320">
                  <c:v>181.25</c:v>
                </c:pt>
                <c:pt idx="2321">
                  <c:v>182.84</c:v>
                </c:pt>
                <c:pt idx="2322">
                  <c:v>182.84</c:v>
                </c:pt>
                <c:pt idx="2323">
                  <c:v>182.82000000000016</c:v>
                </c:pt>
                <c:pt idx="2324">
                  <c:v>185.02</c:v>
                </c:pt>
                <c:pt idx="2325">
                  <c:v>184.51</c:v>
                </c:pt>
                <c:pt idx="2326">
                  <c:v>183.13</c:v>
                </c:pt>
                <c:pt idx="2327">
                  <c:v>184.7</c:v>
                </c:pt>
                <c:pt idx="2328">
                  <c:v>183.8</c:v>
                </c:pt>
                <c:pt idx="2329">
                  <c:v>184.19</c:v>
                </c:pt>
                <c:pt idx="2330">
                  <c:v>187.1</c:v>
                </c:pt>
                <c:pt idx="2331">
                  <c:v>186.06</c:v>
                </c:pt>
                <c:pt idx="2332">
                  <c:v>188.25</c:v>
                </c:pt>
                <c:pt idx="2333">
                  <c:v>190.17</c:v>
                </c:pt>
                <c:pt idx="2334">
                  <c:v>193.84</c:v>
                </c:pt>
                <c:pt idx="2335">
                  <c:v>193.38000000000017</c:v>
                </c:pt>
                <c:pt idx="2336">
                  <c:v>194.72</c:v>
                </c:pt>
                <c:pt idx="2337">
                  <c:v>194.26999999999998</c:v>
                </c:pt>
                <c:pt idx="2338">
                  <c:v>194.82000000000016</c:v>
                </c:pt>
                <c:pt idx="2339">
                  <c:v>198.20999999999998</c:v>
                </c:pt>
                <c:pt idx="2340">
                  <c:v>198.73999999999998</c:v>
                </c:pt>
                <c:pt idx="2341">
                  <c:v>198.73999999999998</c:v>
                </c:pt>
                <c:pt idx="2342">
                  <c:v>198.87</c:v>
                </c:pt>
                <c:pt idx="2343">
                  <c:v>199.05</c:v>
                </c:pt>
                <c:pt idx="2344">
                  <c:v>194.49</c:v>
                </c:pt>
                <c:pt idx="2345">
                  <c:v>194.4</c:v>
                </c:pt>
                <c:pt idx="2346">
                  <c:v>194.4</c:v>
                </c:pt>
                <c:pt idx="2347">
                  <c:v>198.38000000000017</c:v>
                </c:pt>
                <c:pt idx="2348">
                  <c:v>201.57</c:v>
                </c:pt>
                <c:pt idx="2349">
                  <c:v>199.14</c:v>
                </c:pt>
                <c:pt idx="2350">
                  <c:v>197.33</c:v>
                </c:pt>
                <c:pt idx="2351">
                  <c:v>197.23</c:v>
                </c:pt>
                <c:pt idx="2352">
                  <c:v>200.54</c:v>
                </c:pt>
                <c:pt idx="2353">
                  <c:v>198.82000000000016</c:v>
                </c:pt>
                <c:pt idx="2354">
                  <c:v>199.62</c:v>
                </c:pt>
                <c:pt idx="2355">
                  <c:v>199.86</c:v>
                </c:pt>
                <c:pt idx="2356">
                  <c:v>202.03</c:v>
                </c:pt>
                <c:pt idx="2357">
                  <c:v>203.59</c:v>
                </c:pt>
                <c:pt idx="2358">
                  <c:v>203.85000000000016</c:v>
                </c:pt>
                <c:pt idx="2359">
                  <c:v>203.85000000000016</c:v>
                </c:pt>
                <c:pt idx="2360">
                  <c:v>204.23</c:v>
                </c:pt>
                <c:pt idx="2361">
                  <c:v>204.88000000000017</c:v>
                </c:pt>
                <c:pt idx="2362">
                  <c:v>204.23999999999998</c:v>
                </c:pt>
                <c:pt idx="2363">
                  <c:v>206.70999999999998</c:v>
                </c:pt>
                <c:pt idx="2364">
                  <c:v>204.58</c:v>
                </c:pt>
                <c:pt idx="2365">
                  <c:v>206.10999999999999</c:v>
                </c:pt>
                <c:pt idx="2366">
                  <c:v>209.41</c:v>
                </c:pt>
                <c:pt idx="2367">
                  <c:v>210.8</c:v>
                </c:pt>
                <c:pt idx="2368">
                  <c:v>210.60999999999999</c:v>
                </c:pt>
                <c:pt idx="2369">
                  <c:v>209.51</c:v>
                </c:pt>
                <c:pt idx="2370">
                  <c:v>211.3</c:v>
                </c:pt>
                <c:pt idx="2371">
                  <c:v>211.73999999999998</c:v>
                </c:pt>
                <c:pt idx="2372">
                  <c:v>212.09</c:v>
                </c:pt>
                <c:pt idx="2373">
                  <c:v>215.10999999999999</c:v>
                </c:pt>
                <c:pt idx="2374">
                  <c:v>214.32000000000016</c:v>
                </c:pt>
                <c:pt idx="2375">
                  <c:v>216.22</c:v>
                </c:pt>
                <c:pt idx="2376">
                  <c:v>214.20999999999998</c:v>
                </c:pt>
                <c:pt idx="2377">
                  <c:v>214.12</c:v>
                </c:pt>
                <c:pt idx="2378">
                  <c:v>215.4</c:v>
                </c:pt>
                <c:pt idx="2379">
                  <c:v>215.4</c:v>
                </c:pt>
                <c:pt idx="2380">
                  <c:v>214.92000000000004</c:v>
                </c:pt>
                <c:pt idx="2381">
                  <c:v>216.06</c:v>
                </c:pt>
                <c:pt idx="2382">
                  <c:v>213.65</c:v>
                </c:pt>
                <c:pt idx="2383">
                  <c:v>216.78</c:v>
                </c:pt>
                <c:pt idx="2384">
                  <c:v>221.56</c:v>
                </c:pt>
                <c:pt idx="2385">
                  <c:v>216.76</c:v>
                </c:pt>
                <c:pt idx="2386">
                  <c:v>222.67</c:v>
                </c:pt>
                <c:pt idx="2387">
                  <c:v>221.07</c:v>
                </c:pt>
                <c:pt idx="2388">
                  <c:v>221.97</c:v>
                </c:pt>
                <c:pt idx="2389">
                  <c:v>218.10999999999999</c:v>
                </c:pt>
                <c:pt idx="2390">
                  <c:v>219.23999999999998</c:v>
                </c:pt>
                <c:pt idx="2391">
                  <c:v>218.6</c:v>
                </c:pt>
                <c:pt idx="2392">
                  <c:v>219.7</c:v>
                </c:pt>
                <c:pt idx="2393">
                  <c:v>223.1</c:v>
                </c:pt>
                <c:pt idx="2394">
                  <c:v>221.38000000000017</c:v>
                </c:pt>
                <c:pt idx="2395">
                  <c:v>218.99</c:v>
                </c:pt>
                <c:pt idx="2396">
                  <c:v>219.33</c:v>
                </c:pt>
                <c:pt idx="2397">
                  <c:v>214.37</c:v>
                </c:pt>
                <c:pt idx="2398">
                  <c:v>212.49</c:v>
                </c:pt>
                <c:pt idx="2399">
                  <c:v>209.9</c:v>
                </c:pt>
                <c:pt idx="2400">
                  <c:v>205.2</c:v>
                </c:pt>
                <c:pt idx="2401">
                  <c:v>204.06</c:v>
                </c:pt>
                <c:pt idx="2402">
                  <c:v>201.9</c:v>
                </c:pt>
                <c:pt idx="2403">
                  <c:v>198.67</c:v>
                </c:pt>
                <c:pt idx="2404">
                  <c:v>201.05</c:v>
                </c:pt>
                <c:pt idx="2405">
                  <c:v>198.79</c:v>
                </c:pt>
                <c:pt idx="2406">
                  <c:v>199.19</c:v>
                </c:pt>
                <c:pt idx="2407">
                  <c:v>202.1</c:v>
                </c:pt>
                <c:pt idx="2408">
                  <c:v>202.06</c:v>
                </c:pt>
                <c:pt idx="2409">
                  <c:v>204.23999999999998</c:v>
                </c:pt>
                <c:pt idx="2410">
                  <c:v>201.79</c:v>
                </c:pt>
                <c:pt idx="2411">
                  <c:v>200.07</c:v>
                </c:pt>
                <c:pt idx="2412">
                  <c:v>199.88000000000017</c:v>
                </c:pt>
                <c:pt idx="2413">
                  <c:v>199.81</c:v>
                </c:pt>
                <c:pt idx="2414">
                  <c:v>200.12</c:v>
                </c:pt>
                <c:pt idx="2415">
                  <c:v>200.04</c:v>
                </c:pt>
                <c:pt idx="2416">
                  <c:v>202.60999999999999</c:v>
                </c:pt>
                <c:pt idx="2417">
                  <c:v>199.95000000000007</c:v>
                </c:pt>
                <c:pt idx="2418">
                  <c:v>201.15</c:v>
                </c:pt>
                <c:pt idx="2419">
                  <c:v>200.60999999999999</c:v>
                </c:pt>
                <c:pt idx="2420">
                  <c:v>203.06</c:v>
                </c:pt>
                <c:pt idx="2421">
                  <c:v>203.26</c:v>
                </c:pt>
                <c:pt idx="2422">
                  <c:v>206.85000000000016</c:v>
                </c:pt>
                <c:pt idx="2423">
                  <c:v>206.85000000000016</c:v>
                </c:pt>
                <c:pt idx="2424">
                  <c:v>208.2</c:v>
                </c:pt>
                <c:pt idx="2425">
                  <c:v>206.39000000000001</c:v>
                </c:pt>
                <c:pt idx="2426">
                  <c:v>202.46</c:v>
                </c:pt>
                <c:pt idx="2427">
                  <c:v>201.81</c:v>
                </c:pt>
                <c:pt idx="2428">
                  <c:v>201.35000000000016</c:v>
                </c:pt>
                <c:pt idx="2429">
                  <c:v>197.95000000000007</c:v>
                </c:pt>
                <c:pt idx="2430">
                  <c:v>197.79</c:v>
                </c:pt>
                <c:pt idx="2431">
                  <c:v>199.95000000000007</c:v>
                </c:pt>
                <c:pt idx="2432">
                  <c:v>200.76999999999998</c:v>
                </c:pt>
                <c:pt idx="2433">
                  <c:v>198.79</c:v>
                </c:pt>
                <c:pt idx="2434">
                  <c:v>201.06</c:v>
                </c:pt>
                <c:pt idx="2435">
                  <c:v>199.52</c:v>
                </c:pt>
                <c:pt idx="2436">
                  <c:v>200.49</c:v>
                </c:pt>
                <c:pt idx="2437">
                  <c:v>202.73999999999998</c:v>
                </c:pt>
                <c:pt idx="2438">
                  <c:v>205.69</c:v>
                </c:pt>
                <c:pt idx="2439">
                  <c:v>206.13</c:v>
                </c:pt>
                <c:pt idx="2440">
                  <c:v>208.73999999999998</c:v>
                </c:pt>
                <c:pt idx="2441">
                  <c:v>210.6</c:v>
                </c:pt>
                <c:pt idx="2442">
                  <c:v>209.16</c:v>
                </c:pt>
                <c:pt idx="2443">
                  <c:v>210.17</c:v>
                </c:pt>
                <c:pt idx="2444">
                  <c:v>208.29</c:v>
                </c:pt>
                <c:pt idx="2445">
                  <c:v>208.8</c:v>
                </c:pt>
                <c:pt idx="2446">
                  <c:v>210.42000000000004</c:v>
                </c:pt>
                <c:pt idx="2447">
                  <c:v>209.70999999999998</c:v>
                </c:pt>
                <c:pt idx="2448">
                  <c:v>210.32000000000016</c:v>
                </c:pt>
                <c:pt idx="2449">
                  <c:v>210.32000000000016</c:v>
                </c:pt>
                <c:pt idx="2450">
                  <c:v>208.98000000000016</c:v>
                </c:pt>
                <c:pt idx="2451">
                  <c:v>206.43</c:v>
                </c:pt>
                <c:pt idx="2452">
                  <c:v>207.36</c:v>
                </c:pt>
                <c:pt idx="2453">
                  <c:v>208.64</c:v>
                </c:pt>
                <c:pt idx="2454">
                  <c:v>212.1</c:v>
                </c:pt>
                <c:pt idx="2455">
                  <c:v>210.83</c:v>
                </c:pt>
                <c:pt idx="2456">
                  <c:v>209.1</c:v>
                </c:pt>
                <c:pt idx="2457">
                  <c:v>211.03</c:v>
                </c:pt>
                <c:pt idx="2458">
                  <c:v>212.96</c:v>
                </c:pt>
                <c:pt idx="2459">
                  <c:v>212.18</c:v>
                </c:pt>
                <c:pt idx="2460">
                  <c:v>213.1</c:v>
                </c:pt>
                <c:pt idx="2461">
                  <c:v>214.46</c:v>
                </c:pt>
                <c:pt idx="2462">
                  <c:v>211.23</c:v>
                </c:pt>
                <c:pt idx="2463">
                  <c:v>207.88000000000017</c:v>
                </c:pt>
                <c:pt idx="2464">
                  <c:v>208.38000000000017</c:v>
                </c:pt>
                <c:pt idx="2465">
                  <c:v>209.65</c:v>
                </c:pt>
                <c:pt idx="2466">
                  <c:v>208.06</c:v>
                </c:pt>
                <c:pt idx="2467">
                  <c:v>207.31</c:v>
                </c:pt>
                <c:pt idx="2468">
                  <c:v>209.02</c:v>
                </c:pt>
                <c:pt idx="2469">
                  <c:v>207.43</c:v>
                </c:pt>
                <c:pt idx="2470">
                  <c:v>205.82000000000016</c:v>
                </c:pt>
                <c:pt idx="2471">
                  <c:v>209.33</c:v>
                </c:pt>
                <c:pt idx="2472">
                  <c:v>205.47</c:v>
                </c:pt>
                <c:pt idx="2473">
                  <c:v>206.94</c:v>
                </c:pt>
                <c:pt idx="2474">
                  <c:v>208.88000000000017</c:v>
                </c:pt>
                <c:pt idx="2475">
                  <c:v>209.86</c:v>
                </c:pt>
                <c:pt idx="2476">
                  <c:v>210.4</c:v>
                </c:pt>
                <c:pt idx="2477">
                  <c:v>209.92000000000004</c:v>
                </c:pt>
                <c:pt idx="2478">
                  <c:v>209.92000000000004</c:v>
                </c:pt>
                <c:pt idx="2479">
                  <c:v>210.41</c:v>
                </c:pt>
                <c:pt idx="2480">
                  <c:v>211.3</c:v>
                </c:pt>
                <c:pt idx="2481">
                  <c:v>213.26</c:v>
                </c:pt>
                <c:pt idx="2482">
                  <c:v>211.26999999999998</c:v>
                </c:pt>
                <c:pt idx="2483">
                  <c:v>211.6</c:v>
                </c:pt>
                <c:pt idx="2484">
                  <c:v>212</c:v>
                </c:pt>
                <c:pt idx="2485">
                  <c:v>210.85000000000016</c:v>
                </c:pt>
                <c:pt idx="2486">
                  <c:v>209.28</c:v>
                </c:pt>
                <c:pt idx="2487">
                  <c:v>210.08</c:v>
                </c:pt>
                <c:pt idx="2488">
                  <c:v>210.8</c:v>
                </c:pt>
                <c:pt idx="2489">
                  <c:v>210.2</c:v>
                </c:pt>
                <c:pt idx="2490">
                  <c:v>206.09</c:v>
                </c:pt>
                <c:pt idx="2491">
                  <c:v>207.14</c:v>
                </c:pt>
                <c:pt idx="2492">
                  <c:v>208.79</c:v>
                </c:pt>
                <c:pt idx="2493">
                  <c:v>209.54</c:v>
                </c:pt>
                <c:pt idx="2494">
                  <c:v>210.28</c:v>
                </c:pt>
                <c:pt idx="2495">
                  <c:v>210.95000000000007</c:v>
                </c:pt>
                <c:pt idx="2496">
                  <c:v>211.23</c:v>
                </c:pt>
                <c:pt idx="2497">
                  <c:v>211.42000000000004</c:v>
                </c:pt>
                <c:pt idx="2498">
                  <c:v>216.07</c:v>
                </c:pt>
                <c:pt idx="2499">
                  <c:v>214.3</c:v>
                </c:pt>
                <c:pt idx="2500">
                  <c:v>214.79</c:v>
                </c:pt>
                <c:pt idx="2501">
                  <c:v>214.32000000000016</c:v>
                </c:pt>
                <c:pt idx="2502">
                  <c:v>216.64</c:v>
                </c:pt>
                <c:pt idx="2503">
                  <c:v>215.93</c:v>
                </c:pt>
                <c:pt idx="2504">
                  <c:v>215.72</c:v>
                </c:pt>
                <c:pt idx="2505">
                  <c:v>216.08</c:v>
                </c:pt>
                <c:pt idx="2506">
                  <c:v>214.44</c:v>
                </c:pt>
                <c:pt idx="2507">
                  <c:v>214.2</c:v>
                </c:pt>
                <c:pt idx="2508">
                  <c:v>213.43</c:v>
                </c:pt>
                <c:pt idx="2509">
                  <c:v>214.96</c:v>
                </c:pt>
                <c:pt idx="2510">
                  <c:v>214.49</c:v>
                </c:pt>
                <c:pt idx="2511">
                  <c:v>217.26</c:v>
                </c:pt>
                <c:pt idx="2512">
                  <c:v>219.82000000000016</c:v>
                </c:pt>
                <c:pt idx="2513">
                  <c:v>220.63</c:v>
                </c:pt>
                <c:pt idx="2514">
                  <c:v>219.5</c:v>
                </c:pt>
                <c:pt idx="2515">
                  <c:v>220.56</c:v>
                </c:pt>
                <c:pt idx="2516">
                  <c:v>218.6</c:v>
                </c:pt>
                <c:pt idx="2517">
                  <c:v>219.73</c:v>
                </c:pt>
                <c:pt idx="2518">
                  <c:v>220.49</c:v>
                </c:pt>
                <c:pt idx="2519">
                  <c:v>220.49</c:v>
                </c:pt>
                <c:pt idx="2520">
                  <c:v>214.73999999999998</c:v>
                </c:pt>
                <c:pt idx="2521">
                  <c:v>215.42000000000004</c:v>
                </c:pt>
                <c:pt idx="2522">
                  <c:v>215.1</c:v>
                </c:pt>
                <c:pt idx="2523">
                  <c:v>215.70999999999998</c:v>
                </c:pt>
                <c:pt idx="2524">
                  <c:v>215.92000000000004</c:v>
                </c:pt>
                <c:pt idx="2525">
                  <c:v>216.73</c:v>
                </c:pt>
                <c:pt idx="2526">
                  <c:v>217.76999999999998</c:v>
                </c:pt>
                <c:pt idx="2527">
                  <c:v>216.72</c:v>
                </c:pt>
                <c:pt idx="2528">
                  <c:v>214.5</c:v>
                </c:pt>
                <c:pt idx="2529">
                  <c:v>213.10999999999999</c:v>
                </c:pt>
                <c:pt idx="2530">
                  <c:v>210.04</c:v>
                </c:pt>
                <c:pt idx="2531">
                  <c:v>209.43</c:v>
                </c:pt>
                <c:pt idx="2532">
                  <c:v>208.99</c:v>
                </c:pt>
                <c:pt idx="2533">
                  <c:v>209.41</c:v>
                </c:pt>
                <c:pt idx="2534">
                  <c:v>210.82000000000016</c:v>
                </c:pt>
                <c:pt idx="2535">
                  <c:v>211.18</c:v>
                </c:pt>
                <c:pt idx="2536">
                  <c:v>214.78</c:v>
                </c:pt>
                <c:pt idx="2537">
                  <c:v>214.69</c:v>
                </c:pt>
                <c:pt idx="2538">
                  <c:v>212.95000000000007</c:v>
                </c:pt>
                <c:pt idx="2539">
                  <c:v>215.56</c:v>
                </c:pt>
                <c:pt idx="2540">
                  <c:v>217.29</c:v>
                </c:pt>
                <c:pt idx="2541">
                  <c:v>217.65</c:v>
                </c:pt>
                <c:pt idx="2542">
                  <c:v>219.14</c:v>
                </c:pt>
                <c:pt idx="2543">
                  <c:v>220.13</c:v>
                </c:pt>
                <c:pt idx="2544">
                  <c:v>220.38000000000017</c:v>
                </c:pt>
                <c:pt idx="2545">
                  <c:v>221.92000000000004</c:v>
                </c:pt>
                <c:pt idx="2546">
                  <c:v>220.6</c:v>
                </c:pt>
                <c:pt idx="2547">
                  <c:v>224.87</c:v>
                </c:pt>
                <c:pt idx="2548">
                  <c:v>228.02</c:v>
                </c:pt>
                <c:pt idx="2549">
                  <c:v>229.23999999999998</c:v>
                </c:pt>
                <c:pt idx="2550">
                  <c:v>228.26</c:v>
                </c:pt>
                <c:pt idx="2551">
                  <c:v>228.53</c:v>
                </c:pt>
                <c:pt idx="2552">
                  <c:v>227.01</c:v>
                </c:pt>
                <c:pt idx="2553">
                  <c:v>223.36</c:v>
                </c:pt>
                <c:pt idx="2554">
                  <c:v>222.70999999999998</c:v>
                </c:pt>
                <c:pt idx="2555">
                  <c:v>223.23999999999998</c:v>
                </c:pt>
                <c:pt idx="2556">
                  <c:v>223.02</c:v>
                </c:pt>
                <c:pt idx="2557">
                  <c:v>225.76999999999998</c:v>
                </c:pt>
                <c:pt idx="2558">
                  <c:v>226.02</c:v>
                </c:pt>
                <c:pt idx="2559">
                  <c:v>225.67</c:v>
                </c:pt>
                <c:pt idx="2560">
                  <c:v>224.96</c:v>
                </c:pt>
                <c:pt idx="2561">
                  <c:v>224.91</c:v>
                </c:pt>
                <c:pt idx="2562">
                  <c:v>222.59</c:v>
                </c:pt>
                <c:pt idx="2563">
                  <c:v>223.72</c:v>
                </c:pt>
                <c:pt idx="2564">
                  <c:v>221.41</c:v>
                </c:pt>
                <c:pt idx="2565">
                  <c:v>221.56</c:v>
                </c:pt>
                <c:pt idx="2566">
                  <c:v>226.51</c:v>
                </c:pt>
                <c:pt idx="2567">
                  <c:v>224.93</c:v>
                </c:pt>
                <c:pt idx="2568">
                  <c:v>227.57</c:v>
                </c:pt>
                <c:pt idx="2569">
                  <c:v>227.26999999999998</c:v>
                </c:pt>
                <c:pt idx="2570">
                  <c:v>229.08</c:v>
                </c:pt>
                <c:pt idx="2571">
                  <c:v>229.78</c:v>
                </c:pt>
                <c:pt idx="2572">
                  <c:v>232.08</c:v>
                </c:pt>
                <c:pt idx="2573">
                  <c:v>234.73999999999998</c:v>
                </c:pt>
                <c:pt idx="2574">
                  <c:v>230.78</c:v>
                </c:pt>
                <c:pt idx="2575">
                  <c:v>234.56</c:v>
                </c:pt>
                <c:pt idx="2576">
                  <c:v>231.76</c:v>
                </c:pt>
                <c:pt idx="2577">
                  <c:v>229.85000000000016</c:v>
                </c:pt>
                <c:pt idx="2578">
                  <c:v>228.62</c:v>
                </c:pt>
                <c:pt idx="2579">
                  <c:v>223.14</c:v>
                </c:pt>
                <c:pt idx="2580">
                  <c:v>222.73999999999998</c:v>
                </c:pt>
                <c:pt idx="2581">
                  <c:v>225.62</c:v>
                </c:pt>
                <c:pt idx="2582">
                  <c:v>225.62</c:v>
                </c:pt>
                <c:pt idx="2583">
                  <c:v>225.62</c:v>
                </c:pt>
                <c:pt idx="2584">
                  <c:v>229.39000000000001</c:v>
                </c:pt>
                <c:pt idx="2585">
                  <c:v>233.5</c:v>
                </c:pt>
                <c:pt idx="2586">
                  <c:v>235.53</c:v>
                </c:pt>
                <c:pt idx="2587">
                  <c:v>236.82000000000016</c:v>
                </c:pt>
                <c:pt idx="2588">
                  <c:v>235.22</c:v>
                </c:pt>
                <c:pt idx="2589">
                  <c:v>241.05</c:v>
                </c:pt>
                <c:pt idx="2590">
                  <c:v>241.02</c:v>
                </c:pt>
                <c:pt idx="2591">
                  <c:v>240.62</c:v>
                </c:pt>
                <c:pt idx="2592">
                  <c:v>239.57</c:v>
                </c:pt>
                <c:pt idx="2593">
                  <c:v>244.65</c:v>
                </c:pt>
                <c:pt idx="2594">
                  <c:v>243.79</c:v>
                </c:pt>
                <c:pt idx="2595">
                  <c:v>242.33</c:v>
                </c:pt>
                <c:pt idx="2596">
                  <c:v>244.69</c:v>
                </c:pt>
                <c:pt idx="2597">
                  <c:v>245.42000000000004</c:v>
                </c:pt>
                <c:pt idx="2598">
                  <c:v>243.55</c:v>
                </c:pt>
                <c:pt idx="2599">
                  <c:v>237.95000000000007</c:v>
                </c:pt>
                <c:pt idx="2600">
                  <c:v>237.92000000000004</c:v>
                </c:pt>
                <c:pt idx="2601">
                  <c:v>240.28</c:v>
                </c:pt>
                <c:pt idx="2602">
                  <c:v>240.28</c:v>
                </c:pt>
                <c:pt idx="2603">
                  <c:v>240.28</c:v>
                </c:pt>
                <c:pt idx="2604">
                  <c:v>239.53</c:v>
                </c:pt>
                <c:pt idx="2605">
                  <c:v>240.69</c:v>
                </c:pt>
                <c:pt idx="2606">
                  <c:v>238.99</c:v>
                </c:pt>
                <c:pt idx="2607">
                  <c:v>238.99</c:v>
                </c:pt>
                <c:pt idx="2608">
                  <c:v>238.99</c:v>
                </c:pt>
                <c:pt idx="2609">
                  <c:v>246.70999999999998</c:v>
                </c:pt>
                <c:pt idx="2610">
                  <c:v>247.19</c:v>
                </c:pt>
                <c:pt idx="2611">
                  <c:v>246.63</c:v>
                </c:pt>
                <c:pt idx="2612">
                  <c:v>249.17</c:v>
                </c:pt>
                <c:pt idx="2613">
                  <c:v>251.5</c:v>
                </c:pt>
                <c:pt idx="2614">
                  <c:v>252.59</c:v>
                </c:pt>
                <c:pt idx="2615">
                  <c:v>250.26</c:v>
                </c:pt>
                <c:pt idx="2616">
                  <c:v>249.55</c:v>
                </c:pt>
                <c:pt idx="2617">
                  <c:v>244.03</c:v>
                </c:pt>
                <c:pt idx="2618">
                  <c:v>249.22</c:v>
                </c:pt>
                <c:pt idx="2619">
                  <c:v>249.22</c:v>
                </c:pt>
                <c:pt idx="2620">
                  <c:v>253.56</c:v>
                </c:pt>
                <c:pt idx="2621">
                  <c:v>253.16</c:v>
                </c:pt>
                <c:pt idx="2622">
                  <c:v>253.83</c:v>
                </c:pt>
                <c:pt idx="2623">
                  <c:v>252.86</c:v>
                </c:pt>
                <c:pt idx="2624">
                  <c:v>250.94</c:v>
                </c:pt>
                <c:pt idx="2625">
                  <c:v>249.60999999999999</c:v>
                </c:pt>
                <c:pt idx="2626">
                  <c:v>247.3</c:v>
                </c:pt>
                <c:pt idx="2627">
                  <c:v>243.59</c:v>
                </c:pt>
                <c:pt idx="2628">
                  <c:v>245.03</c:v>
                </c:pt>
                <c:pt idx="2629">
                  <c:v>247.78</c:v>
                </c:pt>
                <c:pt idx="2630">
                  <c:v>247.20999999999998</c:v>
                </c:pt>
                <c:pt idx="2631">
                  <c:v>244.38000000000017</c:v>
                </c:pt>
                <c:pt idx="2632">
                  <c:v>245.37</c:v>
                </c:pt>
                <c:pt idx="2633">
                  <c:v>244.62</c:v>
                </c:pt>
                <c:pt idx="2634">
                  <c:v>245.60999999999999</c:v>
                </c:pt>
                <c:pt idx="2635">
                  <c:v>247.52</c:v>
                </c:pt>
                <c:pt idx="2636">
                  <c:v>248.81</c:v>
                </c:pt>
                <c:pt idx="2637">
                  <c:v>250.48000000000016</c:v>
                </c:pt>
                <c:pt idx="2638">
                  <c:v>252.17</c:v>
                </c:pt>
                <c:pt idx="2639">
                  <c:v>252.17</c:v>
                </c:pt>
                <c:pt idx="2640">
                  <c:v>255.39000000000001</c:v>
                </c:pt>
                <c:pt idx="2641">
                  <c:v>253.43</c:v>
                </c:pt>
                <c:pt idx="2642">
                  <c:v>254</c:v>
                </c:pt>
                <c:pt idx="2643">
                  <c:v>251.96</c:v>
                </c:pt>
                <c:pt idx="2644">
                  <c:v>252.67</c:v>
                </c:pt>
                <c:pt idx="2645">
                  <c:v>255.88000000000017</c:v>
                </c:pt>
                <c:pt idx="2646">
                  <c:v>258.91999999999967</c:v>
                </c:pt>
                <c:pt idx="2647">
                  <c:v>261.55</c:v>
                </c:pt>
                <c:pt idx="2648">
                  <c:v>263.28999999999968</c:v>
                </c:pt>
                <c:pt idx="2649">
                  <c:v>266.85000000000002</c:v>
                </c:pt>
                <c:pt idx="2650">
                  <c:v>263.56</c:v>
                </c:pt>
                <c:pt idx="2651">
                  <c:v>258.33</c:v>
                </c:pt>
                <c:pt idx="2652">
                  <c:v>260.44</c:v>
                </c:pt>
                <c:pt idx="2653">
                  <c:v>263.04000000000002</c:v>
                </c:pt>
                <c:pt idx="2654">
                  <c:v>259.28999999999968</c:v>
                </c:pt>
                <c:pt idx="2655">
                  <c:v>258.45999999999964</c:v>
                </c:pt>
                <c:pt idx="2656">
                  <c:v>257.77999999999969</c:v>
                </c:pt>
                <c:pt idx="2657">
                  <c:v>263.26</c:v>
                </c:pt>
                <c:pt idx="2658">
                  <c:v>260.92999999999961</c:v>
                </c:pt>
                <c:pt idx="2659">
                  <c:v>266.27</c:v>
                </c:pt>
                <c:pt idx="2660">
                  <c:v>267.78999999999968</c:v>
                </c:pt>
                <c:pt idx="2661">
                  <c:v>269.81</c:v>
                </c:pt>
                <c:pt idx="2662">
                  <c:v>270.55</c:v>
                </c:pt>
                <c:pt idx="2663">
                  <c:v>270.76</c:v>
                </c:pt>
                <c:pt idx="2664">
                  <c:v>270.56</c:v>
                </c:pt>
                <c:pt idx="2665">
                  <c:v>270.66000000000008</c:v>
                </c:pt>
                <c:pt idx="2666">
                  <c:v>268.7</c:v>
                </c:pt>
                <c:pt idx="2667">
                  <c:v>262.52</c:v>
                </c:pt>
                <c:pt idx="2668">
                  <c:v>263.07</c:v>
                </c:pt>
                <c:pt idx="2669">
                  <c:v>262.44</c:v>
                </c:pt>
                <c:pt idx="2670">
                  <c:v>267.14000000000033</c:v>
                </c:pt>
                <c:pt idx="2671">
                  <c:v>267.63</c:v>
                </c:pt>
                <c:pt idx="2672">
                  <c:v>263.82</c:v>
                </c:pt>
                <c:pt idx="2673">
                  <c:v>263.78999999999968</c:v>
                </c:pt>
                <c:pt idx="2674">
                  <c:v>262.02</c:v>
                </c:pt>
                <c:pt idx="2675">
                  <c:v>264.10000000000002</c:v>
                </c:pt>
                <c:pt idx="2676">
                  <c:v>267.63</c:v>
                </c:pt>
                <c:pt idx="2677">
                  <c:v>269.95999999999964</c:v>
                </c:pt>
                <c:pt idx="2678">
                  <c:v>269.95999999999964</c:v>
                </c:pt>
                <c:pt idx="2679">
                  <c:v>270.19</c:v>
                </c:pt>
                <c:pt idx="2680">
                  <c:v>265.63</c:v>
                </c:pt>
                <c:pt idx="2681">
                  <c:v>267.19</c:v>
                </c:pt>
                <c:pt idx="2682">
                  <c:v>266.89999999999969</c:v>
                </c:pt>
                <c:pt idx="2683">
                  <c:v>267.17</c:v>
                </c:pt>
                <c:pt idx="2684">
                  <c:v>266.37</c:v>
                </c:pt>
                <c:pt idx="2685">
                  <c:v>264.48999999999961</c:v>
                </c:pt>
                <c:pt idx="2686">
                  <c:v>258.92999999999961</c:v>
                </c:pt>
                <c:pt idx="2687">
                  <c:v>261.64000000000033</c:v>
                </c:pt>
                <c:pt idx="2688">
                  <c:v>261.62</c:v>
                </c:pt>
                <c:pt idx="2689">
                  <c:v>263.89999999999969</c:v>
                </c:pt>
                <c:pt idx="2690">
                  <c:v>267.2</c:v>
                </c:pt>
                <c:pt idx="2691">
                  <c:v>264.10000000000002</c:v>
                </c:pt>
                <c:pt idx="2692">
                  <c:v>265.39</c:v>
                </c:pt>
                <c:pt idx="2693">
                  <c:v>265.63</c:v>
                </c:pt>
                <c:pt idx="2694">
                  <c:v>269.57</c:v>
                </c:pt>
                <c:pt idx="2695">
                  <c:v>272.95999999999964</c:v>
                </c:pt>
                <c:pt idx="2696">
                  <c:v>273.83999999999969</c:v>
                </c:pt>
                <c:pt idx="2697">
                  <c:v>272.31</c:v>
                </c:pt>
                <c:pt idx="2698">
                  <c:v>273.17</c:v>
                </c:pt>
                <c:pt idx="2699">
                  <c:v>268.31</c:v>
                </c:pt>
                <c:pt idx="2700">
                  <c:v>271.83999999999969</c:v>
                </c:pt>
                <c:pt idx="2701">
                  <c:v>272.7</c:v>
                </c:pt>
                <c:pt idx="2702">
                  <c:v>273.32</c:v>
                </c:pt>
                <c:pt idx="2703">
                  <c:v>272.61</c:v>
                </c:pt>
                <c:pt idx="2704">
                  <c:v>271.38</c:v>
                </c:pt>
                <c:pt idx="2705">
                  <c:v>268.94</c:v>
                </c:pt>
                <c:pt idx="2706">
                  <c:v>275.01</c:v>
                </c:pt>
                <c:pt idx="2707">
                  <c:v>271.97000000000003</c:v>
                </c:pt>
                <c:pt idx="2708">
                  <c:v>270.97999999999968</c:v>
                </c:pt>
                <c:pt idx="2709">
                  <c:v>277.56</c:v>
                </c:pt>
                <c:pt idx="2710">
                  <c:v>277.26</c:v>
                </c:pt>
                <c:pt idx="2711">
                  <c:v>276.54000000000002</c:v>
                </c:pt>
                <c:pt idx="2712">
                  <c:v>274.11</c:v>
                </c:pt>
                <c:pt idx="2713">
                  <c:v>276.83999999999969</c:v>
                </c:pt>
                <c:pt idx="2714">
                  <c:v>276.83999999999969</c:v>
                </c:pt>
                <c:pt idx="2715">
                  <c:v>284.02999999999969</c:v>
                </c:pt>
                <c:pt idx="2716">
                  <c:v>276.01</c:v>
                </c:pt>
                <c:pt idx="2717">
                  <c:v>272.27999999999969</c:v>
                </c:pt>
                <c:pt idx="2718">
                  <c:v>270.42999999999961</c:v>
                </c:pt>
                <c:pt idx="2719">
                  <c:v>271.02999999999969</c:v>
                </c:pt>
                <c:pt idx="2720">
                  <c:v>266.61</c:v>
                </c:pt>
                <c:pt idx="2721">
                  <c:v>266.48999999999961</c:v>
                </c:pt>
                <c:pt idx="2722">
                  <c:v>267.47000000000003</c:v>
                </c:pt>
                <c:pt idx="2723">
                  <c:v>267.47000000000003</c:v>
                </c:pt>
                <c:pt idx="2724">
                  <c:v>264.42999999999961</c:v>
                </c:pt>
                <c:pt idx="2725">
                  <c:v>263.07</c:v>
                </c:pt>
                <c:pt idx="2726">
                  <c:v>264.97999999999968</c:v>
                </c:pt>
                <c:pt idx="2727">
                  <c:v>269.13</c:v>
                </c:pt>
                <c:pt idx="2728">
                  <c:v>268.74</c:v>
                </c:pt>
                <c:pt idx="2729">
                  <c:v>265.89</c:v>
                </c:pt>
                <c:pt idx="2730">
                  <c:v>265.92999999999961</c:v>
                </c:pt>
                <c:pt idx="2731">
                  <c:v>266.72999999999968</c:v>
                </c:pt>
                <c:pt idx="2732">
                  <c:v>269.57</c:v>
                </c:pt>
                <c:pt idx="2733">
                  <c:v>268.35000000000002</c:v>
                </c:pt>
                <c:pt idx="2734">
                  <c:v>262.58999999999969</c:v>
                </c:pt>
                <c:pt idx="2735">
                  <c:v>260.55</c:v>
                </c:pt>
                <c:pt idx="2736">
                  <c:v>262.60000000000002</c:v>
                </c:pt>
                <c:pt idx="2737">
                  <c:v>267.06</c:v>
                </c:pt>
                <c:pt idx="2738">
                  <c:v>265.62</c:v>
                </c:pt>
                <c:pt idx="2739">
                  <c:v>265.62</c:v>
                </c:pt>
                <c:pt idx="2740">
                  <c:v>269.41000000000003</c:v>
                </c:pt>
                <c:pt idx="2741">
                  <c:v>270.52</c:v>
                </c:pt>
                <c:pt idx="2742">
                  <c:v>272.25</c:v>
                </c:pt>
                <c:pt idx="2743">
                  <c:v>271.5</c:v>
                </c:pt>
                <c:pt idx="2744">
                  <c:v>269.27</c:v>
                </c:pt>
                <c:pt idx="2745">
                  <c:v>268.05</c:v>
                </c:pt>
                <c:pt idx="2746">
                  <c:v>273.70999999999964</c:v>
                </c:pt>
                <c:pt idx="2747">
                  <c:v>272.42999999999961</c:v>
                </c:pt>
                <c:pt idx="2748">
                  <c:v>272.78999999999968</c:v>
                </c:pt>
                <c:pt idx="2749">
                  <c:v>273.5</c:v>
                </c:pt>
                <c:pt idx="2750">
                  <c:v>270.78999999999968</c:v>
                </c:pt>
                <c:pt idx="2751">
                  <c:v>269.11</c:v>
                </c:pt>
                <c:pt idx="2752">
                  <c:v>271.10000000000002</c:v>
                </c:pt>
                <c:pt idx="2753">
                  <c:v>271</c:v>
                </c:pt>
                <c:pt idx="2754">
                  <c:v>268.69</c:v>
                </c:pt>
                <c:pt idx="2755">
                  <c:v>268.51</c:v>
                </c:pt>
                <c:pt idx="2756">
                  <c:v>272</c:v>
                </c:pt>
                <c:pt idx="2757">
                  <c:v>271.77999999999969</c:v>
                </c:pt>
                <c:pt idx="2758">
                  <c:v>273.36</c:v>
                </c:pt>
                <c:pt idx="2759">
                  <c:v>273.11</c:v>
                </c:pt>
                <c:pt idx="2760">
                  <c:v>274.3</c:v>
                </c:pt>
                <c:pt idx="2761">
                  <c:v>269.91000000000003</c:v>
                </c:pt>
                <c:pt idx="2762">
                  <c:v>273.72999999999968</c:v>
                </c:pt>
                <c:pt idx="2763">
                  <c:v>272.20999999999964</c:v>
                </c:pt>
                <c:pt idx="2764">
                  <c:v>274.35000000000002</c:v>
                </c:pt>
                <c:pt idx="2765">
                  <c:v>273.76</c:v>
                </c:pt>
                <c:pt idx="2766">
                  <c:v>272.25</c:v>
                </c:pt>
                <c:pt idx="2767">
                  <c:v>273.57</c:v>
                </c:pt>
                <c:pt idx="2768">
                  <c:v>277.33</c:v>
                </c:pt>
                <c:pt idx="2769">
                  <c:v>276.18</c:v>
                </c:pt>
                <c:pt idx="2770">
                  <c:v>278.72999999999968</c:v>
                </c:pt>
                <c:pt idx="2771">
                  <c:v>278.86</c:v>
                </c:pt>
                <c:pt idx="2772">
                  <c:v>283.45</c:v>
                </c:pt>
                <c:pt idx="2773">
                  <c:v>282.14999999999998</c:v>
                </c:pt>
                <c:pt idx="2774">
                  <c:v>281.27999999999969</c:v>
                </c:pt>
                <c:pt idx="2775">
                  <c:v>278.10000000000002</c:v>
                </c:pt>
                <c:pt idx="2776">
                  <c:v>273.41000000000003</c:v>
                </c:pt>
                <c:pt idx="2777">
                  <c:v>271.74</c:v>
                </c:pt>
                <c:pt idx="2778">
                  <c:v>270.64999999999998</c:v>
                </c:pt>
                <c:pt idx="2779">
                  <c:v>271.42999999999961</c:v>
                </c:pt>
                <c:pt idx="2780">
                  <c:v>272.52</c:v>
                </c:pt>
                <c:pt idx="2781">
                  <c:v>276.41000000000003</c:v>
                </c:pt>
                <c:pt idx="2782">
                  <c:v>274.83999999999969</c:v>
                </c:pt>
                <c:pt idx="2783">
                  <c:v>271.28999999999968</c:v>
                </c:pt>
                <c:pt idx="2784">
                  <c:v>271.28999999999968</c:v>
                </c:pt>
                <c:pt idx="2785">
                  <c:v>268.60000000000002</c:v>
                </c:pt>
                <c:pt idx="2786">
                  <c:v>267.94</c:v>
                </c:pt>
                <c:pt idx="2787">
                  <c:v>272.25</c:v>
                </c:pt>
                <c:pt idx="2788">
                  <c:v>268.28999999999968</c:v>
                </c:pt>
                <c:pt idx="2789">
                  <c:v>271.86</c:v>
                </c:pt>
                <c:pt idx="2790">
                  <c:v>272.83</c:v>
                </c:pt>
                <c:pt idx="2791">
                  <c:v>270.64000000000033</c:v>
                </c:pt>
                <c:pt idx="2792">
                  <c:v>270.58</c:v>
                </c:pt>
                <c:pt idx="2793">
                  <c:v>274.45999999999964</c:v>
                </c:pt>
                <c:pt idx="2794">
                  <c:v>275.58</c:v>
                </c:pt>
                <c:pt idx="2795">
                  <c:v>280.12</c:v>
                </c:pt>
                <c:pt idx="2796">
                  <c:v>284.67</c:v>
                </c:pt>
                <c:pt idx="2797">
                  <c:v>284.72000000000003</c:v>
                </c:pt>
                <c:pt idx="2798">
                  <c:v>282.94</c:v>
                </c:pt>
                <c:pt idx="2799">
                  <c:v>286.17</c:v>
                </c:pt>
                <c:pt idx="2800">
                  <c:v>286.7</c:v>
                </c:pt>
                <c:pt idx="2801">
                  <c:v>288.55</c:v>
                </c:pt>
                <c:pt idx="2802">
                  <c:v>289.08</c:v>
                </c:pt>
                <c:pt idx="2803">
                  <c:v>289.76</c:v>
                </c:pt>
                <c:pt idx="2804">
                  <c:v>287.27</c:v>
                </c:pt>
                <c:pt idx="2805">
                  <c:v>291.75</c:v>
                </c:pt>
                <c:pt idx="2806">
                  <c:v>294.11</c:v>
                </c:pt>
                <c:pt idx="2807">
                  <c:v>295.45</c:v>
                </c:pt>
                <c:pt idx="2808">
                  <c:v>298.44</c:v>
                </c:pt>
                <c:pt idx="2809">
                  <c:v>299.02</c:v>
                </c:pt>
                <c:pt idx="2810">
                  <c:v>293.68</c:v>
                </c:pt>
                <c:pt idx="2811">
                  <c:v>292.18</c:v>
                </c:pt>
                <c:pt idx="2812">
                  <c:v>294.77999999999969</c:v>
                </c:pt>
                <c:pt idx="2813">
                  <c:v>295.5</c:v>
                </c:pt>
                <c:pt idx="2814">
                  <c:v>291.98999999999961</c:v>
                </c:pt>
                <c:pt idx="2815">
                  <c:v>293.77</c:v>
                </c:pt>
                <c:pt idx="2816">
                  <c:v>297.68</c:v>
                </c:pt>
                <c:pt idx="2817">
                  <c:v>297.83</c:v>
                </c:pt>
                <c:pt idx="2818">
                  <c:v>299.32</c:v>
                </c:pt>
                <c:pt idx="2819">
                  <c:v>297.83</c:v>
                </c:pt>
                <c:pt idx="2820">
                  <c:v>300.61</c:v>
                </c:pt>
                <c:pt idx="2821">
                  <c:v>294.42999999999961</c:v>
                </c:pt>
                <c:pt idx="2822">
                  <c:v>290.18</c:v>
                </c:pt>
                <c:pt idx="2823">
                  <c:v>291.94</c:v>
                </c:pt>
                <c:pt idx="2824">
                  <c:v>286.70999999999964</c:v>
                </c:pt>
                <c:pt idx="2825">
                  <c:v>285.86</c:v>
                </c:pt>
                <c:pt idx="2826">
                  <c:v>288.78999999999968</c:v>
                </c:pt>
                <c:pt idx="2827">
                  <c:v>285.18</c:v>
                </c:pt>
                <c:pt idx="2828">
                  <c:v>287.13</c:v>
                </c:pt>
                <c:pt idx="2829">
                  <c:v>287.2</c:v>
                </c:pt>
                <c:pt idx="2830">
                  <c:v>284.16000000000008</c:v>
                </c:pt>
                <c:pt idx="2831">
                  <c:v>287.7</c:v>
                </c:pt>
                <c:pt idx="2832">
                  <c:v>285.04000000000002</c:v>
                </c:pt>
                <c:pt idx="2833">
                  <c:v>284.81</c:v>
                </c:pt>
                <c:pt idx="2834">
                  <c:v>287</c:v>
                </c:pt>
                <c:pt idx="2835">
                  <c:v>283.95</c:v>
                </c:pt>
                <c:pt idx="2836">
                  <c:v>288.26</c:v>
                </c:pt>
                <c:pt idx="2837">
                  <c:v>286.52999999999969</c:v>
                </c:pt>
                <c:pt idx="2838">
                  <c:v>290.47999999999968</c:v>
                </c:pt>
                <c:pt idx="2839">
                  <c:v>289.31</c:v>
                </c:pt>
                <c:pt idx="2840">
                  <c:v>291.02</c:v>
                </c:pt>
                <c:pt idx="2841">
                  <c:v>294.77999999999969</c:v>
                </c:pt>
                <c:pt idx="2842">
                  <c:v>294.77999999999969</c:v>
                </c:pt>
                <c:pt idx="2843">
                  <c:v>294.77999999999969</c:v>
                </c:pt>
                <c:pt idx="2844">
                  <c:v>294.39999999999969</c:v>
                </c:pt>
                <c:pt idx="2845">
                  <c:v>292.20999999999964</c:v>
                </c:pt>
                <c:pt idx="2846">
                  <c:v>284.89999999999969</c:v>
                </c:pt>
                <c:pt idx="2847">
                  <c:v>277.36</c:v>
                </c:pt>
                <c:pt idx="2848">
                  <c:v>276.58</c:v>
                </c:pt>
                <c:pt idx="2849">
                  <c:v>277.91000000000003</c:v>
                </c:pt>
                <c:pt idx="2850">
                  <c:v>273</c:v>
                </c:pt>
                <c:pt idx="2851">
                  <c:v>273.16000000000008</c:v>
                </c:pt>
                <c:pt idx="2852">
                  <c:v>274.25</c:v>
                </c:pt>
                <c:pt idx="2853">
                  <c:v>270.18</c:v>
                </c:pt>
                <c:pt idx="2854">
                  <c:v>273.41999999999967</c:v>
                </c:pt>
                <c:pt idx="2855">
                  <c:v>275.08</c:v>
                </c:pt>
                <c:pt idx="2856">
                  <c:v>281.74</c:v>
                </c:pt>
                <c:pt idx="2857">
                  <c:v>280.33</c:v>
                </c:pt>
                <c:pt idx="2858">
                  <c:v>287.25</c:v>
                </c:pt>
                <c:pt idx="2859">
                  <c:v>285.33</c:v>
                </c:pt>
                <c:pt idx="2860">
                  <c:v>285.36</c:v>
                </c:pt>
                <c:pt idx="2861">
                  <c:v>281.20999999999964</c:v>
                </c:pt>
                <c:pt idx="2862">
                  <c:v>281.57</c:v>
                </c:pt>
                <c:pt idx="2863">
                  <c:v>281.57</c:v>
                </c:pt>
                <c:pt idx="2864">
                  <c:v>274.88</c:v>
                </c:pt>
                <c:pt idx="2865">
                  <c:v>276.19</c:v>
                </c:pt>
                <c:pt idx="2866">
                  <c:v>279.52</c:v>
                </c:pt>
                <c:pt idx="2867">
                  <c:v>278.58</c:v>
                </c:pt>
                <c:pt idx="2868">
                  <c:v>278.58</c:v>
                </c:pt>
                <c:pt idx="2869">
                  <c:v>273.92999999999961</c:v>
                </c:pt>
                <c:pt idx="2870">
                  <c:v>274.26</c:v>
                </c:pt>
                <c:pt idx="2871">
                  <c:v>273.52</c:v>
                </c:pt>
                <c:pt idx="2872">
                  <c:v>278.47000000000003</c:v>
                </c:pt>
                <c:pt idx="2873">
                  <c:v>277.60000000000002</c:v>
                </c:pt>
                <c:pt idx="2874">
                  <c:v>278.04000000000002</c:v>
                </c:pt>
                <c:pt idx="2875">
                  <c:v>279.20999999999964</c:v>
                </c:pt>
                <c:pt idx="2876">
                  <c:v>280.39999999999969</c:v>
                </c:pt>
                <c:pt idx="2877">
                  <c:v>284.95999999999964</c:v>
                </c:pt>
                <c:pt idx="2878">
                  <c:v>284.58</c:v>
                </c:pt>
                <c:pt idx="2879">
                  <c:v>284.58</c:v>
                </c:pt>
                <c:pt idx="2880">
                  <c:v>284.31</c:v>
                </c:pt>
                <c:pt idx="2881">
                  <c:v>284.2</c:v>
                </c:pt>
                <c:pt idx="2882">
                  <c:v>283.08</c:v>
                </c:pt>
                <c:pt idx="2883">
                  <c:v>285.64999999999998</c:v>
                </c:pt>
                <c:pt idx="2884">
                  <c:v>287.22999999999968</c:v>
                </c:pt>
                <c:pt idx="2885">
                  <c:v>289.18</c:v>
                </c:pt>
                <c:pt idx="2886">
                  <c:v>289.22999999999968</c:v>
                </c:pt>
                <c:pt idx="2887">
                  <c:v>287.14000000000033</c:v>
                </c:pt>
                <c:pt idx="2888">
                  <c:v>283.58999999999969</c:v>
                </c:pt>
                <c:pt idx="2889">
                  <c:v>285.68</c:v>
                </c:pt>
                <c:pt idx="2890">
                  <c:v>282.89</c:v>
                </c:pt>
                <c:pt idx="2891">
                  <c:v>281.45</c:v>
                </c:pt>
                <c:pt idx="2892">
                  <c:v>279.66000000000008</c:v>
                </c:pt>
                <c:pt idx="2893">
                  <c:v>279.69</c:v>
                </c:pt>
                <c:pt idx="2894">
                  <c:v>278.39999999999969</c:v>
                </c:pt>
                <c:pt idx="2895">
                  <c:v>278.92999999999961</c:v>
                </c:pt>
                <c:pt idx="2896">
                  <c:v>278.92999999999961</c:v>
                </c:pt>
                <c:pt idx="2897">
                  <c:v>284.60000000000002</c:v>
                </c:pt>
                <c:pt idx="2898">
                  <c:v>284.83999999999969</c:v>
                </c:pt>
                <c:pt idx="2899">
                  <c:v>286.14000000000033</c:v>
                </c:pt>
                <c:pt idx="2900">
                  <c:v>287.37</c:v>
                </c:pt>
                <c:pt idx="2901">
                  <c:v>288.61</c:v>
                </c:pt>
                <c:pt idx="2902">
                  <c:v>288.55</c:v>
                </c:pt>
                <c:pt idx="2903">
                  <c:v>290.45999999999964</c:v>
                </c:pt>
                <c:pt idx="2904">
                  <c:v>290.45999999999964</c:v>
                </c:pt>
                <c:pt idx="2905">
                  <c:v>298.95</c:v>
                </c:pt>
                <c:pt idx="2906">
                  <c:v>300.33</c:v>
                </c:pt>
                <c:pt idx="2907">
                  <c:v>299.22000000000003</c:v>
                </c:pt>
                <c:pt idx="2908">
                  <c:v>301.28999999999968</c:v>
                </c:pt>
                <c:pt idx="2909">
                  <c:v>304.95</c:v>
                </c:pt>
                <c:pt idx="2910">
                  <c:v>303.37</c:v>
                </c:pt>
                <c:pt idx="2911">
                  <c:v>306.94</c:v>
                </c:pt>
                <c:pt idx="2912">
                  <c:v>308.5</c:v>
                </c:pt>
                <c:pt idx="2913">
                  <c:v>310.08</c:v>
                </c:pt>
                <c:pt idx="2914">
                  <c:v>310.42999999999961</c:v>
                </c:pt>
                <c:pt idx="2915">
                  <c:v>314.39</c:v>
                </c:pt>
                <c:pt idx="2916">
                  <c:v>315.63</c:v>
                </c:pt>
                <c:pt idx="2917">
                  <c:v>314.82</c:v>
                </c:pt>
                <c:pt idx="2918">
                  <c:v>318.33</c:v>
                </c:pt>
                <c:pt idx="2919">
                  <c:v>317.97999999999968</c:v>
                </c:pt>
                <c:pt idx="2920">
                  <c:v>320.81</c:v>
                </c:pt>
                <c:pt idx="2921">
                  <c:v>323.95999999999964</c:v>
                </c:pt>
                <c:pt idx="2922">
                  <c:v>322.39</c:v>
                </c:pt>
                <c:pt idx="2923">
                  <c:v>321.45</c:v>
                </c:pt>
                <c:pt idx="2924">
                  <c:v>318.04000000000002</c:v>
                </c:pt>
                <c:pt idx="2925">
                  <c:v>316.01</c:v>
                </c:pt>
                <c:pt idx="2926">
                  <c:v>308.18</c:v>
                </c:pt>
                <c:pt idx="2927">
                  <c:v>309.77999999999969</c:v>
                </c:pt>
                <c:pt idx="2928">
                  <c:v>309.77999999999969</c:v>
                </c:pt>
                <c:pt idx="2929">
                  <c:v>309.14000000000033</c:v>
                </c:pt>
                <c:pt idx="2930">
                  <c:v>310.42999999999961</c:v>
                </c:pt>
                <c:pt idx="2931">
                  <c:v>312.02999999999969</c:v>
                </c:pt>
                <c:pt idx="2932">
                  <c:v>316.16000000000008</c:v>
                </c:pt>
                <c:pt idx="2933">
                  <c:v>317.77999999999969</c:v>
                </c:pt>
                <c:pt idx="2934">
                  <c:v>316.10000000000002</c:v>
                </c:pt>
                <c:pt idx="2935">
                  <c:v>313.82</c:v>
                </c:pt>
                <c:pt idx="2936">
                  <c:v>313.39999999999969</c:v>
                </c:pt>
                <c:pt idx="2937">
                  <c:v>309.27</c:v>
                </c:pt>
                <c:pt idx="2938">
                  <c:v>306.36</c:v>
                </c:pt>
                <c:pt idx="2939">
                  <c:v>306.98999999999961</c:v>
                </c:pt>
                <c:pt idx="2940">
                  <c:v>303.97000000000003</c:v>
                </c:pt>
                <c:pt idx="2941">
                  <c:v>299.55</c:v>
                </c:pt>
                <c:pt idx="2942">
                  <c:v>299.02999999999969</c:v>
                </c:pt>
                <c:pt idx="2943">
                  <c:v>297.69</c:v>
                </c:pt>
                <c:pt idx="2944">
                  <c:v>296.58</c:v>
                </c:pt>
                <c:pt idx="2945">
                  <c:v>304.44</c:v>
                </c:pt>
                <c:pt idx="2946">
                  <c:v>306.89999999999969</c:v>
                </c:pt>
                <c:pt idx="2947">
                  <c:v>306.37</c:v>
                </c:pt>
                <c:pt idx="2948">
                  <c:v>308.72999999999968</c:v>
                </c:pt>
                <c:pt idx="2949">
                  <c:v>308.28999999999968</c:v>
                </c:pt>
                <c:pt idx="2950">
                  <c:v>308.3</c:v>
                </c:pt>
                <c:pt idx="2951">
                  <c:v>301.22999999999968</c:v>
                </c:pt>
                <c:pt idx="2952">
                  <c:v>300.45</c:v>
                </c:pt>
                <c:pt idx="2953">
                  <c:v>296.69</c:v>
                </c:pt>
                <c:pt idx="2954">
                  <c:v>297.5</c:v>
                </c:pt>
                <c:pt idx="2955">
                  <c:v>292.27</c:v>
                </c:pt>
                <c:pt idx="2956">
                  <c:v>293.64000000000033</c:v>
                </c:pt>
                <c:pt idx="2957">
                  <c:v>294.07</c:v>
                </c:pt>
                <c:pt idx="2958">
                  <c:v>294.72000000000003</c:v>
                </c:pt>
                <c:pt idx="2959">
                  <c:v>296.44</c:v>
                </c:pt>
                <c:pt idx="2960">
                  <c:v>297.14999999999998</c:v>
                </c:pt>
                <c:pt idx="2961">
                  <c:v>294.58</c:v>
                </c:pt>
                <c:pt idx="2962">
                  <c:v>288.26</c:v>
                </c:pt>
                <c:pt idx="2963">
                  <c:v>286.17</c:v>
                </c:pt>
                <c:pt idx="2964">
                  <c:v>285.06</c:v>
                </c:pt>
                <c:pt idx="2965">
                  <c:v>286.42999999999961</c:v>
                </c:pt>
                <c:pt idx="2966">
                  <c:v>285.20999999999964</c:v>
                </c:pt>
                <c:pt idx="2967">
                  <c:v>283.68</c:v>
                </c:pt>
                <c:pt idx="2968">
                  <c:v>283.44</c:v>
                </c:pt>
                <c:pt idx="2969">
                  <c:v>285.91000000000003</c:v>
                </c:pt>
                <c:pt idx="2970">
                  <c:v>286.83</c:v>
                </c:pt>
                <c:pt idx="2971">
                  <c:v>290.67</c:v>
                </c:pt>
                <c:pt idx="2972">
                  <c:v>291.39999999999969</c:v>
                </c:pt>
                <c:pt idx="2973">
                  <c:v>292.20999999999964</c:v>
                </c:pt>
                <c:pt idx="2974">
                  <c:v>292.20999999999964</c:v>
                </c:pt>
                <c:pt idx="2975">
                  <c:v>292.08</c:v>
                </c:pt>
                <c:pt idx="2976">
                  <c:v>298.16000000000008</c:v>
                </c:pt>
                <c:pt idx="2977">
                  <c:v>297.27999999999969</c:v>
                </c:pt>
                <c:pt idx="2978">
                  <c:v>301.95999999999964</c:v>
                </c:pt>
                <c:pt idx="2979">
                  <c:v>301.89</c:v>
                </c:pt>
                <c:pt idx="2980">
                  <c:v>300.26</c:v>
                </c:pt>
                <c:pt idx="2981">
                  <c:v>296.51</c:v>
                </c:pt>
                <c:pt idx="2982">
                  <c:v>299.47999999999968</c:v>
                </c:pt>
                <c:pt idx="2983">
                  <c:v>296.82</c:v>
                </c:pt>
                <c:pt idx="2984">
                  <c:v>300.91999999999967</c:v>
                </c:pt>
                <c:pt idx="2985">
                  <c:v>300.55</c:v>
                </c:pt>
                <c:pt idx="2986">
                  <c:v>303.37</c:v>
                </c:pt>
                <c:pt idx="2987">
                  <c:v>306</c:v>
                </c:pt>
                <c:pt idx="2988">
                  <c:v>310.97999999999968</c:v>
                </c:pt>
                <c:pt idx="2989">
                  <c:v>313.76</c:v>
                </c:pt>
                <c:pt idx="2990">
                  <c:v>311.02999999999969</c:v>
                </c:pt>
                <c:pt idx="2991">
                  <c:v>309.58</c:v>
                </c:pt>
                <c:pt idx="2992">
                  <c:v>311.45</c:v>
                </c:pt>
                <c:pt idx="2993">
                  <c:v>312.24</c:v>
                </c:pt>
                <c:pt idx="2994">
                  <c:v>311.37</c:v>
                </c:pt>
                <c:pt idx="2995">
                  <c:v>304.47999999999968</c:v>
                </c:pt>
                <c:pt idx="2996">
                  <c:v>303.10000000000002</c:v>
                </c:pt>
                <c:pt idx="2997">
                  <c:v>300</c:v>
                </c:pt>
                <c:pt idx="2998">
                  <c:v>303.86</c:v>
                </c:pt>
                <c:pt idx="2999">
                  <c:v>303.86</c:v>
                </c:pt>
                <c:pt idx="3000">
                  <c:v>309.76</c:v>
                </c:pt>
                <c:pt idx="3001">
                  <c:v>313.32</c:v>
                </c:pt>
                <c:pt idx="3002">
                  <c:v>312.01</c:v>
                </c:pt>
                <c:pt idx="3003">
                  <c:v>309.89999999999969</c:v>
                </c:pt>
                <c:pt idx="3004">
                  <c:v>308.89999999999969</c:v>
                </c:pt>
                <c:pt idx="3005">
                  <c:v>311.68</c:v>
                </c:pt>
                <c:pt idx="3006">
                  <c:v>311.54000000000002</c:v>
                </c:pt>
                <c:pt idx="3007">
                  <c:v>309.11</c:v>
                </c:pt>
                <c:pt idx="3008">
                  <c:v>309.57</c:v>
                </c:pt>
                <c:pt idx="3009">
                  <c:v>306.92999999999961</c:v>
                </c:pt>
                <c:pt idx="3010">
                  <c:v>304.78999999999968</c:v>
                </c:pt>
                <c:pt idx="3011">
                  <c:v>303.37</c:v>
                </c:pt>
                <c:pt idx="3012">
                  <c:v>300.76</c:v>
                </c:pt>
                <c:pt idx="3013">
                  <c:v>304.25</c:v>
                </c:pt>
                <c:pt idx="3014">
                  <c:v>305.3</c:v>
                </c:pt>
                <c:pt idx="3015">
                  <c:v>306.13</c:v>
                </c:pt>
                <c:pt idx="3016">
                  <c:v>307.10000000000002</c:v>
                </c:pt>
                <c:pt idx="3017">
                  <c:v>310.52999999999969</c:v>
                </c:pt>
                <c:pt idx="3018">
                  <c:v>312</c:v>
                </c:pt>
                <c:pt idx="3019">
                  <c:v>314.72000000000003</c:v>
                </c:pt>
                <c:pt idx="3020">
                  <c:v>317.57</c:v>
                </c:pt>
                <c:pt idx="3021">
                  <c:v>315.32</c:v>
                </c:pt>
                <c:pt idx="3022">
                  <c:v>315.72999999999968</c:v>
                </c:pt>
                <c:pt idx="3023">
                  <c:v>316.67</c:v>
                </c:pt>
                <c:pt idx="3024">
                  <c:v>318.25</c:v>
                </c:pt>
                <c:pt idx="3025">
                  <c:v>314.67</c:v>
                </c:pt>
                <c:pt idx="3026">
                  <c:v>319.94</c:v>
                </c:pt>
                <c:pt idx="3027">
                  <c:v>322.58</c:v>
                </c:pt>
                <c:pt idx="3028">
                  <c:v>322.95</c:v>
                </c:pt>
                <c:pt idx="3029">
                  <c:v>318.91000000000003</c:v>
                </c:pt>
                <c:pt idx="3030">
                  <c:v>319.58</c:v>
                </c:pt>
                <c:pt idx="3031">
                  <c:v>313.68</c:v>
                </c:pt>
                <c:pt idx="3032">
                  <c:v>311.74</c:v>
                </c:pt>
                <c:pt idx="3033">
                  <c:v>315.18</c:v>
                </c:pt>
                <c:pt idx="3034">
                  <c:v>317.12</c:v>
                </c:pt>
                <c:pt idx="3035">
                  <c:v>317.56</c:v>
                </c:pt>
                <c:pt idx="3036">
                  <c:v>320.02</c:v>
                </c:pt>
                <c:pt idx="3037">
                  <c:v>318.33</c:v>
                </c:pt>
                <c:pt idx="3038">
                  <c:v>317.10000000000002</c:v>
                </c:pt>
                <c:pt idx="3039">
                  <c:v>323.22999999999968</c:v>
                </c:pt>
                <c:pt idx="3040">
                  <c:v>331.2</c:v>
                </c:pt>
                <c:pt idx="3041">
                  <c:v>329.41999999999967</c:v>
                </c:pt>
                <c:pt idx="3042">
                  <c:v>336.2</c:v>
                </c:pt>
                <c:pt idx="3043">
                  <c:v>331.35</c:v>
                </c:pt>
                <c:pt idx="3044">
                  <c:v>331.35</c:v>
                </c:pt>
                <c:pt idx="3045">
                  <c:v>329.36</c:v>
                </c:pt>
                <c:pt idx="3046">
                  <c:v>324.19</c:v>
                </c:pt>
                <c:pt idx="3047">
                  <c:v>324.70999999999964</c:v>
                </c:pt>
                <c:pt idx="3048">
                  <c:v>323.32</c:v>
                </c:pt>
                <c:pt idx="3049">
                  <c:v>319.97999999999968</c:v>
                </c:pt>
                <c:pt idx="3050">
                  <c:v>318</c:v>
                </c:pt>
                <c:pt idx="3051">
                  <c:v>321.66000000000008</c:v>
                </c:pt>
                <c:pt idx="3052">
                  <c:v>319.7</c:v>
                </c:pt>
                <c:pt idx="3053">
                  <c:v>315.39</c:v>
                </c:pt>
                <c:pt idx="3054">
                  <c:v>327.41000000000003</c:v>
                </c:pt>
                <c:pt idx="3055">
                  <c:v>325.16000000000008</c:v>
                </c:pt>
                <c:pt idx="3056">
                  <c:v>327.04000000000002</c:v>
                </c:pt>
                <c:pt idx="3057">
                  <c:v>328.28999999999968</c:v>
                </c:pt>
                <c:pt idx="3058">
                  <c:v>323.11</c:v>
                </c:pt>
                <c:pt idx="3059">
                  <c:v>326.92999999999961</c:v>
                </c:pt>
                <c:pt idx="3060">
                  <c:v>327.02999999999969</c:v>
                </c:pt>
                <c:pt idx="3061">
                  <c:v>333.33</c:v>
                </c:pt>
                <c:pt idx="3062">
                  <c:v>334.85</c:v>
                </c:pt>
                <c:pt idx="3063">
                  <c:v>332.96999999999969</c:v>
                </c:pt>
                <c:pt idx="3064">
                  <c:v>333.21999999999969</c:v>
                </c:pt>
                <c:pt idx="3065">
                  <c:v>329.72999999999968</c:v>
                </c:pt>
                <c:pt idx="3066">
                  <c:v>328.2</c:v>
                </c:pt>
                <c:pt idx="3067">
                  <c:v>323.92999999999961</c:v>
                </c:pt>
                <c:pt idx="3068">
                  <c:v>325.20999999999964</c:v>
                </c:pt>
                <c:pt idx="3069">
                  <c:v>325.95999999999964</c:v>
                </c:pt>
                <c:pt idx="3070">
                  <c:v>330.46999999999969</c:v>
                </c:pt>
                <c:pt idx="3071">
                  <c:v>332.1</c:v>
                </c:pt>
                <c:pt idx="3072">
                  <c:v>328.91999999999967</c:v>
                </c:pt>
                <c:pt idx="3073">
                  <c:v>327.64000000000033</c:v>
                </c:pt>
                <c:pt idx="3074">
                  <c:v>332.45</c:v>
                </c:pt>
                <c:pt idx="3075">
                  <c:v>329.18</c:v>
                </c:pt>
                <c:pt idx="3076">
                  <c:v>326.76</c:v>
                </c:pt>
                <c:pt idx="3077">
                  <c:v>322.36</c:v>
                </c:pt>
                <c:pt idx="3078">
                  <c:v>322.51</c:v>
                </c:pt>
                <c:pt idx="3079">
                  <c:v>321.36</c:v>
                </c:pt>
                <c:pt idx="3080">
                  <c:v>329.19</c:v>
                </c:pt>
                <c:pt idx="3081">
                  <c:v>324.22999999999968</c:v>
                </c:pt>
                <c:pt idx="3082">
                  <c:v>323.41000000000003</c:v>
                </c:pt>
                <c:pt idx="3083">
                  <c:v>322.13</c:v>
                </c:pt>
                <c:pt idx="3084">
                  <c:v>316.28999999999968</c:v>
                </c:pt>
                <c:pt idx="3085">
                  <c:v>315.83</c:v>
                </c:pt>
                <c:pt idx="3086">
                  <c:v>316.45</c:v>
                </c:pt>
                <c:pt idx="3087">
                  <c:v>321.28999999999968</c:v>
                </c:pt>
                <c:pt idx="3088">
                  <c:v>318.77</c:v>
                </c:pt>
                <c:pt idx="3089">
                  <c:v>317.45</c:v>
                </c:pt>
                <c:pt idx="3090">
                  <c:v>318.24</c:v>
                </c:pt>
                <c:pt idx="3091">
                  <c:v>316.54000000000002</c:v>
                </c:pt>
                <c:pt idx="3092">
                  <c:v>314.52999999999969</c:v>
                </c:pt>
                <c:pt idx="3093">
                  <c:v>315.58999999999969</c:v>
                </c:pt>
                <c:pt idx="3094">
                  <c:v>315.08</c:v>
                </c:pt>
                <c:pt idx="3095">
                  <c:v>312.72999999999968</c:v>
                </c:pt>
                <c:pt idx="3096">
                  <c:v>315.31</c:v>
                </c:pt>
                <c:pt idx="3097">
                  <c:v>313.20999999999964</c:v>
                </c:pt>
                <c:pt idx="3098">
                  <c:v>312.74</c:v>
                </c:pt>
                <c:pt idx="3099">
                  <c:v>313.63</c:v>
                </c:pt>
                <c:pt idx="3100">
                  <c:v>315.5</c:v>
                </c:pt>
                <c:pt idx="3101">
                  <c:v>314.38</c:v>
                </c:pt>
                <c:pt idx="3102">
                  <c:v>314.38</c:v>
                </c:pt>
                <c:pt idx="3103">
                  <c:v>314.38</c:v>
                </c:pt>
                <c:pt idx="3104">
                  <c:v>312.72000000000003</c:v>
                </c:pt>
                <c:pt idx="3105">
                  <c:v>311.22999999999968</c:v>
                </c:pt>
                <c:pt idx="3106">
                  <c:v>314.27</c:v>
                </c:pt>
                <c:pt idx="3107">
                  <c:v>320.70999999999964</c:v>
                </c:pt>
                <c:pt idx="3108">
                  <c:v>323.38</c:v>
                </c:pt>
                <c:pt idx="3109">
                  <c:v>325.58999999999969</c:v>
                </c:pt>
                <c:pt idx="3110">
                  <c:v>324.28999999999968</c:v>
                </c:pt>
                <c:pt idx="3111">
                  <c:v>324.66000000000008</c:v>
                </c:pt>
                <c:pt idx="3112">
                  <c:v>330.44</c:v>
                </c:pt>
                <c:pt idx="3113">
                  <c:v>327.81</c:v>
                </c:pt>
                <c:pt idx="3114">
                  <c:v>333.7</c:v>
                </c:pt>
                <c:pt idx="3115">
                  <c:v>335.62</c:v>
                </c:pt>
                <c:pt idx="3116">
                  <c:v>331.39</c:v>
                </c:pt>
                <c:pt idx="3117">
                  <c:v>328.61</c:v>
                </c:pt>
                <c:pt idx="3118">
                  <c:v>326.36</c:v>
                </c:pt>
                <c:pt idx="3119">
                  <c:v>326.08999999999969</c:v>
                </c:pt>
                <c:pt idx="3120">
                  <c:v>325.81</c:v>
                </c:pt>
                <c:pt idx="3121">
                  <c:v>326.52999999999969</c:v>
                </c:pt>
                <c:pt idx="3122">
                  <c:v>326.76</c:v>
                </c:pt>
                <c:pt idx="3123">
                  <c:v>326.31</c:v>
                </c:pt>
                <c:pt idx="3124">
                  <c:v>326.31</c:v>
                </c:pt>
                <c:pt idx="3125">
                  <c:v>324.58999999999969</c:v>
                </c:pt>
                <c:pt idx="3126">
                  <c:v>329.32</c:v>
                </c:pt>
                <c:pt idx="3127">
                  <c:v>329.33</c:v>
                </c:pt>
                <c:pt idx="3128">
                  <c:v>331.83</c:v>
                </c:pt>
                <c:pt idx="3129">
                  <c:v>331.83</c:v>
                </c:pt>
                <c:pt idx="3130">
                  <c:v>336.37</c:v>
                </c:pt>
                <c:pt idx="3131">
                  <c:v>338.48999999999961</c:v>
                </c:pt>
                <c:pt idx="3132">
                  <c:v>335.8</c:v>
                </c:pt>
                <c:pt idx="3133">
                  <c:v>339.46999999999969</c:v>
                </c:pt>
                <c:pt idx="3134">
                  <c:v>337.33</c:v>
                </c:pt>
                <c:pt idx="3135">
                  <c:v>336.45</c:v>
                </c:pt>
                <c:pt idx="3136">
                  <c:v>335.71</c:v>
                </c:pt>
                <c:pt idx="3137">
                  <c:v>334.71</c:v>
                </c:pt>
                <c:pt idx="3138">
                  <c:v>336.84000000000032</c:v>
                </c:pt>
                <c:pt idx="3139">
                  <c:v>336.84000000000032</c:v>
                </c:pt>
                <c:pt idx="3140">
                  <c:v>342.45</c:v>
                </c:pt>
                <c:pt idx="3141">
                  <c:v>338.8</c:v>
                </c:pt>
                <c:pt idx="3142">
                  <c:v>341.34000000000032</c:v>
                </c:pt>
                <c:pt idx="3143">
                  <c:v>345.15000000000032</c:v>
                </c:pt>
                <c:pt idx="3144">
                  <c:v>344.78</c:v>
                </c:pt>
                <c:pt idx="3145">
                  <c:v>343.71999999999969</c:v>
                </c:pt>
                <c:pt idx="3146">
                  <c:v>342.52</c:v>
                </c:pt>
                <c:pt idx="3147">
                  <c:v>343.46</c:v>
                </c:pt>
                <c:pt idx="3148">
                  <c:v>346.95</c:v>
                </c:pt>
                <c:pt idx="3149">
                  <c:v>350.06</c:v>
                </c:pt>
                <c:pt idx="3150">
                  <c:v>348.66</c:v>
                </c:pt>
                <c:pt idx="3151">
                  <c:v>344.59</c:v>
                </c:pt>
                <c:pt idx="3152">
                  <c:v>343.14000000000033</c:v>
                </c:pt>
                <c:pt idx="3153">
                  <c:v>345.9</c:v>
                </c:pt>
                <c:pt idx="3154">
                  <c:v>343.25</c:v>
                </c:pt>
                <c:pt idx="3155">
                  <c:v>336.42999999999961</c:v>
                </c:pt>
                <c:pt idx="3156">
                  <c:v>336.07</c:v>
                </c:pt>
                <c:pt idx="3157">
                  <c:v>336.96</c:v>
                </c:pt>
                <c:pt idx="3158">
                  <c:v>331.6</c:v>
                </c:pt>
                <c:pt idx="3159">
                  <c:v>327.57</c:v>
                </c:pt>
                <c:pt idx="3160">
                  <c:v>325.05</c:v>
                </c:pt>
                <c:pt idx="3161">
                  <c:v>320.75</c:v>
                </c:pt>
                <c:pt idx="3162">
                  <c:v>322.60000000000002</c:v>
                </c:pt>
                <c:pt idx="3163">
                  <c:v>326.14999999999998</c:v>
                </c:pt>
                <c:pt idx="3164">
                  <c:v>326.14999999999998</c:v>
                </c:pt>
                <c:pt idx="3165">
                  <c:v>330.26</c:v>
                </c:pt>
                <c:pt idx="3166">
                  <c:v>326.02999999999969</c:v>
                </c:pt>
                <c:pt idx="3167">
                  <c:v>324.11</c:v>
                </c:pt>
                <c:pt idx="3168">
                  <c:v>328.9</c:v>
                </c:pt>
                <c:pt idx="3169">
                  <c:v>320.98999999999961</c:v>
                </c:pt>
                <c:pt idx="3170">
                  <c:v>324.36</c:v>
                </c:pt>
                <c:pt idx="3171">
                  <c:v>324.83999999999969</c:v>
                </c:pt>
                <c:pt idx="3172">
                  <c:v>329.21</c:v>
                </c:pt>
                <c:pt idx="3173">
                  <c:v>331.34000000000032</c:v>
                </c:pt>
                <c:pt idx="3174">
                  <c:v>325.25</c:v>
                </c:pt>
                <c:pt idx="3175">
                  <c:v>321.45</c:v>
                </c:pt>
                <c:pt idx="3176">
                  <c:v>317.87</c:v>
                </c:pt>
                <c:pt idx="3177">
                  <c:v>319.92999999999961</c:v>
                </c:pt>
                <c:pt idx="3178">
                  <c:v>319.41999999999967</c:v>
                </c:pt>
                <c:pt idx="3179">
                  <c:v>322.98999999999961</c:v>
                </c:pt>
                <c:pt idx="3180">
                  <c:v>326.97000000000003</c:v>
                </c:pt>
                <c:pt idx="3181">
                  <c:v>325.63</c:v>
                </c:pt>
                <c:pt idx="3182">
                  <c:v>327.55</c:v>
                </c:pt>
                <c:pt idx="3183">
                  <c:v>325.83</c:v>
                </c:pt>
                <c:pt idx="3184">
                  <c:v>320.64000000000033</c:v>
                </c:pt>
                <c:pt idx="3185">
                  <c:v>322.77</c:v>
                </c:pt>
                <c:pt idx="3186">
                  <c:v>320.27</c:v>
                </c:pt>
                <c:pt idx="3187">
                  <c:v>325.94</c:v>
                </c:pt>
                <c:pt idx="3188">
                  <c:v>326.97999999999968</c:v>
                </c:pt>
                <c:pt idx="3189">
                  <c:v>327.71</c:v>
                </c:pt>
                <c:pt idx="3190">
                  <c:v>331.66</c:v>
                </c:pt>
                <c:pt idx="3191">
                  <c:v>332.91999999999967</c:v>
                </c:pt>
                <c:pt idx="3192">
                  <c:v>337.31</c:v>
                </c:pt>
                <c:pt idx="3193">
                  <c:v>333.18</c:v>
                </c:pt>
                <c:pt idx="3194">
                  <c:v>335.61</c:v>
                </c:pt>
                <c:pt idx="3195">
                  <c:v>332.42999999999961</c:v>
                </c:pt>
                <c:pt idx="3196">
                  <c:v>336.11</c:v>
                </c:pt>
                <c:pt idx="3197">
                  <c:v>339.35</c:v>
                </c:pt>
                <c:pt idx="3198">
                  <c:v>337.18</c:v>
                </c:pt>
                <c:pt idx="3199">
                  <c:v>339.98999999999961</c:v>
                </c:pt>
                <c:pt idx="3200">
                  <c:v>340.47999999999968</c:v>
                </c:pt>
                <c:pt idx="3201">
                  <c:v>340.63</c:v>
                </c:pt>
                <c:pt idx="3202">
                  <c:v>342.32</c:v>
                </c:pt>
                <c:pt idx="3203">
                  <c:v>342.32</c:v>
                </c:pt>
                <c:pt idx="3204">
                  <c:v>348.46</c:v>
                </c:pt>
                <c:pt idx="3205">
                  <c:v>354.89</c:v>
                </c:pt>
                <c:pt idx="3206">
                  <c:v>357.3</c:v>
                </c:pt>
                <c:pt idx="3207">
                  <c:v>353.94</c:v>
                </c:pt>
                <c:pt idx="3208">
                  <c:v>358.59</c:v>
                </c:pt>
                <c:pt idx="3209">
                  <c:v>352.56</c:v>
                </c:pt>
                <c:pt idx="3210">
                  <c:v>352.92999999999961</c:v>
                </c:pt>
                <c:pt idx="3211">
                  <c:v>352.57</c:v>
                </c:pt>
                <c:pt idx="3212">
                  <c:v>345.69</c:v>
                </c:pt>
                <c:pt idx="3213">
                  <c:v>349.89</c:v>
                </c:pt>
                <c:pt idx="3214">
                  <c:v>355.21999999999969</c:v>
                </c:pt>
                <c:pt idx="3215">
                  <c:v>357.02</c:v>
                </c:pt>
                <c:pt idx="3216">
                  <c:v>352.2</c:v>
                </c:pt>
                <c:pt idx="3217">
                  <c:v>349.89</c:v>
                </c:pt>
                <c:pt idx="3218">
                  <c:v>351.91999999999967</c:v>
                </c:pt>
                <c:pt idx="3219">
                  <c:v>350.35</c:v>
                </c:pt>
                <c:pt idx="3220">
                  <c:v>354.92999999999961</c:v>
                </c:pt>
                <c:pt idx="3221">
                  <c:v>360.21</c:v>
                </c:pt>
                <c:pt idx="3222">
                  <c:v>365.35</c:v>
                </c:pt>
                <c:pt idx="3223">
                  <c:v>361.75</c:v>
                </c:pt>
                <c:pt idx="3224">
                  <c:v>352.06</c:v>
                </c:pt>
                <c:pt idx="3225">
                  <c:v>353.2</c:v>
                </c:pt>
                <c:pt idx="3226">
                  <c:v>349.38</c:v>
                </c:pt>
                <c:pt idx="3227">
                  <c:v>348.65000000000032</c:v>
                </c:pt>
                <c:pt idx="3228">
                  <c:v>342.28999999999968</c:v>
                </c:pt>
                <c:pt idx="3229">
                  <c:v>344.26</c:v>
                </c:pt>
                <c:pt idx="3230">
                  <c:v>352.31</c:v>
                </c:pt>
                <c:pt idx="3231">
                  <c:v>342.51</c:v>
                </c:pt>
                <c:pt idx="3232">
                  <c:v>346.35</c:v>
                </c:pt>
                <c:pt idx="3233">
                  <c:v>347.82</c:v>
                </c:pt>
                <c:pt idx="3234">
                  <c:v>347.82</c:v>
                </c:pt>
                <c:pt idx="3235">
                  <c:v>347.88</c:v>
                </c:pt>
                <c:pt idx="3236">
                  <c:v>344.87</c:v>
                </c:pt>
                <c:pt idx="3237">
                  <c:v>343.12</c:v>
                </c:pt>
                <c:pt idx="3238">
                  <c:v>350.05</c:v>
                </c:pt>
                <c:pt idx="3239">
                  <c:v>348.78</c:v>
                </c:pt>
                <c:pt idx="3240">
                  <c:v>344.78</c:v>
                </c:pt>
                <c:pt idx="3241">
                  <c:v>343.21999999999969</c:v>
                </c:pt>
                <c:pt idx="3242">
                  <c:v>339.22999999999968</c:v>
                </c:pt>
                <c:pt idx="3243">
                  <c:v>340.09</c:v>
                </c:pt>
                <c:pt idx="3244">
                  <c:v>338.39</c:v>
                </c:pt>
                <c:pt idx="3245">
                  <c:v>330.22999999999968</c:v>
                </c:pt>
                <c:pt idx="3246">
                  <c:v>332.03</c:v>
                </c:pt>
                <c:pt idx="3247">
                  <c:v>337.56</c:v>
                </c:pt>
                <c:pt idx="3248">
                  <c:v>339.21999999999969</c:v>
                </c:pt>
                <c:pt idx="3249">
                  <c:v>333.57</c:v>
                </c:pt>
                <c:pt idx="3250">
                  <c:v>333.1</c:v>
                </c:pt>
                <c:pt idx="3251">
                  <c:v>336.75</c:v>
                </c:pt>
                <c:pt idx="3252">
                  <c:v>336.16</c:v>
                </c:pt>
                <c:pt idx="3253">
                  <c:v>335.04</c:v>
                </c:pt>
                <c:pt idx="3254">
                  <c:v>337.36</c:v>
                </c:pt>
                <c:pt idx="3255">
                  <c:v>337.07</c:v>
                </c:pt>
                <c:pt idx="3256">
                  <c:v>338.19</c:v>
                </c:pt>
                <c:pt idx="3257">
                  <c:v>342.3</c:v>
                </c:pt>
                <c:pt idx="3258">
                  <c:v>346.39</c:v>
                </c:pt>
                <c:pt idx="3259">
                  <c:v>346.39</c:v>
                </c:pt>
                <c:pt idx="3260">
                  <c:v>346.39</c:v>
                </c:pt>
                <c:pt idx="3261">
                  <c:v>349.86</c:v>
                </c:pt>
                <c:pt idx="3262">
                  <c:v>352.86</c:v>
                </c:pt>
                <c:pt idx="3263">
                  <c:v>348.05</c:v>
                </c:pt>
                <c:pt idx="3264">
                  <c:v>346.67</c:v>
                </c:pt>
                <c:pt idx="3265">
                  <c:v>350.28</c:v>
                </c:pt>
                <c:pt idx="3266">
                  <c:v>352.62</c:v>
                </c:pt>
                <c:pt idx="3267">
                  <c:v>355.91999999999967</c:v>
                </c:pt>
                <c:pt idx="3268">
                  <c:v>357.21</c:v>
                </c:pt>
                <c:pt idx="3269">
                  <c:v>347.31</c:v>
                </c:pt>
                <c:pt idx="3270">
                  <c:v>341.85</c:v>
                </c:pt>
                <c:pt idx="3271">
                  <c:v>342.90999999999968</c:v>
                </c:pt>
                <c:pt idx="3272">
                  <c:v>340.52</c:v>
                </c:pt>
                <c:pt idx="3273">
                  <c:v>339.61</c:v>
                </c:pt>
                <c:pt idx="3274">
                  <c:v>342.71</c:v>
                </c:pt>
                <c:pt idx="3275">
                  <c:v>340.74</c:v>
                </c:pt>
                <c:pt idx="3276">
                  <c:v>341.95</c:v>
                </c:pt>
                <c:pt idx="3277">
                  <c:v>344.38</c:v>
                </c:pt>
                <c:pt idx="3278">
                  <c:v>343.83</c:v>
                </c:pt>
                <c:pt idx="3279">
                  <c:v>349.83</c:v>
                </c:pt>
                <c:pt idx="3280">
                  <c:v>349.56</c:v>
                </c:pt>
                <c:pt idx="3281">
                  <c:v>353.69</c:v>
                </c:pt>
                <c:pt idx="3282">
                  <c:v>349.92999999999961</c:v>
                </c:pt>
                <c:pt idx="3283">
                  <c:v>350.05</c:v>
                </c:pt>
                <c:pt idx="3284">
                  <c:v>351.95</c:v>
                </c:pt>
                <c:pt idx="3285">
                  <c:v>350.72999999999968</c:v>
                </c:pt>
                <c:pt idx="3286">
                  <c:v>353.7</c:v>
                </c:pt>
                <c:pt idx="3287">
                  <c:v>348.03</c:v>
                </c:pt>
                <c:pt idx="3288">
                  <c:v>344.53</c:v>
                </c:pt>
                <c:pt idx="3289">
                  <c:v>338.82</c:v>
                </c:pt>
                <c:pt idx="3290">
                  <c:v>338.76</c:v>
                </c:pt>
                <c:pt idx="3291">
                  <c:v>337.54</c:v>
                </c:pt>
                <c:pt idx="3292">
                  <c:v>331.69</c:v>
                </c:pt>
                <c:pt idx="3293">
                  <c:v>332.32</c:v>
                </c:pt>
                <c:pt idx="3294">
                  <c:v>335.5</c:v>
                </c:pt>
                <c:pt idx="3295">
                  <c:v>336.67</c:v>
                </c:pt>
                <c:pt idx="3296">
                  <c:v>334.71</c:v>
                </c:pt>
                <c:pt idx="3297">
                  <c:v>336.12</c:v>
                </c:pt>
                <c:pt idx="3298">
                  <c:v>336.26</c:v>
                </c:pt>
                <c:pt idx="3299">
                  <c:v>329.69</c:v>
                </c:pt>
                <c:pt idx="3300">
                  <c:v>327.72999999999968</c:v>
                </c:pt>
                <c:pt idx="3301">
                  <c:v>327.10000000000002</c:v>
                </c:pt>
                <c:pt idx="3302">
                  <c:v>329.02</c:v>
                </c:pt>
                <c:pt idx="3303">
                  <c:v>325.41999999999967</c:v>
                </c:pt>
                <c:pt idx="3304">
                  <c:v>325.41999999999967</c:v>
                </c:pt>
                <c:pt idx="3305">
                  <c:v>327.02999999999969</c:v>
                </c:pt>
                <c:pt idx="3306">
                  <c:v>325.42999999999961</c:v>
                </c:pt>
                <c:pt idx="3307">
                  <c:v>323.61</c:v>
                </c:pt>
                <c:pt idx="3308">
                  <c:v>320.39</c:v>
                </c:pt>
                <c:pt idx="3309">
                  <c:v>313.72999999999968</c:v>
                </c:pt>
                <c:pt idx="3310">
                  <c:v>310.70999999999964</c:v>
                </c:pt>
                <c:pt idx="3311">
                  <c:v>311.27</c:v>
                </c:pt>
                <c:pt idx="3312">
                  <c:v>307.05</c:v>
                </c:pt>
                <c:pt idx="3313">
                  <c:v>306.32</c:v>
                </c:pt>
                <c:pt idx="3314">
                  <c:v>308.14999999999998</c:v>
                </c:pt>
                <c:pt idx="3315">
                  <c:v>303.04000000000002</c:v>
                </c:pt>
                <c:pt idx="3316">
                  <c:v>300.67</c:v>
                </c:pt>
                <c:pt idx="3317">
                  <c:v>304.35000000000002</c:v>
                </c:pt>
                <c:pt idx="3318">
                  <c:v>300.86</c:v>
                </c:pt>
                <c:pt idx="3319">
                  <c:v>300.70999999999964</c:v>
                </c:pt>
                <c:pt idx="3320">
                  <c:v>301.70999999999964</c:v>
                </c:pt>
                <c:pt idx="3321">
                  <c:v>304.32</c:v>
                </c:pt>
                <c:pt idx="3322">
                  <c:v>305.14000000000033</c:v>
                </c:pt>
                <c:pt idx="3323">
                  <c:v>305.58</c:v>
                </c:pt>
                <c:pt idx="3324">
                  <c:v>301.36</c:v>
                </c:pt>
                <c:pt idx="3325">
                  <c:v>295.13</c:v>
                </c:pt>
                <c:pt idx="3326">
                  <c:v>297.16000000000008</c:v>
                </c:pt>
                <c:pt idx="3327">
                  <c:v>300.58999999999969</c:v>
                </c:pt>
                <c:pt idx="3328">
                  <c:v>300.2</c:v>
                </c:pt>
                <c:pt idx="3329">
                  <c:v>303.56</c:v>
                </c:pt>
                <c:pt idx="3330">
                  <c:v>299.39999999999969</c:v>
                </c:pt>
                <c:pt idx="3331">
                  <c:v>297.8</c:v>
                </c:pt>
                <c:pt idx="3332">
                  <c:v>299.72999999999968</c:v>
                </c:pt>
                <c:pt idx="3333">
                  <c:v>303.39</c:v>
                </c:pt>
                <c:pt idx="3334">
                  <c:v>308.56</c:v>
                </c:pt>
                <c:pt idx="3335">
                  <c:v>308.16000000000008</c:v>
                </c:pt>
                <c:pt idx="3336">
                  <c:v>304.52</c:v>
                </c:pt>
                <c:pt idx="3337">
                  <c:v>307.97000000000003</c:v>
                </c:pt>
                <c:pt idx="3338">
                  <c:v>305.74</c:v>
                </c:pt>
                <c:pt idx="3339">
                  <c:v>306.10000000000002</c:v>
                </c:pt>
                <c:pt idx="3340">
                  <c:v>307.54000000000002</c:v>
                </c:pt>
                <c:pt idx="3341">
                  <c:v>312.77</c:v>
                </c:pt>
                <c:pt idx="3342">
                  <c:v>311.77999999999969</c:v>
                </c:pt>
                <c:pt idx="3343">
                  <c:v>312.37</c:v>
                </c:pt>
                <c:pt idx="3344">
                  <c:v>306.22000000000003</c:v>
                </c:pt>
                <c:pt idx="3345">
                  <c:v>305.87</c:v>
                </c:pt>
                <c:pt idx="3346">
                  <c:v>306.35000000000002</c:v>
                </c:pt>
                <c:pt idx="3347">
                  <c:v>307.64000000000033</c:v>
                </c:pt>
                <c:pt idx="3348">
                  <c:v>309.91000000000003</c:v>
                </c:pt>
                <c:pt idx="3349">
                  <c:v>311.72000000000003</c:v>
                </c:pt>
                <c:pt idx="3350">
                  <c:v>311.25</c:v>
                </c:pt>
                <c:pt idx="3351">
                  <c:v>313.22999999999968</c:v>
                </c:pt>
                <c:pt idx="3352">
                  <c:v>317.92999999999961</c:v>
                </c:pt>
                <c:pt idx="3353">
                  <c:v>310.72999999999968</c:v>
                </c:pt>
                <c:pt idx="3354">
                  <c:v>308.02999999999969</c:v>
                </c:pt>
                <c:pt idx="3355">
                  <c:v>308.42999999999961</c:v>
                </c:pt>
                <c:pt idx="3356">
                  <c:v>310.85000000000002</c:v>
                </c:pt>
                <c:pt idx="3357">
                  <c:v>304.85000000000002</c:v>
                </c:pt>
                <c:pt idx="3358">
                  <c:v>305.78999999999968</c:v>
                </c:pt>
                <c:pt idx="3359">
                  <c:v>306.3</c:v>
                </c:pt>
                <c:pt idx="3360">
                  <c:v>310.32</c:v>
                </c:pt>
                <c:pt idx="3361">
                  <c:v>307.72000000000003</c:v>
                </c:pt>
                <c:pt idx="3362">
                  <c:v>307.72000000000003</c:v>
                </c:pt>
                <c:pt idx="3363">
                  <c:v>307.72000000000003</c:v>
                </c:pt>
                <c:pt idx="3364">
                  <c:v>313.01</c:v>
                </c:pt>
                <c:pt idx="3365">
                  <c:v>314.97000000000003</c:v>
                </c:pt>
                <c:pt idx="3366">
                  <c:v>318.17</c:v>
                </c:pt>
                <c:pt idx="3367">
                  <c:v>321.52999999999969</c:v>
                </c:pt>
                <c:pt idx="3368">
                  <c:v>321.22999999999968</c:v>
                </c:pt>
                <c:pt idx="3369">
                  <c:v>315.38</c:v>
                </c:pt>
                <c:pt idx="3370">
                  <c:v>316.42999999999961</c:v>
                </c:pt>
                <c:pt idx="3371">
                  <c:v>313.06</c:v>
                </c:pt>
                <c:pt idx="3372">
                  <c:v>313.08</c:v>
                </c:pt>
                <c:pt idx="3373">
                  <c:v>312.38</c:v>
                </c:pt>
                <c:pt idx="3374">
                  <c:v>312.08</c:v>
                </c:pt>
                <c:pt idx="3375">
                  <c:v>310.83</c:v>
                </c:pt>
                <c:pt idx="3376">
                  <c:v>311.55</c:v>
                </c:pt>
                <c:pt idx="3377">
                  <c:v>314.39999999999969</c:v>
                </c:pt>
                <c:pt idx="3378">
                  <c:v>313.33999999999969</c:v>
                </c:pt>
                <c:pt idx="3379">
                  <c:v>310.39</c:v>
                </c:pt>
                <c:pt idx="3380">
                  <c:v>312.45999999999964</c:v>
                </c:pt>
                <c:pt idx="3381">
                  <c:v>311.01</c:v>
                </c:pt>
                <c:pt idx="3382">
                  <c:v>309.11</c:v>
                </c:pt>
                <c:pt idx="3383">
                  <c:v>308.86</c:v>
                </c:pt>
                <c:pt idx="3384">
                  <c:v>308.86</c:v>
                </c:pt>
                <c:pt idx="3385">
                  <c:v>306.45</c:v>
                </c:pt>
                <c:pt idx="3386">
                  <c:v>306.04000000000002</c:v>
                </c:pt>
                <c:pt idx="3387">
                  <c:v>306.70999999999964</c:v>
                </c:pt>
                <c:pt idx="3388">
                  <c:v>307.26</c:v>
                </c:pt>
                <c:pt idx="3389">
                  <c:v>307.26</c:v>
                </c:pt>
                <c:pt idx="3390">
                  <c:v>307.26</c:v>
                </c:pt>
                <c:pt idx="3391">
                  <c:v>298.48999999999961</c:v>
                </c:pt>
                <c:pt idx="3392">
                  <c:v>292.61</c:v>
                </c:pt>
                <c:pt idx="3393">
                  <c:v>291.11</c:v>
                </c:pt>
                <c:pt idx="3394">
                  <c:v>290.72999999999968</c:v>
                </c:pt>
                <c:pt idx="3395">
                  <c:v>289.51</c:v>
                </c:pt>
                <c:pt idx="3396">
                  <c:v>289.33</c:v>
                </c:pt>
                <c:pt idx="3397">
                  <c:v>286.06</c:v>
                </c:pt>
                <c:pt idx="3398">
                  <c:v>290.62</c:v>
                </c:pt>
                <c:pt idx="3399">
                  <c:v>290.62</c:v>
                </c:pt>
                <c:pt idx="3400">
                  <c:v>287.20999999999964</c:v>
                </c:pt>
                <c:pt idx="3401">
                  <c:v>289.08999999999969</c:v>
                </c:pt>
                <c:pt idx="3402">
                  <c:v>285.88</c:v>
                </c:pt>
                <c:pt idx="3403">
                  <c:v>290.47999999999968</c:v>
                </c:pt>
                <c:pt idx="3404">
                  <c:v>289.97999999999968</c:v>
                </c:pt>
                <c:pt idx="3405">
                  <c:v>296.64999999999998</c:v>
                </c:pt>
                <c:pt idx="3406">
                  <c:v>296.08999999999969</c:v>
                </c:pt>
                <c:pt idx="3407">
                  <c:v>293.48999999999961</c:v>
                </c:pt>
                <c:pt idx="3408">
                  <c:v>295.86</c:v>
                </c:pt>
                <c:pt idx="3409">
                  <c:v>290.91999999999967</c:v>
                </c:pt>
                <c:pt idx="3410">
                  <c:v>298.3</c:v>
                </c:pt>
                <c:pt idx="3411">
                  <c:v>301.20999999999964</c:v>
                </c:pt>
                <c:pt idx="3412">
                  <c:v>299.22000000000003</c:v>
                </c:pt>
                <c:pt idx="3413">
                  <c:v>301.33</c:v>
                </c:pt>
                <c:pt idx="3414">
                  <c:v>301.19</c:v>
                </c:pt>
                <c:pt idx="3415">
                  <c:v>301.07</c:v>
                </c:pt>
                <c:pt idx="3416">
                  <c:v>298.87</c:v>
                </c:pt>
                <c:pt idx="3417">
                  <c:v>303.45</c:v>
                </c:pt>
                <c:pt idx="3418">
                  <c:v>305.19</c:v>
                </c:pt>
                <c:pt idx="3419">
                  <c:v>299.69</c:v>
                </c:pt>
                <c:pt idx="3420">
                  <c:v>304.47999999999968</c:v>
                </c:pt>
                <c:pt idx="3421">
                  <c:v>301.91999999999967</c:v>
                </c:pt>
                <c:pt idx="3422">
                  <c:v>303.8</c:v>
                </c:pt>
                <c:pt idx="3423">
                  <c:v>306.70999999999964</c:v>
                </c:pt>
                <c:pt idx="3424">
                  <c:v>306.70999999999964</c:v>
                </c:pt>
                <c:pt idx="3425">
                  <c:v>303.45999999999964</c:v>
                </c:pt>
                <c:pt idx="3426">
                  <c:v>308.36</c:v>
                </c:pt>
                <c:pt idx="3427">
                  <c:v>312.85000000000002</c:v>
                </c:pt>
                <c:pt idx="3428">
                  <c:v>314.63</c:v>
                </c:pt>
                <c:pt idx="3429">
                  <c:v>315.11</c:v>
                </c:pt>
                <c:pt idx="3430">
                  <c:v>313.26</c:v>
                </c:pt>
                <c:pt idx="3431">
                  <c:v>312.39</c:v>
                </c:pt>
                <c:pt idx="3432">
                  <c:v>312.24</c:v>
                </c:pt>
                <c:pt idx="3433">
                  <c:v>310.11</c:v>
                </c:pt>
                <c:pt idx="3434">
                  <c:v>304.8</c:v>
                </c:pt>
                <c:pt idx="3435">
                  <c:v>306.89999999999969</c:v>
                </c:pt>
                <c:pt idx="3436">
                  <c:v>310.67</c:v>
                </c:pt>
                <c:pt idx="3437">
                  <c:v>311.52</c:v>
                </c:pt>
                <c:pt idx="3438">
                  <c:v>308.06</c:v>
                </c:pt>
                <c:pt idx="3439">
                  <c:v>306.35000000000002</c:v>
                </c:pt>
                <c:pt idx="3440">
                  <c:v>304.52</c:v>
                </c:pt>
                <c:pt idx="3441">
                  <c:v>304.06</c:v>
                </c:pt>
                <c:pt idx="3442">
                  <c:v>304.11</c:v>
                </c:pt>
                <c:pt idx="3443">
                  <c:v>304.44</c:v>
                </c:pt>
                <c:pt idx="3444">
                  <c:v>304.58</c:v>
                </c:pt>
                <c:pt idx="3445">
                  <c:v>304.95999999999964</c:v>
                </c:pt>
                <c:pt idx="3446">
                  <c:v>306.33</c:v>
                </c:pt>
                <c:pt idx="3447">
                  <c:v>310.91000000000003</c:v>
                </c:pt>
                <c:pt idx="3448">
                  <c:v>310.94</c:v>
                </c:pt>
                <c:pt idx="3449">
                  <c:v>312.27</c:v>
                </c:pt>
                <c:pt idx="3450">
                  <c:v>311.85000000000002</c:v>
                </c:pt>
                <c:pt idx="3451">
                  <c:v>314.37</c:v>
                </c:pt>
                <c:pt idx="3452">
                  <c:v>317.72999999999968</c:v>
                </c:pt>
                <c:pt idx="3453">
                  <c:v>316.88</c:v>
                </c:pt>
                <c:pt idx="3454">
                  <c:v>315.07</c:v>
                </c:pt>
                <c:pt idx="3455">
                  <c:v>313.77999999999969</c:v>
                </c:pt>
                <c:pt idx="3456">
                  <c:v>316.72000000000003</c:v>
                </c:pt>
                <c:pt idx="3457">
                  <c:v>317.60000000000002</c:v>
                </c:pt>
                <c:pt idx="3458">
                  <c:v>317.60000000000002</c:v>
                </c:pt>
                <c:pt idx="3459">
                  <c:v>314.54000000000002</c:v>
                </c:pt>
                <c:pt idx="3460">
                  <c:v>316.44</c:v>
                </c:pt>
                <c:pt idx="3461">
                  <c:v>316.58</c:v>
                </c:pt>
                <c:pt idx="3462">
                  <c:v>317.37</c:v>
                </c:pt>
                <c:pt idx="3463">
                  <c:v>317.92999999999961</c:v>
                </c:pt>
                <c:pt idx="3464">
                  <c:v>314.76</c:v>
                </c:pt>
                <c:pt idx="3465">
                  <c:v>313.2</c:v>
                </c:pt>
                <c:pt idx="3466">
                  <c:v>312.77</c:v>
                </c:pt>
                <c:pt idx="3467">
                  <c:v>310.38</c:v>
                </c:pt>
                <c:pt idx="3468">
                  <c:v>312.05</c:v>
                </c:pt>
                <c:pt idx="3469">
                  <c:v>314.47000000000003</c:v>
                </c:pt>
                <c:pt idx="3470">
                  <c:v>310.83999999999969</c:v>
                </c:pt>
                <c:pt idx="3471">
                  <c:v>314.69</c:v>
                </c:pt>
                <c:pt idx="3472">
                  <c:v>310.98999999999961</c:v>
                </c:pt>
                <c:pt idx="3473">
                  <c:v>314.2</c:v>
                </c:pt>
                <c:pt idx="3474">
                  <c:v>312.70999999999964</c:v>
                </c:pt>
                <c:pt idx="3475">
                  <c:v>311.58</c:v>
                </c:pt>
                <c:pt idx="3476">
                  <c:v>310.52</c:v>
                </c:pt>
                <c:pt idx="3477">
                  <c:v>311.77</c:v>
                </c:pt>
                <c:pt idx="3478">
                  <c:v>311.24</c:v>
                </c:pt>
                <c:pt idx="3479">
                  <c:v>308.91999999999967</c:v>
                </c:pt>
                <c:pt idx="3480">
                  <c:v>308.89999999999969</c:v>
                </c:pt>
                <c:pt idx="3481">
                  <c:v>308.69</c:v>
                </c:pt>
                <c:pt idx="3482">
                  <c:v>307.83999999999969</c:v>
                </c:pt>
                <c:pt idx="3483">
                  <c:v>311.13</c:v>
                </c:pt>
                <c:pt idx="3484">
                  <c:v>309.07</c:v>
                </c:pt>
                <c:pt idx="3485">
                  <c:v>310.47999999999968</c:v>
                </c:pt>
                <c:pt idx="3486">
                  <c:v>310.12</c:v>
                </c:pt>
                <c:pt idx="3487">
                  <c:v>313.14999999999998</c:v>
                </c:pt>
                <c:pt idx="3488">
                  <c:v>313.17</c:v>
                </c:pt>
                <c:pt idx="3489">
                  <c:v>316.48999999999961</c:v>
                </c:pt>
                <c:pt idx="3490">
                  <c:v>311.41999999999967</c:v>
                </c:pt>
                <c:pt idx="3491">
                  <c:v>311.62</c:v>
                </c:pt>
                <c:pt idx="3492">
                  <c:v>309.44</c:v>
                </c:pt>
                <c:pt idx="3493">
                  <c:v>313.10000000000002</c:v>
                </c:pt>
                <c:pt idx="3494">
                  <c:v>313.10000000000002</c:v>
                </c:pt>
                <c:pt idx="3495">
                  <c:v>307.47000000000003</c:v>
                </c:pt>
                <c:pt idx="3496">
                  <c:v>309.25</c:v>
                </c:pt>
                <c:pt idx="3497">
                  <c:v>311.45999999999964</c:v>
                </c:pt>
                <c:pt idx="3498">
                  <c:v>314.12</c:v>
                </c:pt>
                <c:pt idx="3499">
                  <c:v>315.52</c:v>
                </c:pt>
                <c:pt idx="3500">
                  <c:v>314.64000000000033</c:v>
                </c:pt>
                <c:pt idx="3501">
                  <c:v>313.66000000000008</c:v>
                </c:pt>
                <c:pt idx="3502">
                  <c:v>313.91999999999967</c:v>
                </c:pt>
                <c:pt idx="3503">
                  <c:v>307.51</c:v>
                </c:pt>
                <c:pt idx="3504">
                  <c:v>312.05</c:v>
                </c:pt>
                <c:pt idx="3505">
                  <c:v>309.70999999999964</c:v>
                </c:pt>
                <c:pt idx="3506">
                  <c:v>311.68</c:v>
                </c:pt>
                <c:pt idx="3507">
                  <c:v>316.54000000000002</c:v>
                </c:pt>
                <c:pt idx="3508">
                  <c:v>319.3</c:v>
                </c:pt>
                <c:pt idx="3509">
                  <c:v>320.89999999999969</c:v>
                </c:pt>
                <c:pt idx="3510">
                  <c:v>317.82</c:v>
                </c:pt>
                <c:pt idx="3511">
                  <c:v>317.64000000000033</c:v>
                </c:pt>
                <c:pt idx="3512">
                  <c:v>316.14999999999998</c:v>
                </c:pt>
                <c:pt idx="3513">
                  <c:v>314.75</c:v>
                </c:pt>
                <c:pt idx="3514">
                  <c:v>313.24</c:v>
                </c:pt>
                <c:pt idx="3515">
                  <c:v>310.72999999999968</c:v>
                </c:pt>
                <c:pt idx="3516">
                  <c:v>312.3</c:v>
                </c:pt>
                <c:pt idx="3517">
                  <c:v>312.76</c:v>
                </c:pt>
                <c:pt idx="3518">
                  <c:v>315.74</c:v>
                </c:pt>
                <c:pt idx="3519">
                  <c:v>316.7</c:v>
                </c:pt>
                <c:pt idx="3520">
                  <c:v>316.64000000000033</c:v>
                </c:pt>
                <c:pt idx="3521">
                  <c:v>316.64000000000033</c:v>
                </c:pt>
                <c:pt idx="3522">
                  <c:v>318.52</c:v>
                </c:pt>
                <c:pt idx="3523">
                  <c:v>320.86</c:v>
                </c:pt>
                <c:pt idx="3524">
                  <c:v>321.22999999999968</c:v>
                </c:pt>
                <c:pt idx="3525">
                  <c:v>323.04000000000002</c:v>
                </c:pt>
                <c:pt idx="3526">
                  <c:v>322.87</c:v>
                </c:pt>
                <c:pt idx="3527">
                  <c:v>322.95999999999964</c:v>
                </c:pt>
                <c:pt idx="3528">
                  <c:v>325.08999999999969</c:v>
                </c:pt>
                <c:pt idx="3529">
                  <c:v>320.64000000000033</c:v>
                </c:pt>
                <c:pt idx="3530">
                  <c:v>318.58999999999969</c:v>
                </c:pt>
                <c:pt idx="3531">
                  <c:v>323.60000000000002</c:v>
                </c:pt>
                <c:pt idx="3532">
                  <c:v>325.98999999999961</c:v>
                </c:pt>
                <c:pt idx="3533">
                  <c:v>324.44</c:v>
                </c:pt>
                <c:pt idx="3534">
                  <c:v>319.08999999999969</c:v>
                </c:pt>
                <c:pt idx="3535">
                  <c:v>317.89</c:v>
                </c:pt>
                <c:pt idx="3536">
                  <c:v>319.13</c:v>
                </c:pt>
                <c:pt idx="3537">
                  <c:v>316.67</c:v>
                </c:pt>
                <c:pt idx="3538">
                  <c:v>319.61</c:v>
                </c:pt>
                <c:pt idx="3539">
                  <c:v>320.98999999999961</c:v>
                </c:pt>
                <c:pt idx="3540">
                  <c:v>324.10000000000002</c:v>
                </c:pt>
                <c:pt idx="3541">
                  <c:v>319.87</c:v>
                </c:pt>
                <c:pt idx="3542">
                  <c:v>320.18</c:v>
                </c:pt>
                <c:pt idx="3543">
                  <c:v>318.17</c:v>
                </c:pt>
                <c:pt idx="3544">
                  <c:v>312.28999999999968</c:v>
                </c:pt>
                <c:pt idx="3545">
                  <c:v>312.76</c:v>
                </c:pt>
                <c:pt idx="3546">
                  <c:v>313.05</c:v>
                </c:pt>
                <c:pt idx="3547">
                  <c:v>311.04000000000002</c:v>
                </c:pt>
                <c:pt idx="3548">
                  <c:v>310.91000000000003</c:v>
                </c:pt>
                <c:pt idx="3549">
                  <c:v>311.57</c:v>
                </c:pt>
                <c:pt idx="3550">
                  <c:v>311.27</c:v>
                </c:pt>
                <c:pt idx="3551">
                  <c:v>311.89</c:v>
                </c:pt>
                <c:pt idx="3552">
                  <c:v>301.27</c:v>
                </c:pt>
                <c:pt idx="3553">
                  <c:v>306.14999999999998</c:v>
                </c:pt>
                <c:pt idx="3554">
                  <c:v>301.98999999999961</c:v>
                </c:pt>
                <c:pt idx="3555">
                  <c:v>299.77</c:v>
                </c:pt>
                <c:pt idx="3556">
                  <c:v>300.63</c:v>
                </c:pt>
                <c:pt idx="3557">
                  <c:v>303.10000000000002</c:v>
                </c:pt>
                <c:pt idx="3558">
                  <c:v>305.64000000000033</c:v>
                </c:pt>
                <c:pt idx="3559">
                  <c:v>305.58999999999969</c:v>
                </c:pt>
                <c:pt idx="3560">
                  <c:v>304.44</c:v>
                </c:pt>
                <c:pt idx="3561">
                  <c:v>306.83</c:v>
                </c:pt>
                <c:pt idx="3562">
                  <c:v>307.20999999999964</c:v>
                </c:pt>
                <c:pt idx="3563">
                  <c:v>308.76</c:v>
                </c:pt>
                <c:pt idx="3564">
                  <c:v>308.76</c:v>
                </c:pt>
                <c:pt idx="3565">
                  <c:v>311.2</c:v>
                </c:pt>
                <c:pt idx="3566">
                  <c:v>310.91999999999967</c:v>
                </c:pt>
                <c:pt idx="3567">
                  <c:v>311.76</c:v>
                </c:pt>
                <c:pt idx="3568">
                  <c:v>312.32</c:v>
                </c:pt>
                <c:pt idx="3569">
                  <c:v>314.77999999999969</c:v>
                </c:pt>
                <c:pt idx="3570">
                  <c:v>316.97000000000003</c:v>
                </c:pt>
                <c:pt idx="3571">
                  <c:v>321.19</c:v>
                </c:pt>
                <c:pt idx="3572">
                  <c:v>320.32</c:v>
                </c:pt>
                <c:pt idx="3573">
                  <c:v>320.91999999999967</c:v>
                </c:pt>
                <c:pt idx="3574">
                  <c:v>324.87</c:v>
                </c:pt>
                <c:pt idx="3575">
                  <c:v>326.78999999999968</c:v>
                </c:pt>
                <c:pt idx="3576">
                  <c:v>329.57</c:v>
                </c:pt>
                <c:pt idx="3577">
                  <c:v>333.32</c:v>
                </c:pt>
                <c:pt idx="3578">
                  <c:v>333.15000000000032</c:v>
                </c:pt>
                <c:pt idx="3579">
                  <c:v>333.75</c:v>
                </c:pt>
                <c:pt idx="3580">
                  <c:v>331.69</c:v>
                </c:pt>
                <c:pt idx="3581">
                  <c:v>331.91999999999967</c:v>
                </c:pt>
                <c:pt idx="3582">
                  <c:v>336.71</c:v>
                </c:pt>
                <c:pt idx="3583">
                  <c:v>333.67</c:v>
                </c:pt>
                <c:pt idx="3584">
                  <c:v>332.32</c:v>
                </c:pt>
                <c:pt idx="3585">
                  <c:v>328.61</c:v>
                </c:pt>
                <c:pt idx="3586">
                  <c:v>328.22999999999968</c:v>
                </c:pt>
                <c:pt idx="3587">
                  <c:v>330.22999999999968</c:v>
                </c:pt>
                <c:pt idx="3588">
                  <c:v>329.21</c:v>
                </c:pt>
                <c:pt idx="3589">
                  <c:v>323.39</c:v>
                </c:pt>
                <c:pt idx="3590">
                  <c:v>325.89</c:v>
                </c:pt>
                <c:pt idx="3591">
                  <c:v>329.33</c:v>
                </c:pt>
                <c:pt idx="3592">
                  <c:v>332.6</c:v>
                </c:pt>
                <c:pt idx="3593">
                  <c:v>333.5</c:v>
                </c:pt>
                <c:pt idx="3594">
                  <c:v>338.14000000000033</c:v>
                </c:pt>
                <c:pt idx="3595">
                  <c:v>339.33</c:v>
                </c:pt>
                <c:pt idx="3596">
                  <c:v>338.82</c:v>
                </c:pt>
                <c:pt idx="3597">
                  <c:v>342.18</c:v>
                </c:pt>
                <c:pt idx="3598">
                  <c:v>340.11</c:v>
                </c:pt>
                <c:pt idx="3599">
                  <c:v>336.35</c:v>
                </c:pt>
                <c:pt idx="3600">
                  <c:v>335.34000000000032</c:v>
                </c:pt>
                <c:pt idx="3601">
                  <c:v>336.13</c:v>
                </c:pt>
                <c:pt idx="3602">
                  <c:v>342.32</c:v>
                </c:pt>
                <c:pt idx="3603">
                  <c:v>345.87</c:v>
                </c:pt>
                <c:pt idx="3604">
                  <c:v>349.42999999999961</c:v>
                </c:pt>
                <c:pt idx="3605">
                  <c:v>344.19</c:v>
                </c:pt>
                <c:pt idx="3606">
                  <c:v>351.01</c:v>
                </c:pt>
                <c:pt idx="3607">
                  <c:v>349.19</c:v>
                </c:pt>
                <c:pt idx="3608">
                  <c:v>353.57</c:v>
                </c:pt>
                <c:pt idx="3609">
                  <c:v>349.76</c:v>
                </c:pt>
                <c:pt idx="3610">
                  <c:v>355.63</c:v>
                </c:pt>
                <c:pt idx="3611">
                  <c:v>354.4</c:v>
                </c:pt>
                <c:pt idx="3612">
                  <c:v>353.85</c:v>
                </c:pt>
                <c:pt idx="3613">
                  <c:v>354.54</c:v>
                </c:pt>
                <c:pt idx="3614">
                  <c:v>349.51</c:v>
                </c:pt>
                <c:pt idx="3615">
                  <c:v>345.53</c:v>
                </c:pt>
                <c:pt idx="3616">
                  <c:v>351.46</c:v>
                </c:pt>
                <c:pt idx="3617">
                  <c:v>346.48999999999961</c:v>
                </c:pt>
                <c:pt idx="3618">
                  <c:v>349.42999999999961</c:v>
                </c:pt>
                <c:pt idx="3619">
                  <c:v>346.9</c:v>
                </c:pt>
                <c:pt idx="3620">
                  <c:v>352.57</c:v>
                </c:pt>
                <c:pt idx="3621">
                  <c:v>350.82</c:v>
                </c:pt>
                <c:pt idx="3622">
                  <c:v>350.82</c:v>
                </c:pt>
                <c:pt idx="3623">
                  <c:v>354.28999999999968</c:v>
                </c:pt>
                <c:pt idx="3624">
                  <c:v>353.37</c:v>
                </c:pt>
                <c:pt idx="3625">
                  <c:v>347.77</c:v>
                </c:pt>
                <c:pt idx="3626">
                  <c:v>343.78</c:v>
                </c:pt>
                <c:pt idx="3627">
                  <c:v>343.59</c:v>
                </c:pt>
                <c:pt idx="3628">
                  <c:v>339.84000000000032</c:v>
                </c:pt>
                <c:pt idx="3629">
                  <c:v>339.91999999999967</c:v>
                </c:pt>
                <c:pt idx="3630">
                  <c:v>340.08</c:v>
                </c:pt>
                <c:pt idx="3631">
                  <c:v>339.51</c:v>
                </c:pt>
                <c:pt idx="3632">
                  <c:v>343.12</c:v>
                </c:pt>
                <c:pt idx="3633">
                  <c:v>342.91999999999967</c:v>
                </c:pt>
                <c:pt idx="3634">
                  <c:v>343.45</c:v>
                </c:pt>
                <c:pt idx="3635">
                  <c:v>346.83</c:v>
                </c:pt>
                <c:pt idx="3636">
                  <c:v>354.08</c:v>
                </c:pt>
                <c:pt idx="3637">
                  <c:v>349.55</c:v>
                </c:pt>
                <c:pt idx="3638">
                  <c:v>348.6</c:v>
                </c:pt>
                <c:pt idx="3639">
                  <c:v>347.98999999999961</c:v>
                </c:pt>
                <c:pt idx="3640">
                  <c:v>347.05</c:v>
                </c:pt>
                <c:pt idx="3641">
                  <c:v>350.19</c:v>
                </c:pt>
                <c:pt idx="3642">
                  <c:v>349.64000000000033</c:v>
                </c:pt>
                <c:pt idx="3643">
                  <c:v>354.22999999999968</c:v>
                </c:pt>
                <c:pt idx="3644">
                  <c:v>354.75</c:v>
                </c:pt>
                <c:pt idx="3645">
                  <c:v>354.75</c:v>
                </c:pt>
                <c:pt idx="3646">
                  <c:v>358.34000000000032</c:v>
                </c:pt>
                <c:pt idx="3647">
                  <c:v>359.78</c:v>
                </c:pt>
                <c:pt idx="3648">
                  <c:v>358.51</c:v>
                </c:pt>
                <c:pt idx="3649">
                  <c:v>358.71</c:v>
                </c:pt>
                <c:pt idx="3650">
                  <c:v>358.71</c:v>
                </c:pt>
                <c:pt idx="3651">
                  <c:v>366.86</c:v>
                </c:pt>
                <c:pt idx="3652">
                  <c:v>368.61</c:v>
                </c:pt>
                <c:pt idx="3653">
                  <c:v>366.21999999999969</c:v>
                </c:pt>
                <c:pt idx="3654">
                  <c:v>362.32</c:v>
                </c:pt>
                <c:pt idx="3655">
                  <c:v>368.17</c:v>
                </c:pt>
                <c:pt idx="3656">
                  <c:v>366.58</c:v>
                </c:pt>
                <c:pt idx="3657">
                  <c:v>363.89</c:v>
                </c:pt>
                <c:pt idx="3658">
                  <c:v>365.15000000000032</c:v>
                </c:pt>
                <c:pt idx="3659">
                  <c:v>370.21999999999969</c:v>
                </c:pt>
                <c:pt idx="3660">
                  <c:v>365.57</c:v>
                </c:pt>
                <c:pt idx="3661">
                  <c:v>361.26</c:v>
                </c:pt>
                <c:pt idx="3662">
                  <c:v>361.40999999999968</c:v>
                </c:pt>
                <c:pt idx="3663">
                  <c:v>360.87</c:v>
                </c:pt>
                <c:pt idx="3664">
                  <c:v>360.87</c:v>
                </c:pt>
                <c:pt idx="3665">
                  <c:v>356.81</c:v>
                </c:pt>
                <c:pt idx="3666">
                  <c:v>349.24</c:v>
                </c:pt>
                <c:pt idx="3667">
                  <c:v>357.36</c:v>
                </c:pt>
                <c:pt idx="3668">
                  <c:v>361.64000000000033</c:v>
                </c:pt>
                <c:pt idx="3669">
                  <c:v>364.16</c:v>
                </c:pt>
                <c:pt idx="3670">
                  <c:v>367.2</c:v>
                </c:pt>
                <c:pt idx="3671">
                  <c:v>368.52</c:v>
                </c:pt>
                <c:pt idx="3672">
                  <c:v>369.46</c:v>
                </c:pt>
                <c:pt idx="3673">
                  <c:v>364.34000000000032</c:v>
                </c:pt>
                <c:pt idx="3674">
                  <c:v>367.85</c:v>
                </c:pt>
                <c:pt idx="3675">
                  <c:v>363.8</c:v>
                </c:pt>
                <c:pt idx="3676">
                  <c:v>364.11</c:v>
                </c:pt>
                <c:pt idx="3677">
                  <c:v>367.25</c:v>
                </c:pt>
                <c:pt idx="3678">
                  <c:v>375.67</c:v>
                </c:pt>
                <c:pt idx="3679">
                  <c:v>377.98999999999961</c:v>
                </c:pt>
                <c:pt idx="3680">
                  <c:v>375.38</c:v>
                </c:pt>
                <c:pt idx="3681">
                  <c:v>376.92999999999961</c:v>
                </c:pt>
                <c:pt idx="3682">
                  <c:v>384.39</c:v>
                </c:pt>
                <c:pt idx="3683">
                  <c:v>384.21999999999969</c:v>
                </c:pt>
                <c:pt idx="3684">
                  <c:v>384.21999999999969</c:v>
                </c:pt>
                <c:pt idx="3685">
                  <c:v>395.25</c:v>
                </c:pt>
                <c:pt idx="3686">
                  <c:v>395.45</c:v>
                </c:pt>
                <c:pt idx="3687">
                  <c:v>396.7</c:v>
                </c:pt>
                <c:pt idx="3688">
                  <c:v>398.68</c:v>
                </c:pt>
                <c:pt idx="3689">
                  <c:v>401.27</c:v>
                </c:pt>
                <c:pt idx="3690">
                  <c:v>405.46999999999969</c:v>
                </c:pt>
                <c:pt idx="3691">
                  <c:v>405.41999999999967</c:v>
                </c:pt>
                <c:pt idx="3692">
                  <c:v>413.59</c:v>
                </c:pt>
                <c:pt idx="3693">
                  <c:v>412.75</c:v>
                </c:pt>
                <c:pt idx="3694">
                  <c:v>416.74</c:v>
                </c:pt>
                <c:pt idx="3695">
                  <c:v>408.85</c:v>
                </c:pt>
                <c:pt idx="3696">
                  <c:v>419.75</c:v>
                </c:pt>
                <c:pt idx="3697">
                  <c:v>415.28</c:v>
                </c:pt>
                <c:pt idx="3698">
                  <c:v>411.65000000000032</c:v>
                </c:pt>
                <c:pt idx="3699">
                  <c:v>412.16</c:v>
                </c:pt>
                <c:pt idx="3700">
                  <c:v>415.45</c:v>
                </c:pt>
                <c:pt idx="3701">
                  <c:v>417.5</c:v>
                </c:pt>
                <c:pt idx="3702">
                  <c:v>420.64000000000033</c:v>
                </c:pt>
                <c:pt idx="3703">
                  <c:v>416.4</c:v>
                </c:pt>
                <c:pt idx="3704">
                  <c:v>397.15000000000032</c:v>
                </c:pt>
                <c:pt idx="3705">
                  <c:v>404.77</c:v>
                </c:pt>
                <c:pt idx="3706">
                  <c:v>388.3</c:v>
                </c:pt>
                <c:pt idx="3707">
                  <c:v>381.74</c:v>
                </c:pt>
                <c:pt idx="3708">
                  <c:v>381.74</c:v>
                </c:pt>
                <c:pt idx="3709">
                  <c:v>383.52</c:v>
                </c:pt>
                <c:pt idx="3710">
                  <c:v>389.77</c:v>
                </c:pt>
                <c:pt idx="3711">
                  <c:v>397.69</c:v>
                </c:pt>
                <c:pt idx="3712">
                  <c:v>400.31</c:v>
                </c:pt>
                <c:pt idx="3713">
                  <c:v>394.54</c:v>
                </c:pt>
                <c:pt idx="3714">
                  <c:v>386.89</c:v>
                </c:pt>
                <c:pt idx="3715">
                  <c:v>384.92999999999961</c:v>
                </c:pt>
                <c:pt idx="3716">
                  <c:v>391.38</c:v>
                </c:pt>
                <c:pt idx="3717">
                  <c:v>390.90999999999968</c:v>
                </c:pt>
                <c:pt idx="3718">
                  <c:v>395.09</c:v>
                </c:pt>
                <c:pt idx="3719">
                  <c:v>401.77</c:v>
                </c:pt>
                <c:pt idx="3720">
                  <c:v>399.06</c:v>
                </c:pt>
                <c:pt idx="3721">
                  <c:v>408.52</c:v>
                </c:pt>
                <c:pt idx="3722">
                  <c:v>408.53</c:v>
                </c:pt>
                <c:pt idx="3723">
                  <c:v>407.45</c:v>
                </c:pt>
                <c:pt idx="3724">
                  <c:v>409.91999999999967</c:v>
                </c:pt>
                <c:pt idx="3725">
                  <c:v>415.36</c:v>
                </c:pt>
                <c:pt idx="3726">
                  <c:v>418.76</c:v>
                </c:pt>
                <c:pt idx="3727">
                  <c:v>419.45</c:v>
                </c:pt>
                <c:pt idx="3728">
                  <c:v>419.36</c:v>
                </c:pt>
                <c:pt idx="3729">
                  <c:v>415.6</c:v>
                </c:pt>
                <c:pt idx="3730">
                  <c:v>422.11</c:v>
                </c:pt>
                <c:pt idx="3731">
                  <c:v>421.89</c:v>
                </c:pt>
                <c:pt idx="3732">
                  <c:v>414.89</c:v>
                </c:pt>
                <c:pt idx="3733">
                  <c:v>417.8</c:v>
                </c:pt>
                <c:pt idx="3734">
                  <c:v>419.36</c:v>
                </c:pt>
                <c:pt idx="3735">
                  <c:v>411.62</c:v>
                </c:pt>
                <c:pt idx="3736">
                  <c:v>409.27</c:v>
                </c:pt>
                <c:pt idx="3737">
                  <c:v>400.1</c:v>
                </c:pt>
                <c:pt idx="3738">
                  <c:v>408.13</c:v>
                </c:pt>
                <c:pt idx="3739">
                  <c:v>413.86</c:v>
                </c:pt>
                <c:pt idx="3740">
                  <c:v>418.54</c:v>
                </c:pt>
                <c:pt idx="3741">
                  <c:v>420.18</c:v>
                </c:pt>
                <c:pt idx="3742">
                  <c:v>422.08</c:v>
                </c:pt>
                <c:pt idx="3743">
                  <c:v>427.47999999999968</c:v>
                </c:pt>
                <c:pt idx="3744">
                  <c:v>424.81</c:v>
                </c:pt>
                <c:pt idx="3745">
                  <c:v>424.75</c:v>
                </c:pt>
                <c:pt idx="3746">
                  <c:v>422</c:v>
                </c:pt>
                <c:pt idx="3747">
                  <c:v>421.61</c:v>
                </c:pt>
                <c:pt idx="3748">
                  <c:v>426.42999999999961</c:v>
                </c:pt>
                <c:pt idx="3749">
                  <c:v>423.21999999999969</c:v>
                </c:pt>
                <c:pt idx="3750">
                  <c:v>427.22999999999968</c:v>
                </c:pt>
                <c:pt idx="3751">
                  <c:v>434.4</c:v>
                </c:pt>
                <c:pt idx="3752">
                  <c:v>428.77</c:v>
                </c:pt>
                <c:pt idx="3753">
                  <c:v>431.07</c:v>
                </c:pt>
                <c:pt idx="3754">
                  <c:v>431.07</c:v>
                </c:pt>
                <c:pt idx="3755">
                  <c:v>425.24</c:v>
                </c:pt>
                <c:pt idx="3756">
                  <c:v>428</c:v>
                </c:pt>
                <c:pt idx="3757">
                  <c:v>417.88</c:v>
                </c:pt>
                <c:pt idx="3758">
                  <c:v>422.17</c:v>
                </c:pt>
                <c:pt idx="3759">
                  <c:v>425.77</c:v>
                </c:pt>
                <c:pt idx="3760">
                  <c:v>419.72999999999968</c:v>
                </c:pt>
                <c:pt idx="3761">
                  <c:v>416.75</c:v>
                </c:pt>
                <c:pt idx="3762">
                  <c:v>426.15000000000032</c:v>
                </c:pt>
                <c:pt idx="3763">
                  <c:v>441.51</c:v>
                </c:pt>
                <c:pt idx="3764">
                  <c:v>435.28999999999968</c:v>
                </c:pt>
                <c:pt idx="3765">
                  <c:v>432.52</c:v>
                </c:pt>
                <c:pt idx="3766">
                  <c:v>444.21999999999969</c:v>
                </c:pt>
                <c:pt idx="3767">
                  <c:v>445.22999999999968</c:v>
                </c:pt>
                <c:pt idx="3768">
                  <c:v>445.87</c:v>
                </c:pt>
                <c:pt idx="3769">
                  <c:v>449.77</c:v>
                </c:pt>
                <c:pt idx="3770">
                  <c:v>451.18</c:v>
                </c:pt>
                <c:pt idx="3771">
                  <c:v>456.82</c:v>
                </c:pt>
                <c:pt idx="3772">
                  <c:v>449.13</c:v>
                </c:pt>
                <c:pt idx="3773">
                  <c:v>455.38</c:v>
                </c:pt>
                <c:pt idx="3774">
                  <c:v>455.38</c:v>
                </c:pt>
                <c:pt idx="3775">
                  <c:v>454.61</c:v>
                </c:pt>
                <c:pt idx="3776">
                  <c:v>452.14000000000033</c:v>
                </c:pt>
                <c:pt idx="3777">
                  <c:v>463.27</c:v>
                </c:pt>
                <c:pt idx="3778">
                  <c:v>464.4</c:v>
                </c:pt>
                <c:pt idx="3779">
                  <c:v>462.74</c:v>
                </c:pt>
                <c:pt idx="3780">
                  <c:v>467.57</c:v>
                </c:pt>
                <c:pt idx="3781">
                  <c:v>473.52</c:v>
                </c:pt>
                <c:pt idx="3782">
                  <c:v>472.36</c:v>
                </c:pt>
                <c:pt idx="3783">
                  <c:v>472.36</c:v>
                </c:pt>
                <c:pt idx="3784">
                  <c:v>459.04</c:v>
                </c:pt>
                <c:pt idx="3785">
                  <c:v>448.05</c:v>
                </c:pt>
                <c:pt idx="3786">
                  <c:v>449.62</c:v>
                </c:pt>
                <c:pt idx="3787">
                  <c:v>457.48999999999961</c:v>
                </c:pt>
                <c:pt idx="3788">
                  <c:v>461.42999999999961</c:v>
                </c:pt>
                <c:pt idx="3789">
                  <c:v>458.72999999999968</c:v>
                </c:pt>
                <c:pt idx="3790">
                  <c:v>449.48999999999961</c:v>
                </c:pt>
                <c:pt idx="3791">
                  <c:v>444.58</c:v>
                </c:pt>
                <c:pt idx="3792">
                  <c:v>432.6</c:v>
                </c:pt>
                <c:pt idx="3793">
                  <c:v>427.17</c:v>
                </c:pt>
                <c:pt idx="3794">
                  <c:v>428.46999999999969</c:v>
                </c:pt>
                <c:pt idx="3795">
                  <c:v>421.16</c:v>
                </c:pt>
                <c:pt idx="3796">
                  <c:v>414.15000000000032</c:v>
                </c:pt>
                <c:pt idx="3797">
                  <c:v>412.9</c:v>
                </c:pt>
                <c:pt idx="3798">
                  <c:v>412.21999999999969</c:v>
                </c:pt>
                <c:pt idx="3799">
                  <c:v>413.75</c:v>
                </c:pt>
                <c:pt idx="3800">
                  <c:v>411.52</c:v>
                </c:pt>
                <c:pt idx="3801">
                  <c:v>418</c:v>
                </c:pt>
                <c:pt idx="3802">
                  <c:v>416.4</c:v>
                </c:pt>
                <c:pt idx="3803">
                  <c:v>416.02</c:v>
                </c:pt>
                <c:pt idx="3804">
                  <c:v>401.97999999999968</c:v>
                </c:pt>
                <c:pt idx="3805">
                  <c:v>398.40999999999968</c:v>
                </c:pt>
                <c:pt idx="3806">
                  <c:v>397.24</c:v>
                </c:pt>
                <c:pt idx="3807">
                  <c:v>399.54</c:v>
                </c:pt>
                <c:pt idx="3808">
                  <c:v>387.41999999999967</c:v>
                </c:pt>
                <c:pt idx="3809">
                  <c:v>385.13</c:v>
                </c:pt>
                <c:pt idx="3810">
                  <c:v>384</c:v>
                </c:pt>
                <c:pt idx="3811">
                  <c:v>393.16</c:v>
                </c:pt>
                <c:pt idx="3812">
                  <c:v>389.45</c:v>
                </c:pt>
                <c:pt idx="3813">
                  <c:v>382.3</c:v>
                </c:pt>
                <c:pt idx="3814">
                  <c:v>384.35</c:v>
                </c:pt>
                <c:pt idx="3815">
                  <c:v>388.51</c:v>
                </c:pt>
                <c:pt idx="3816">
                  <c:v>391.33</c:v>
                </c:pt>
                <c:pt idx="3817">
                  <c:v>405.91999999999967</c:v>
                </c:pt>
                <c:pt idx="3818">
                  <c:v>394.8</c:v>
                </c:pt>
                <c:pt idx="3819">
                  <c:v>395.13</c:v>
                </c:pt>
                <c:pt idx="3820">
                  <c:v>398.13</c:v>
                </c:pt>
                <c:pt idx="3821">
                  <c:v>401.02</c:v>
                </c:pt>
                <c:pt idx="3822">
                  <c:v>393.35</c:v>
                </c:pt>
                <c:pt idx="3823">
                  <c:v>391.71</c:v>
                </c:pt>
                <c:pt idx="3824">
                  <c:v>391.71</c:v>
                </c:pt>
                <c:pt idx="3825">
                  <c:v>378.55</c:v>
                </c:pt>
                <c:pt idx="3826">
                  <c:v>376.66</c:v>
                </c:pt>
                <c:pt idx="3827">
                  <c:v>374.55</c:v>
                </c:pt>
                <c:pt idx="3828">
                  <c:v>367.7</c:v>
                </c:pt>
                <c:pt idx="3829">
                  <c:v>367.15000000000032</c:v>
                </c:pt>
                <c:pt idx="3830">
                  <c:v>360.89</c:v>
                </c:pt>
                <c:pt idx="3831">
                  <c:v>358.27</c:v>
                </c:pt>
                <c:pt idx="3832">
                  <c:v>354.97999999999968</c:v>
                </c:pt>
                <c:pt idx="3833">
                  <c:v>360.02</c:v>
                </c:pt>
                <c:pt idx="3834">
                  <c:v>352.09</c:v>
                </c:pt>
                <c:pt idx="3835">
                  <c:v>341.17</c:v>
                </c:pt>
                <c:pt idx="3836">
                  <c:v>352.21999999999969</c:v>
                </c:pt>
                <c:pt idx="3837">
                  <c:v>351.02</c:v>
                </c:pt>
                <c:pt idx="3838">
                  <c:v>359.58</c:v>
                </c:pt>
                <c:pt idx="3839">
                  <c:v>373.44</c:v>
                </c:pt>
                <c:pt idx="3840">
                  <c:v>367.41999999999967</c:v>
                </c:pt>
                <c:pt idx="3841">
                  <c:v>366.44</c:v>
                </c:pt>
                <c:pt idx="3842">
                  <c:v>369.02</c:v>
                </c:pt>
                <c:pt idx="3843">
                  <c:v>364.57</c:v>
                </c:pt>
                <c:pt idx="3844">
                  <c:v>343.21999999999969</c:v>
                </c:pt>
                <c:pt idx="3845">
                  <c:v>345.53</c:v>
                </c:pt>
                <c:pt idx="3846">
                  <c:v>343.24</c:v>
                </c:pt>
                <c:pt idx="3847">
                  <c:v>328.41999999999967</c:v>
                </c:pt>
                <c:pt idx="3848">
                  <c:v>326.51</c:v>
                </c:pt>
                <c:pt idx="3849">
                  <c:v>309.7</c:v>
                </c:pt>
                <c:pt idx="3850">
                  <c:v>312.81</c:v>
                </c:pt>
                <c:pt idx="3851">
                  <c:v>311.66000000000008</c:v>
                </c:pt>
                <c:pt idx="3852">
                  <c:v>310.52999999999969</c:v>
                </c:pt>
                <c:pt idx="3853">
                  <c:v>289.89</c:v>
                </c:pt>
                <c:pt idx="3854">
                  <c:v>298.7</c:v>
                </c:pt>
                <c:pt idx="3855">
                  <c:v>296.41999999999967</c:v>
                </c:pt>
                <c:pt idx="3856">
                  <c:v>283.04000000000002</c:v>
                </c:pt>
                <c:pt idx="3857">
                  <c:v>275.66000000000008</c:v>
                </c:pt>
                <c:pt idx="3858">
                  <c:v>282.14000000000033</c:v>
                </c:pt>
                <c:pt idx="3859">
                  <c:v>283.27999999999969</c:v>
                </c:pt>
                <c:pt idx="3860">
                  <c:v>278.7</c:v>
                </c:pt>
                <c:pt idx="3861">
                  <c:v>266.14000000000033</c:v>
                </c:pt>
                <c:pt idx="3862">
                  <c:v>264.51</c:v>
                </c:pt>
                <c:pt idx="3863">
                  <c:v>256</c:v>
                </c:pt>
                <c:pt idx="3864">
                  <c:v>258.19</c:v>
                </c:pt>
                <c:pt idx="3865">
                  <c:v>259.02</c:v>
                </c:pt>
                <c:pt idx="3866">
                  <c:v>274.33999999999969</c:v>
                </c:pt>
                <c:pt idx="3867">
                  <c:v>266.54000000000002</c:v>
                </c:pt>
                <c:pt idx="3868">
                  <c:v>268.39</c:v>
                </c:pt>
                <c:pt idx="3869">
                  <c:v>264.11</c:v>
                </c:pt>
                <c:pt idx="3870">
                  <c:v>278.22000000000003</c:v>
                </c:pt>
                <c:pt idx="3871">
                  <c:v>267.97000000000003</c:v>
                </c:pt>
                <c:pt idx="3872">
                  <c:v>257.10000000000002</c:v>
                </c:pt>
                <c:pt idx="3873">
                  <c:v>256.83999999999969</c:v>
                </c:pt>
                <c:pt idx="3874">
                  <c:v>261.26</c:v>
                </c:pt>
                <c:pt idx="3875">
                  <c:v>252.08</c:v>
                </c:pt>
                <c:pt idx="3876">
                  <c:v>245.44</c:v>
                </c:pt>
                <c:pt idx="3877">
                  <c:v>247.63</c:v>
                </c:pt>
                <c:pt idx="3878">
                  <c:v>247.58</c:v>
                </c:pt>
                <c:pt idx="3879">
                  <c:v>243.84</c:v>
                </c:pt>
                <c:pt idx="3880">
                  <c:v>242.35000000000016</c:v>
                </c:pt>
                <c:pt idx="3881">
                  <c:v>240.56</c:v>
                </c:pt>
                <c:pt idx="3882">
                  <c:v>230.35000000000016</c:v>
                </c:pt>
                <c:pt idx="3883">
                  <c:v>231.38000000000017</c:v>
                </c:pt>
                <c:pt idx="3884">
                  <c:v>243.79</c:v>
                </c:pt>
                <c:pt idx="3885">
                  <c:v>238.03</c:v>
                </c:pt>
                <c:pt idx="3886">
                  <c:v>245.78</c:v>
                </c:pt>
                <c:pt idx="3887">
                  <c:v>245.78</c:v>
                </c:pt>
                <c:pt idx="3888">
                  <c:v>244.94</c:v>
                </c:pt>
                <c:pt idx="3889">
                  <c:v>233.35000000000016</c:v>
                </c:pt>
                <c:pt idx="3890">
                  <c:v>228.87</c:v>
                </c:pt>
                <c:pt idx="3891">
                  <c:v>226.44</c:v>
                </c:pt>
                <c:pt idx="3892">
                  <c:v>217.99</c:v>
                </c:pt>
                <c:pt idx="3893">
                  <c:v>208.6</c:v>
                </c:pt>
                <c:pt idx="3894">
                  <c:v>219.36</c:v>
                </c:pt>
                <c:pt idx="3895">
                  <c:v>215.65</c:v>
                </c:pt>
                <c:pt idx="3896">
                  <c:v>221.37</c:v>
                </c:pt>
                <c:pt idx="3897">
                  <c:v>230.83</c:v>
                </c:pt>
                <c:pt idx="3898">
                  <c:v>226.96</c:v>
                </c:pt>
                <c:pt idx="3899">
                  <c:v>225.7</c:v>
                </c:pt>
                <c:pt idx="3900">
                  <c:v>226.32000000000016</c:v>
                </c:pt>
                <c:pt idx="3901">
                  <c:v>225.12</c:v>
                </c:pt>
                <c:pt idx="3902">
                  <c:v>220.08</c:v>
                </c:pt>
                <c:pt idx="3903">
                  <c:v>218.87</c:v>
                </c:pt>
                <c:pt idx="3904">
                  <c:v>215.35000000000016</c:v>
                </c:pt>
                <c:pt idx="3905">
                  <c:v>215.20999999999998</c:v>
                </c:pt>
                <c:pt idx="3906">
                  <c:v>210.65</c:v>
                </c:pt>
                <c:pt idx="3907">
                  <c:v>210.65</c:v>
                </c:pt>
                <c:pt idx="3908">
                  <c:v>215.28</c:v>
                </c:pt>
                <c:pt idx="3909">
                  <c:v>217.67</c:v>
                </c:pt>
                <c:pt idx="3910">
                  <c:v>217.2</c:v>
                </c:pt>
                <c:pt idx="3911">
                  <c:v>229.54</c:v>
                </c:pt>
                <c:pt idx="3912">
                  <c:v>229.54</c:v>
                </c:pt>
                <c:pt idx="3913">
                  <c:v>233.92000000000004</c:v>
                </c:pt>
                <c:pt idx="3914">
                  <c:v>237.33</c:v>
                </c:pt>
                <c:pt idx="3915">
                  <c:v>242.78</c:v>
                </c:pt>
                <c:pt idx="3916">
                  <c:v>231.49</c:v>
                </c:pt>
                <c:pt idx="3917">
                  <c:v>228.75</c:v>
                </c:pt>
                <c:pt idx="3918">
                  <c:v>230.08</c:v>
                </c:pt>
                <c:pt idx="3919">
                  <c:v>220.75</c:v>
                </c:pt>
                <c:pt idx="3920">
                  <c:v>222.19</c:v>
                </c:pt>
                <c:pt idx="3921">
                  <c:v>219.20999999999998</c:v>
                </c:pt>
                <c:pt idx="3922">
                  <c:v>218.91</c:v>
                </c:pt>
                <c:pt idx="3923">
                  <c:v>221.09</c:v>
                </c:pt>
                <c:pt idx="3924">
                  <c:v>221.09</c:v>
                </c:pt>
                <c:pt idx="3925">
                  <c:v>215.88000000000017</c:v>
                </c:pt>
                <c:pt idx="3926">
                  <c:v>219.95000000000007</c:v>
                </c:pt>
                <c:pt idx="3927">
                  <c:v>218.69</c:v>
                </c:pt>
                <c:pt idx="3928">
                  <c:v>225.79</c:v>
                </c:pt>
                <c:pt idx="3929">
                  <c:v>227.17</c:v>
                </c:pt>
                <c:pt idx="3930">
                  <c:v>218.76</c:v>
                </c:pt>
                <c:pt idx="3931">
                  <c:v>221.04</c:v>
                </c:pt>
                <c:pt idx="3932">
                  <c:v>220.05</c:v>
                </c:pt>
                <c:pt idx="3933">
                  <c:v>220.37</c:v>
                </c:pt>
                <c:pt idx="3934">
                  <c:v>216.29</c:v>
                </c:pt>
                <c:pt idx="3935">
                  <c:v>216.87</c:v>
                </c:pt>
                <c:pt idx="3936">
                  <c:v>217.46</c:v>
                </c:pt>
                <c:pt idx="3937">
                  <c:v>221.34</c:v>
                </c:pt>
                <c:pt idx="3938">
                  <c:v>224.36</c:v>
                </c:pt>
                <c:pt idx="3939">
                  <c:v>223.91</c:v>
                </c:pt>
                <c:pt idx="3940">
                  <c:v>218.25</c:v>
                </c:pt>
                <c:pt idx="3941">
                  <c:v>216.10999999999999</c:v>
                </c:pt>
                <c:pt idx="3942">
                  <c:v>214.54</c:v>
                </c:pt>
                <c:pt idx="3943">
                  <c:v>213.14</c:v>
                </c:pt>
                <c:pt idx="3944">
                  <c:v>213.14</c:v>
                </c:pt>
                <c:pt idx="3945">
                  <c:v>203.25</c:v>
                </c:pt>
                <c:pt idx="3946">
                  <c:v>200.55</c:v>
                </c:pt>
                <c:pt idx="3947">
                  <c:v>205.14</c:v>
                </c:pt>
                <c:pt idx="3948">
                  <c:v>202.47</c:v>
                </c:pt>
                <c:pt idx="3949">
                  <c:v>200.4</c:v>
                </c:pt>
                <c:pt idx="3950">
                  <c:v>203.83</c:v>
                </c:pt>
                <c:pt idx="3951">
                  <c:v>208.29</c:v>
                </c:pt>
                <c:pt idx="3952">
                  <c:v>213.34</c:v>
                </c:pt>
                <c:pt idx="3953">
                  <c:v>211.57</c:v>
                </c:pt>
                <c:pt idx="3954">
                  <c:v>200.34</c:v>
                </c:pt>
                <c:pt idx="3955">
                  <c:v>203.67</c:v>
                </c:pt>
                <c:pt idx="3956">
                  <c:v>211.45000000000007</c:v>
                </c:pt>
                <c:pt idx="3957">
                  <c:v>206.53</c:v>
                </c:pt>
                <c:pt idx="3958">
                  <c:v>209.59</c:v>
                </c:pt>
                <c:pt idx="3959">
                  <c:v>208.41</c:v>
                </c:pt>
                <c:pt idx="3960">
                  <c:v>207.64</c:v>
                </c:pt>
                <c:pt idx="3961">
                  <c:v>203.5</c:v>
                </c:pt>
                <c:pt idx="3962">
                  <c:v>211.81</c:v>
                </c:pt>
                <c:pt idx="3963">
                  <c:v>211.08</c:v>
                </c:pt>
                <c:pt idx="3964">
                  <c:v>213.9</c:v>
                </c:pt>
                <c:pt idx="3965">
                  <c:v>216.46</c:v>
                </c:pt>
                <c:pt idx="3966">
                  <c:v>213.94</c:v>
                </c:pt>
                <c:pt idx="3967">
                  <c:v>225.29</c:v>
                </c:pt>
                <c:pt idx="3968">
                  <c:v>226.08</c:v>
                </c:pt>
                <c:pt idx="3969">
                  <c:v>229.54</c:v>
                </c:pt>
                <c:pt idx="3970">
                  <c:v>228.8</c:v>
                </c:pt>
                <c:pt idx="3971">
                  <c:v>226.33</c:v>
                </c:pt>
                <c:pt idx="3972">
                  <c:v>227.68</c:v>
                </c:pt>
                <c:pt idx="3973">
                  <c:v>222.26</c:v>
                </c:pt>
                <c:pt idx="3974">
                  <c:v>215.17</c:v>
                </c:pt>
                <c:pt idx="3975">
                  <c:v>220.4</c:v>
                </c:pt>
                <c:pt idx="3976">
                  <c:v>217.8</c:v>
                </c:pt>
                <c:pt idx="3977">
                  <c:v>226.29</c:v>
                </c:pt>
                <c:pt idx="3978">
                  <c:v>228.93</c:v>
                </c:pt>
                <c:pt idx="3979">
                  <c:v>224.53</c:v>
                </c:pt>
                <c:pt idx="3980">
                  <c:v>222.9</c:v>
                </c:pt>
                <c:pt idx="3981">
                  <c:v>223.70999999999998</c:v>
                </c:pt>
                <c:pt idx="3982">
                  <c:v>227.88000000000017</c:v>
                </c:pt>
                <c:pt idx="3983">
                  <c:v>227.88000000000017</c:v>
                </c:pt>
                <c:pt idx="3984">
                  <c:v>226.78</c:v>
                </c:pt>
                <c:pt idx="3985">
                  <c:v>225.92000000000004</c:v>
                </c:pt>
                <c:pt idx="3986">
                  <c:v>225.57</c:v>
                </c:pt>
                <c:pt idx="3987">
                  <c:v>225.08</c:v>
                </c:pt>
                <c:pt idx="3988">
                  <c:v>225.85000000000016</c:v>
                </c:pt>
                <c:pt idx="3989">
                  <c:v>217.10999999999999</c:v>
                </c:pt>
                <c:pt idx="3990">
                  <c:v>218.31</c:v>
                </c:pt>
                <c:pt idx="3991">
                  <c:v>218.66</c:v>
                </c:pt>
                <c:pt idx="3992">
                  <c:v>219.54</c:v>
                </c:pt>
                <c:pt idx="3993">
                  <c:v>222.86</c:v>
                </c:pt>
                <c:pt idx="3994">
                  <c:v>218.2</c:v>
                </c:pt>
                <c:pt idx="3995">
                  <c:v>217.22</c:v>
                </c:pt>
                <c:pt idx="3996">
                  <c:v>221.17</c:v>
                </c:pt>
                <c:pt idx="3997">
                  <c:v>222.39000000000001</c:v>
                </c:pt>
                <c:pt idx="3998">
                  <c:v>229.04</c:v>
                </c:pt>
                <c:pt idx="3999">
                  <c:v>232.38000000000017</c:v>
                </c:pt>
                <c:pt idx="4000">
                  <c:v>231.84</c:v>
                </c:pt>
                <c:pt idx="4001">
                  <c:v>237.48000000000016</c:v>
                </c:pt>
                <c:pt idx="4002">
                  <c:v>239.53</c:v>
                </c:pt>
                <c:pt idx="4003">
                  <c:v>243.23</c:v>
                </c:pt>
                <c:pt idx="4004">
                  <c:v>242.6</c:v>
                </c:pt>
                <c:pt idx="4005">
                  <c:v>243.58</c:v>
                </c:pt>
                <c:pt idx="4006">
                  <c:v>240.82000000000016</c:v>
                </c:pt>
                <c:pt idx="4007">
                  <c:v>241.79</c:v>
                </c:pt>
                <c:pt idx="4008">
                  <c:v>236.23999999999998</c:v>
                </c:pt>
                <c:pt idx="4009">
                  <c:v>241.16</c:v>
                </c:pt>
                <c:pt idx="4010">
                  <c:v>241.45000000000007</c:v>
                </c:pt>
                <c:pt idx="4011">
                  <c:v>244.84</c:v>
                </c:pt>
                <c:pt idx="4012">
                  <c:v>242.36</c:v>
                </c:pt>
                <c:pt idx="4013">
                  <c:v>244.1</c:v>
                </c:pt>
                <c:pt idx="4014">
                  <c:v>244.1</c:v>
                </c:pt>
                <c:pt idx="4015">
                  <c:v>245.43</c:v>
                </c:pt>
                <c:pt idx="4016">
                  <c:v>246.46</c:v>
                </c:pt>
                <c:pt idx="4017">
                  <c:v>249.83</c:v>
                </c:pt>
                <c:pt idx="4018">
                  <c:v>253.05</c:v>
                </c:pt>
                <c:pt idx="4019">
                  <c:v>260.81</c:v>
                </c:pt>
                <c:pt idx="4020">
                  <c:v>260.20999999999964</c:v>
                </c:pt>
                <c:pt idx="4021">
                  <c:v>253.05</c:v>
                </c:pt>
                <c:pt idx="4022">
                  <c:v>259.78999999999968</c:v>
                </c:pt>
                <c:pt idx="4023">
                  <c:v>257.91999999999967</c:v>
                </c:pt>
                <c:pt idx="4024">
                  <c:v>255.93</c:v>
                </c:pt>
                <c:pt idx="4025">
                  <c:v>260.38</c:v>
                </c:pt>
                <c:pt idx="4026">
                  <c:v>260.87</c:v>
                </c:pt>
                <c:pt idx="4027">
                  <c:v>266.17</c:v>
                </c:pt>
                <c:pt idx="4028">
                  <c:v>262.25</c:v>
                </c:pt>
                <c:pt idx="4029">
                  <c:v>256.37</c:v>
                </c:pt>
                <c:pt idx="4030">
                  <c:v>255.85000000000016</c:v>
                </c:pt>
                <c:pt idx="4031">
                  <c:v>256.82</c:v>
                </c:pt>
                <c:pt idx="4032">
                  <c:v>256.85000000000002</c:v>
                </c:pt>
                <c:pt idx="4033">
                  <c:v>252.79</c:v>
                </c:pt>
                <c:pt idx="4034">
                  <c:v>246.07</c:v>
                </c:pt>
                <c:pt idx="4035">
                  <c:v>249.79</c:v>
                </c:pt>
                <c:pt idx="4036">
                  <c:v>249.84</c:v>
                </c:pt>
                <c:pt idx="4037">
                  <c:v>253.38000000000017</c:v>
                </c:pt>
                <c:pt idx="4038">
                  <c:v>251.31</c:v>
                </c:pt>
                <c:pt idx="4039">
                  <c:v>254.31</c:v>
                </c:pt>
                <c:pt idx="4040">
                  <c:v>249.96</c:v>
                </c:pt>
                <c:pt idx="4041">
                  <c:v>251.17</c:v>
                </c:pt>
                <c:pt idx="4042">
                  <c:v>245.86</c:v>
                </c:pt>
                <c:pt idx="4043">
                  <c:v>245.86</c:v>
                </c:pt>
                <c:pt idx="4044">
                  <c:v>240.13</c:v>
                </c:pt>
                <c:pt idx="4045">
                  <c:v>236.55</c:v>
                </c:pt>
                <c:pt idx="4046">
                  <c:v>231.20999999999998</c:v>
                </c:pt>
                <c:pt idx="4047">
                  <c:v>234.53</c:v>
                </c:pt>
                <c:pt idx="4048">
                  <c:v>233.51</c:v>
                </c:pt>
                <c:pt idx="4049">
                  <c:v>233.60999999999999</c:v>
                </c:pt>
                <c:pt idx="4050">
                  <c:v>236.2</c:v>
                </c:pt>
                <c:pt idx="4051">
                  <c:v>239.70999999999998</c:v>
                </c:pt>
                <c:pt idx="4052">
                  <c:v>240.95000000000007</c:v>
                </c:pt>
                <c:pt idx="4053">
                  <c:v>245.05</c:v>
                </c:pt>
                <c:pt idx="4054">
                  <c:v>248.08</c:v>
                </c:pt>
                <c:pt idx="4055">
                  <c:v>246.83</c:v>
                </c:pt>
                <c:pt idx="4056">
                  <c:v>246.88000000000017</c:v>
                </c:pt>
                <c:pt idx="4057">
                  <c:v>251.26999999999998</c:v>
                </c:pt>
                <c:pt idx="4058">
                  <c:v>251.91</c:v>
                </c:pt>
                <c:pt idx="4059">
                  <c:v>252.49</c:v>
                </c:pt>
                <c:pt idx="4060">
                  <c:v>250.20999999999998</c:v>
                </c:pt>
                <c:pt idx="4061">
                  <c:v>243.55</c:v>
                </c:pt>
                <c:pt idx="4062">
                  <c:v>253.14</c:v>
                </c:pt>
                <c:pt idx="4063">
                  <c:v>257.45</c:v>
                </c:pt>
                <c:pt idx="4064">
                  <c:v>266.27999999999969</c:v>
                </c:pt>
                <c:pt idx="4065">
                  <c:v>267.02999999999969</c:v>
                </c:pt>
                <c:pt idx="4066">
                  <c:v>268.42999999999961</c:v>
                </c:pt>
                <c:pt idx="4067">
                  <c:v>264.77</c:v>
                </c:pt>
                <c:pt idx="4068">
                  <c:v>264.35000000000002</c:v>
                </c:pt>
                <c:pt idx="4069">
                  <c:v>264.58</c:v>
                </c:pt>
                <c:pt idx="4070">
                  <c:v>262.47999999999968</c:v>
                </c:pt>
                <c:pt idx="4071">
                  <c:v>264.82</c:v>
                </c:pt>
                <c:pt idx="4072">
                  <c:v>265.14999999999998</c:v>
                </c:pt>
                <c:pt idx="4073">
                  <c:v>257.75</c:v>
                </c:pt>
                <c:pt idx="4074">
                  <c:v>253.33</c:v>
                </c:pt>
                <c:pt idx="4075">
                  <c:v>255.92000000000004</c:v>
                </c:pt>
                <c:pt idx="4076">
                  <c:v>259.94</c:v>
                </c:pt>
                <c:pt idx="4077">
                  <c:v>256.92999999999961</c:v>
                </c:pt>
                <c:pt idx="4078">
                  <c:v>259.24</c:v>
                </c:pt>
                <c:pt idx="4079">
                  <c:v>261.22000000000003</c:v>
                </c:pt>
                <c:pt idx="4080">
                  <c:v>257.36</c:v>
                </c:pt>
                <c:pt idx="4081">
                  <c:v>256.18</c:v>
                </c:pt>
                <c:pt idx="4082">
                  <c:v>256.52</c:v>
                </c:pt>
                <c:pt idx="4083">
                  <c:v>257.81</c:v>
                </c:pt>
                <c:pt idx="4084">
                  <c:v>253.68</c:v>
                </c:pt>
                <c:pt idx="4085">
                  <c:v>248.98000000000016</c:v>
                </c:pt>
                <c:pt idx="4086">
                  <c:v>249.63</c:v>
                </c:pt>
                <c:pt idx="4087">
                  <c:v>248.73999999999998</c:v>
                </c:pt>
                <c:pt idx="4088">
                  <c:v>247.58</c:v>
                </c:pt>
                <c:pt idx="4089">
                  <c:v>247.58</c:v>
                </c:pt>
                <c:pt idx="4090">
                  <c:v>252.57</c:v>
                </c:pt>
                <c:pt idx="4091">
                  <c:v>253.22</c:v>
                </c:pt>
                <c:pt idx="4092">
                  <c:v>255.18</c:v>
                </c:pt>
                <c:pt idx="4093">
                  <c:v>251.12</c:v>
                </c:pt>
                <c:pt idx="4094">
                  <c:v>252.67</c:v>
                </c:pt>
                <c:pt idx="4095">
                  <c:v>258.17</c:v>
                </c:pt>
                <c:pt idx="4096">
                  <c:v>262.91000000000003</c:v>
                </c:pt>
                <c:pt idx="4097">
                  <c:v>261.92999999999961</c:v>
                </c:pt>
                <c:pt idx="4098">
                  <c:v>259.98999999999961</c:v>
                </c:pt>
                <c:pt idx="4099">
                  <c:v>254.31</c:v>
                </c:pt>
                <c:pt idx="4100">
                  <c:v>259.14999999999998</c:v>
                </c:pt>
                <c:pt idx="4101">
                  <c:v>256.52</c:v>
                </c:pt>
                <c:pt idx="4102">
                  <c:v>251.25</c:v>
                </c:pt>
                <c:pt idx="4103">
                  <c:v>250.5</c:v>
                </c:pt>
                <c:pt idx="4104">
                  <c:v>251.94</c:v>
                </c:pt>
                <c:pt idx="4105">
                  <c:v>252.13</c:v>
                </c:pt>
                <c:pt idx="4106">
                  <c:v>259.39</c:v>
                </c:pt>
                <c:pt idx="4107">
                  <c:v>255.55</c:v>
                </c:pt>
                <c:pt idx="4108">
                  <c:v>252.88000000000017</c:v>
                </c:pt>
                <c:pt idx="4109">
                  <c:v>256.22999999999968</c:v>
                </c:pt>
                <c:pt idx="4110">
                  <c:v>259.47000000000003</c:v>
                </c:pt>
                <c:pt idx="4111">
                  <c:v>258.36</c:v>
                </c:pt>
                <c:pt idx="4112">
                  <c:v>263.91000000000003</c:v>
                </c:pt>
                <c:pt idx="4113">
                  <c:v>262.55</c:v>
                </c:pt>
                <c:pt idx="4114">
                  <c:v>267.14000000000033</c:v>
                </c:pt>
                <c:pt idx="4115">
                  <c:v>268.05</c:v>
                </c:pt>
                <c:pt idx="4116">
                  <c:v>269.92999999999961</c:v>
                </c:pt>
                <c:pt idx="4117">
                  <c:v>273.72000000000003</c:v>
                </c:pt>
                <c:pt idx="4118">
                  <c:v>276.10000000000002</c:v>
                </c:pt>
                <c:pt idx="4119">
                  <c:v>279.64999999999998</c:v>
                </c:pt>
                <c:pt idx="4120">
                  <c:v>278.13</c:v>
                </c:pt>
                <c:pt idx="4121">
                  <c:v>284.08999999999969</c:v>
                </c:pt>
                <c:pt idx="4122">
                  <c:v>282.54000000000002</c:v>
                </c:pt>
                <c:pt idx="4123">
                  <c:v>280.33999999999969</c:v>
                </c:pt>
                <c:pt idx="4124">
                  <c:v>275.88</c:v>
                </c:pt>
                <c:pt idx="4125">
                  <c:v>275.97000000000003</c:v>
                </c:pt>
                <c:pt idx="4126">
                  <c:v>270.39</c:v>
                </c:pt>
                <c:pt idx="4127">
                  <c:v>276.16000000000008</c:v>
                </c:pt>
                <c:pt idx="4128">
                  <c:v>270.38</c:v>
                </c:pt>
                <c:pt idx="4129">
                  <c:v>273.5</c:v>
                </c:pt>
                <c:pt idx="4130">
                  <c:v>276.48999999999961</c:v>
                </c:pt>
                <c:pt idx="4131">
                  <c:v>276.94</c:v>
                </c:pt>
                <c:pt idx="4132">
                  <c:v>274.3</c:v>
                </c:pt>
                <c:pt idx="4133">
                  <c:v>269.44</c:v>
                </c:pt>
                <c:pt idx="4134">
                  <c:v>274.08999999999969</c:v>
                </c:pt>
                <c:pt idx="4135">
                  <c:v>272.31</c:v>
                </c:pt>
                <c:pt idx="4136">
                  <c:v>273.44</c:v>
                </c:pt>
                <c:pt idx="4137">
                  <c:v>269.2</c:v>
                </c:pt>
                <c:pt idx="4138">
                  <c:v>269.12</c:v>
                </c:pt>
                <c:pt idx="4139">
                  <c:v>276.72999999999968</c:v>
                </c:pt>
                <c:pt idx="4140">
                  <c:v>277.25</c:v>
                </c:pt>
                <c:pt idx="4141">
                  <c:v>277.52999999999969</c:v>
                </c:pt>
                <c:pt idx="4142">
                  <c:v>274.27</c:v>
                </c:pt>
                <c:pt idx="4143">
                  <c:v>274.58</c:v>
                </c:pt>
                <c:pt idx="4144">
                  <c:v>274.95</c:v>
                </c:pt>
                <c:pt idx="4145">
                  <c:v>272.26</c:v>
                </c:pt>
                <c:pt idx="4146">
                  <c:v>278.41000000000003</c:v>
                </c:pt>
                <c:pt idx="4147">
                  <c:v>278.41000000000003</c:v>
                </c:pt>
                <c:pt idx="4148">
                  <c:v>275.25</c:v>
                </c:pt>
                <c:pt idx="4149">
                  <c:v>277.39999999999969</c:v>
                </c:pt>
                <c:pt idx="4150">
                  <c:v>279.33999999999969</c:v>
                </c:pt>
                <c:pt idx="4151">
                  <c:v>276.8</c:v>
                </c:pt>
                <c:pt idx="4152">
                  <c:v>276.55</c:v>
                </c:pt>
                <c:pt idx="4153">
                  <c:v>273.87</c:v>
                </c:pt>
                <c:pt idx="4154">
                  <c:v>274.18</c:v>
                </c:pt>
                <c:pt idx="4155">
                  <c:v>271.89999999999969</c:v>
                </c:pt>
                <c:pt idx="4156">
                  <c:v>267.75</c:v>
                </c:pt>
                <c:pt idx="4157">
                  <c:v>269.52</c:v>
                </c:pt>
                <c:pt idx="4158">
                  <c:v>270.86</c:v>
                </c:pt>
                <c:pt idx="4159">
                  <c:v>273.52</c:v>
                </c:pt>
                <c:pt idx="4160">
                  <c:v>274.27</c:v>
                </c:pt>
                <c:pt idx="4161">
                  <c:v>278.75</c:v>
                </c:pt>
                <c:pt idx="4162">
                  <c:v>276.13</c:v>
                </c:pt>
                <c:pt idx="4163">
                  <c:v>276.13</c:v>
                </c:pt>
                <c:pt idx="4164">
                  <c:v>274.77999999999969</c:v>
                </c:pt>
                <c:pt idx="4165">
                  <c:v>274.89</c:v>
                </c:pt>
                <c:pt idx="4166">
                  <c:v>279.36</c:v>
                </c:pt>
                <c:pt idx="4167">
                  <c:v>280.91999999999967</c:v>
                </c:pt>
                <c:pt idx="4168">
                  <c:v>280.91999999999967</c:v>
                </c:pt>
                <c:pt idx="4169">
                  <c:v>284.45</c:v>
                </c:pt>
                <c:pt idx="4170">
                  <c:v>283.72999999999968</c:v>
                </c:pt>
                <c:pt idx="4171">
                  <c:v>283.63</c:v>
                </c:pt>
                <c:pt idx="4172">
                  <c:v>283.38</c:v>
                </c:pt>
                <c:pt idx="4173">
                  <c:v>283.38</c:v>
                </c:pt>
                <c:pt idx="4174">
                  <c:v>289.33999999999969</c:v>
                </c:pt>
                <c:pt idx="4175">
                  <c:v>289.41000000000003</c:v>
                </c:pt>
                <c:pt idx="4176">
                  <c:v>293.77999999999969</c:v>
                </c:pt>
                <c:pt idx="4177">
                  <c:v>290.52999999999969</c:v>
                </c:pt>
                <c:pt idx="4178">
                  <c:v>290.77</c:v>
                </c:pt>
                <c:pt idx="4179">
                  <c:v>289.39</c:v>
                </c:pt>
                <c:pt idx="4180">
                  <c:v>284.52</c:v>
                </c:pt>
                <c:pt idx="4181">
                  <c:v>285.14000000000033</c:v>
                </c:pt>
                <c:pt idx="4182">
                  <c:v>284.42999999999961</c:v>
                </c:pt>
                <c:pt idx="4183">
                  <c:v>281.41000000000003</c:v>
                </c:pt>
                <c:pt idx="4184">
                  <c:v>281.41000000000003</c:v>
                </c:pt>
                <c:pt idx="4185">
                  <c:v>283.25</c:v>
                </c:pt>
                <c:pt idx="4186">
                  <c:v>279.47999999999968</c:v>
                </c:pt>
                <c:pt idx="4187">
                  <c:v>277.51</c:v>
                </c:pt>
                <c:pt idx="4188">
                  <c:v>275.56</c:v>
                </c:pt>
                <c:pt idx="4189">
                  <c:v>276.74</c:v>
                </c:pt>
                <c:pt idx="4190">
                  <c:v>273.88</c:v>
                </c:pt>
                <c:pt idx="4191">
                  <c:v>268.76</c:v>
                </c:pt>
                <c:pt idx="4192">
                  <c:v>267.58</c:v>
                </c:pt>
                <c:pt idx="4193">
                  <c:v>265.58</c:v>
                </c:pt>
                <c:pt idx="4194">
                  <c:v>267.97999999999968</c:v>
                </c:pt>
                <c:pt idx="4195">
                  <c:v>273.19</c:v>
                </c:pt>
                <c:pt idx="4196">
                  <c:v>270.58</c:v>
                </c:pt>
                <c:pt idx="4197">
                  <c:v>263.67</c:v>
                </c:pt>
                <c:pt idx="4198">
                  <c:v>258.55</c:v>
                </c:pt>
                <c:pt idx="4199">
                  <c:v>261.52</c:v>
                </c:pt>
                <c:pt idx="4200">
                  <c:v>265.12</c:v>
                </c:pt>
                <c:pt idx="4201">
                  <c:v>266.22999999999968</c:v>
                </c:pt>
                <c:pt idx="4202">
                  <c:v>269.70999999999964</c:v>
                </c:pt>
                <c:pt idx="4203">
                  <c:v>267.91999999999967</c:v>
                </c:pt>
                <c:pt idx="4204">
                  <c:v>267.91999999999967</c:v>
                </c:pt>
                <c:pt idx="4205">
                  <c:v>274.77</c:v>
                </c:pt>
                <c:pt idx="4206">
                  <c:v>273.83999999999969</c:v>
                </c:pt>
                <c:pt idx="4207">
                  <c:v>276.14999999999998</c:v>
                </c:pt>
                <c:pt idx="4208">
                  <c:v>277.8</c:v>
                </c:pt>
                <c:pt idx="4209">
                  <c:v>276.77999999999969</c:v>
                </c:pt>
                <c:pt idx="4210">
                  <c:v>272.36</c:v>
                </c:pt>
                <c:pt idx="4211">
                  <c:v>274.70999999999964</c:v>
                </c:pt>
                <c:pt idx="4212">
                  <c:v>270.87</c:v>
                </c:pt>
                <c:pt idx="4213">
                  <c:v>274.77999999999969</c:v>
                </c:pt>
                <c:pt idx="4214">
                  <c:v>272.72000000000003</c:v>
                </c:pt>
                <c:pt idx="4215">
                  <c:v>275.14000000000033</c:v>
                </c:pt>
                <c:pt idx="4216">
                  <c:v>277.70999999999964</c:v>
                </c:pt>
                <c:pt idx="4217">
                  <c:v>274.8</c:v>
                </c:pt>
                <c:pt idx="4218">
                  <c:v>276.92999999999961</c:v>
                </c:pt>
                <c:pt idx="4219">
                  <c:v>276.70999999999964</c:v>
                </c:pt>
                <c:pt idx="4220">
                  <c:v>274.78999999999968</c:v>
                </c:pt>
                <c:pt idx="4221">
                  <c:v>274.62</c:v>
                </c:pt>
                <c:pt idx="4222">
                  <c:v>273.39</c:v>
                </c:pt>
                <c:pt idx="4223">
                  <c:v>273.31</c:v>
                </c:pt>
                <c:pt idx="4224">
                  <c:v>270.78999999999968</c:v>
                </c:pt>
                <c:pt idx="4225">
                  <c:v>273.54000000000002</c:v>
                </c:pt>
                <c:pt idx="4226">
                  <c:v>276.3</c:v>
                </c:pt>
                <c:pt idx="4227">
                  <c:v>275.68</c:v>
                </c:pt>
                <c:pt idx="4228">
                  <c:v>272.63</c:v>
                </c:pt>
                <c:pt idx="4229">
                  <c:v>272.27999999999969</c:v>
                </c:pt>
                <c:pt idx="4230">
                  <c:v>271.70999999999964</c:v>
                </c:pt>
                <c:pt idx="4231">
                  <c:v>269.47999999999968</c:v>
                </c:pt>
                <c:pt idx="4232">
                  <c:v>267.86</c:v>
                </c:pt>
                <c:pt idx="4233">
                  <c:v>267.32</c:v>
                </c:pt>
                <c:pt idx="4234">
                  <c:v>272.57</c:v>
                </c:pt>
                <c:pt idx="4235">
                  <c:v>273.72000000000003</c:v>
                </c:pt>
                <c:pt idx="4236">
                  <c:v>273.33999999999969</c:v>
                </c:pt>
                <c:pt idx="4237">
                  <c:v>276.42999999999961</c:v>
                </c:pt>
                <c:pt idx="4238">
                  <c:v>276.42999999999961</c:v>
                </c:pt>
                <c:pt idx="4239">
                  <c:v>279.51</c:v>
                </c:pt>
                <c:pt idx="4240">
                  <c:v>278.52</c:v>
                </c:pt>
                <c:pt idx="4241">
                  <c:v>277.58999999999969</c:v>
                </c:pt>
                <c:pt idx="4242">
                  <c:v>275.25</c:v>
                </c:pt>
                <c:pt idx="4243">
                  <c:v>276.13</c:v>
                </c:pt>
                <c:pt idx="4244">
                  <c:v>276.2</c:v>
                </c:pt>
                <c:pt idx="4245">
                  <c:v>277.35000000000002</c:v>
                </c:pt>
                <c:pt idx="4246">
                  <c:v>279.95999999999964</c:v>
                </c:pt>
                <c:pt idx="4247">
                  <c:v>279.75</c:v>
                </c:pt>
                <c:pt idx="4248">
                  <c:v>276.28999999999968</c:v>
                </c:pt>
                <c:pt idx="4249">
                  <c:v>273.22999999999968</c:v>
                </c:pt>
                <c:pt idx="4250">
                  <c:v>275.77999999999969</c:v>
                </c:pt>
                <c:pt idx="4251">
                  <c:v>276.75</c:v>
                </c:pt>
                <c:pt idx="4252">
                  <c:v>277.13</c:v>
                </c:pt>
                <c:pt idx="4253">
                  <c:v>279.05</c:v>
                </c:pt>
                <c:pt idx="4254">
                  <c:v>278.38</c:v>
                </c:pt>
                <c:pt idx="4255">
                  <c:v>273.18</c:v>
                </c:pt>
                <c:pt idx="4256">
                  <c:v>274.51</c:v>
                </c:pt>
                <c:pt idx="4257">
                  <c:v>275.28999999999968</c:v>
                </c:pt>
                <c:pt idx="4258">
                  <c:v>277.70999999999964</c:v>
                </c:pt>
                <c:pt idx="4259">
                  <c:v>278.10000000000002</c:v>
                </c:pt>
                <c:pt idx="4260">
                  <c:v>271.60000000000002</c:v>
                </c:pt>
                <c:pt idx="4261">
                  <c:v>267.95</c:v>
                </c:pt>
                <c:pt idx="4262">
                  <c:v>262.76</c:v>
                </c:pt>
                <c:pt idx="4263">
                  <c:v>261.32</c:v>
                </c:pt>
                <c:pt idx="4264">
                  <c:v>265.44</c:v>
                </c:pt>
                <c:pt idx="4265">
                  <c:v>264.95</c:v>
                </c:pt>
                <c:pt idx="4266">
                  <c:v>266.82</c:v>
                </c:pt>
                <c:pt idx="4267">
                  <c:v>265.77999999999969</c:v>
                </c:pt>
                <c:pt idx="4268">
                  <c:v>258.55</c:v>
                </c:pt>
                <c:pt idx="4269">
                  <c:v>253.2</c:v>
                </c:pt>
                <c:pt idx="4270">
                  <c:v>254.93</c:v>
                </c:pt>
                <c:pt idx="4271">
                  <c:v>252.64</c:v>
                </c:pt>
                <c:pt idx="4272">
                  <c:v>250.07</c:v>
                </c:pt>
                <c:pt idx="4273">
                  <c:v>251.42000000000004</c:v>
                </c:pt>
                <c:pt idx="4274">
                  <c:v>251.97</c:v>
                </c:pt>
                <c:pt idx="4275">
                  <c:v>248.79</c:v>
                </c:pt>
                <c:pt idx="4276">
                  <c:v>252.83</c:v>
                </c:pt>
                <c:pt idx="4277">
                  <c:v>257.72000000000003</c:v>
                </c:pt>
                <c:pt idx="4278">
                  <c:v>254.8</c:v>
                </c:pt>
                <c:pt idx="4279">
                  <c:v>254.8</c:v>
                </c:pt>
                <c:pt idx="4280">
                  <c:v>252.41</c:v>
                </c:pt>
                <c:pt idx="4281">
                  <c:v>252.94</c:v>
                </c:pt>
                <c:pt idx="4282">
                  <c:v>254.9</c:v>
                </c:pt>
                <c:pt idx="4283">
                  <c:v>248.94</c:v>
                </c:pt>
                <c:pt idx="4284">
                  <c:v>248.98000000000016</c:v>
                </c:pt>
                <c:pt idx="4285">
                  <c:v>250.08</c:v>
                </c:pt>
                <c:pt idx="4286">
                  <c:v>253.06</c:v>
                </c:pt>
                <c:pt idx="4287">
                  <c:v>255.08</c:v>
                </c:pt>
                <c:pt idx="4288">
                  <c:v>255.92000000000004</c:v>
                </c:pt>
                <c:pt idx="4289">
                  <c:v>259.97999999999968</c:v>
                </c:pt>
                <c:pt idx="4290">
                  <c:v>263.5</c:v>
                </c:pt>
                <c:pt idx="4291">
                  <c:v>264.14999999999998</c:v>
                </c:pt>
                <c:pt idx="4292">
                  <c:v>263.3</c:v>
                </c:pt>
                <c:pt idx="4293">
                  <c:v>262.92999999999961</c:v>
                </c:pt>
                <c:pt idx="4294">
                  <c:v>263.69</c:v>
                </c:pt>
                <c:pt idx="4295">
                  <c:v>262.68</c:v>
                </c:pt>
                <c:pt idx="4296">
                  <c:v>259.72000000000003</c:v>
                </c:pt>
                <c:pt idx="4297">
                  <c:v>261.62</c:v>
                </c:pt>
                <c:pt idx="4298">
                  <c:v>265.61</c:v>
                </c:pt>
                <c:pt idx="4299">
                  <c:v>263.52999999999969</c:v>
                </c:pt>
                <c:pt idx="4300">
                  <c:v>256.27</c:v>
                </c:pt>
                <c:pt idx="4301">
                  <c:v>258.52</c:v>
                </c:pt>
                <c:pt idx="4302">
                  <c:v>256.20999999999964</c:v>
                </c:pt>
                <c:pt idx="4303">
                  <c:v>254.48000000000016</c:v>
                </c:pt>
                <c:pt idx="4304">
                  <c:v>254.48000000000016</c:v>
                </c:pt>
                <c:pt idx="4305">
                  <c:v>253.8</c:v>
                </c:pt>
                <c:pt idx="4306">
                  <c:v>258.24</c:v>
                </c:pt>
                <c:pt idx="4307">
                  <c:v>259.51</c:v>
                </c:pt>
                <c:pt idx="4308">
                  <c:v>260.62</c:v>
                </c:pt>
                <c:pt idx="4309">
                  <c:v>258.39999999999969</c:v>
                </c:pt>
                <c:pt idx="4310">
                  <c:v>261.91000000000003</c:v>
                </c:pt>
                <c:pt idx="4311">
                  <c:v>262.2</c:v>
                </c:pt>
                <c:pt idx="4312">
                  <c:v>264.20999999999964</c:v>
                </c:pt>
                <c:pt idx="4313">
                  <c:v>262.22000000000003</c:v>
                </c:pt>
                <c:pt idx="4314">
                  <c:v>261.2</c:v>
                </c:pt>
                <c:pt idx="4315">
                  <c:v>261.52</c:v>
                </c:pt>
                <c:pt idx="4316">
                  <c:v>261.52999999999969</c:v>
                </c:pt>
                <c:pt idx="4317">
                  <c:v>266.86</c:v>
                </c:pt>
                <c:pt idx="4318">
                  <c:v>266.62</c:v>
                </c:pt>
                <c:pt idx="4319">
                  <c:v>266.66000000000008</c:v>
                </c:pt>
                <c:pt idx="4320">
                  <c:v>264.45999999999964</c:v>
                </c:pt>
                <c:pt idx="4321">
                  <c:v>266.16000000000008</c:v>
                </c:pt>
                <c:pt idx="4322">
                  <c:v>270.2</c:v>
                </c:pt>
                <c:pt idx="4323">
                  <c:v>274.35000000000002</c:v>
                </c:pt>
                <c:pt idx="4324">
                  <c:v>276.83999999999969</c:v>
                </c:pt>
                <c:pt idx="4325">
                  <c:v>276.63</c:v>
                </c:pt>
                <c:pt idx="4326">
                  <c:v>278.97999999999968</c:v>
                </c:pt>
                <c:pt idx="4327">
                  <c:v>277.67</c:v>
                </c:pt>
                <c:pt idx="4328">
                  <c:v>274.70999999999964</c:v>
                </c:pt>
                <c:pt idx="4329">
                  <c:v>274.58999999999969</c:v>
                </c:pt>
                <c:pt idx="4330">
                  <c:v>272.27999999999969</c:v>
                </c:pt>
                <c:pt idx="4331">
                  <c:v>268.83</c:v>
                </c:pt>
                <c:pt idx="4332">
                  <c:v>268.91000000000003</c:v>
                </c:pt>
                <c:pt idx="4333">
                  <c:v>268.78999999999968</c:v>
                </c:pt>
                <c:pt idx="4334">
                  <c:v>268.11</c:v>
                </c:pt>
                <c:pt idx="4335">
                  <c:v>270.19</c:v>
                </c:pt>
                <c:pt idx="4336">
                  <c:v>269.89999999999969</c:v>
                </c:pt>
                <c:pt idx="4337">
                  <c:v>268.25</c:v>
                </c:pt>
                <c:pt idx="4338">
                  <c:v>267.01</c:v>
                </c:pt>
                <c:pt idx="4339">
                  <c:v>266.02999999999969</c:v>
                </c:pt>
                <c:pt idx="4340">
                  <c:v>262.45999999999964</c:v>
                </c:pt>
                <c:pt idx="4341">
                  <c:v>261.8</c:v>
                </c:pt>
                <c:pt idx="4342">
                  <c:v>264.04000000000002</c:v>
                </c:pt>
                <c:pt idx="4343">
                  <c:v>267.27</c:v>
                </c:pt>
                <c:pt idx="4344">
                  <c:v>267.76</c:v>
                </c:pt>
                <c:pt idx="4345">
                  <c:v>264.19</c:v>
                </c:pt>
                <c:pt idx="4346">
                  <c:v>268.51</c:v>
                </c:pt>
                <c:pt idx="4347">
                  <c:v>271.14999999999998</c:v>
                </c:pt>
                <c:pt idx="4348">
                  <c:v>272.77</c:v>
                </c:pt>
                <c:pt idx="4349">
                  <c:v>272.77</c:v>
                </c:pt>
                <c:pt idx="4350">
                  <c:v>273.81</c:v>
                </c:pt>
                <c:pt idx="4351">
                  <c:v>274.27</c:v>
                </c:pt>
                <c:pt idx="4352">
                  <c:v>273.20999999999964</c:v>
                </c:pt>
                <c:pt idx="4353">
                  <c:v>275.14000000000033</c:v>
                </c:pt>
                <c:pt idx="4354">
                  <c:v>277.56</c:v>
                </c:pt>
                <c:pt idx="4355">
                  <c:v>280.13</c:v>
                </c:pt>
                <c:pt idx="4356">
                  <c:v>279.05</c:v>
                </c:pt>
                <c:pt idx="4357">
                  <c:v>278.69</c:v>
                </c:pt>
                <c:pt idx="4358">
                  <c:v>279.64999999999998</c:v>
                </c:pt>
                <c:pt idx="4359">
                  <c:v>279.64000000000033</c:v>
                </c:pt>
                <c:pt idx="4360">
                  <c:v>278.36</c:v>
                </c:pt>
                <c:pt idx="4361">
                  <c:v>278.89</c:v>
                </c:pt>
                <c:pt idx="4362">
                  <c:v>280.14000000000033</c:v>
                </c:pt>
                <c:pt idx="4363">
                  <c:v>283.63</c:v>
                </c:pt>
                <c:pt idx="4364">
                  <c:v>284.14000000000033</c:v>
                </c:pt>
                <c:pt idx="4365">
                  <c:v>284.35000000000002</c:v>
                </c:pt>
                <c:pt idx="4366">
                  <c:v>285.92999999999961</c:v>
                </c:pt>
                <c:pt idx="4367">
                  <c:v>286.86</c:v>
                </c:pt>
                <c:pt idx="4368">
                  <c:v>285.69</c:v>
                </c:pt>
                <c:pt idx="4369">
                  <c:v>283.98999999999961</c:v>
                </c:pt>
                <c:pt idx="4370">
                  <c:v>288.41999999999967</c:v>
                </c:pt>
                <c:pt idx="4371">
                  <c:v>289.14999999999998</c:v>
                </c:pt>
                <c:pt idx="4372">
                  <c:v>287.3</c:v>
                </c:pt>
                <c:pt idx="4373">
                  <c:v>295.11</c:v>
                </c:pt>
                <c:pt idx="4374">
                  <c:v>296.37</c:v>
                </c:pt>
                <c:pt idx="4375">
                  <c:v>297.83</c:v>
                </c:pt>
                <c:pt idx="4376">
                  <c:v>299.74</c:v>
                </c:pt>
                <c:pt idx="4377">
                  <c:v>299.92999999999961</c:v>
                </c:pt>
                <c:pt idx="4378">
                  <c:v>296.06</c:v>
                </c:pt>
                <c:pt idx="4379">
                  <c:v>298.74</c:v>
                </c:pt>
                <c:pt idx="4380">
                  <c:v>292.97999999999968</c:v>
                </c:pt>
                <c:pt idx="4381">
                  <c:v>299</c:v>
                </c:pt>
                <c:pt idx="4382">
                  <c:v>295.55</c:v>
                </c:pt>
                <c:pt idx="4383">
                  <c:v>297.22999999999968</c:v>
                </c:pt>
                <c:pt idx="4384">
                  <c:v>300.31</c:v>
                </c:pt>
                <c:pt idx="4385">
                  <c:v>301.28999999999968</c:v>
                </c:pt>
                <c:pt idx="4386">
                  <c:v>299.14000000000033</c:v>
                </c:pt>
                <c:pt idx="4387">
                  <c:v>299.89</c:v>
                </c:pt>
                <c:pt idx="4388">
                  <c:v>300.67</c:v>
                </c:pt>
                <c:pt idx="4389">
                  <c:v>301.52999999999969</c:v>
                </c:pt>
                <c:pt idx="4390">
                  <c:v>304.97999999999968</c:v>
                </c:pt>
                <c:pt idx="4391">
                  <c:v>305.07</c:v>
                </c:pt>
                <c:pt idx="4392">
                  <c:v>312.3</c:v>
                </c:pt>
                <c:pt idx="4393">
                  <c:v>313.56</c:v>
                </c:pt>
                <c:pt idx="4394">
                  <c:v>315.25</c:v>
                </c:pt>
                <c:pt idx="4395">
                  <c:v>319.11</c:v>
                </c:pt>
                <c:pt idx="4396">
                  <c:v>317.11</c:v>
                </c:pt>
                <c:pt idx="4397">
                  <c:v>314.85000000000002</c:v>
                </c:pt>
                <c:pt idx="4398">
                  <c:v>303.60000000000002</c:v>
                </c:pt>
                <c:pt idx="4399">
                  <c:v>306.02</c:v>
                </c:pt>
                <c:pt idx="4400">
                  <c:v>296.22000000000003</c:v>
                </c:pt>
                <c:pt idx="4401">
                  <c:v>295.42999999999961</c:v>
                </c:pt>
                <c:pt idx="4402">
                  <c:v>302.51</c:v>
                </c:pt>
                <c:pt idx="4403">
                  <c:v>298.89</c:v>
                </c:pt>
                <c:pt idx="4404">
                  <c:v>298.02</c:v>
                </c:pt>
                <c:pt idx="4405">
                  <c:v>297.69</c:v>
                </c:pt>
                <c:pt idx="4406">
                  <c:v>302.33999999999969</c:v>
                </c:pt>
                <c:pt idx="4407">
                  <c:v>302.33999999999969</c:v>
                </c:pt>
                <c:pt idx="4408">
                  <c:v>301.13</c:v>
                </c:pt>
                <c:pt idx="4409">
                  <c:v>302.89</c:v>
                </c:pt>
                <c:pt idx="4410">
                  <c:v>301.41000000000003</c:v>
                </c:pt>
                <c:pt idx="4411">
                  <c:v>308.91000000000003</c:v>
                </c:pt>
                <c:pt idx="4412">
                  <c:v>312.10000000000002</c:v>
                </c:pt>
                <c:pt idx="4413">
                  <c:v>316.16000000000008</c:v>
                </c:pt>
                <c:pt idx="4414">
                  <c:v>317.28999999999968</c:v>
                </c:pt>
                <c:pt idx="4415">
                  <c:v>315.62</c:v>
                </c:pt>
                <c:pt idx="4416">
                  <c:v>316.87</c:v>
                </c:pt>
                <c:pt idx="4417">
                  <c:v>316.08999999999969</c:v>
                </c:pt>
                <c:pt idx="4418">
                  <c:v>314.91000000000003</c:v>
                </c:pt>
                <c:pt idx="4419">
                  <c:v>319.87</c:v>
                </c:pt>
                <c:pt idx="4420">
                  <c:v>319.51</c:v>
                </c:pt>
                <c:pt idx="4421">
                  <c:v>318.83999999999969</c:v>
                </c:pt>
                <c:pt idx="4422">
                  <c:v>317.33999999999969</c:v>
                </c:pt>
                <c:pt idx="4423">
                  <c:v>320.62</c:v>
                </c:pt>
                <c:pt idx="4424">
                  <c:v>324.27</c:v>
                </c:pt>
                <c:pt idx="4425">
                  <c:v>326.8</c:v>
                </c:pt>
                <c:pt idx="4426">
                  <c:v>328.11</c:v>
                </c:pt>
                <c:pt idx="4427">
                  <c:v>329.38</c:v>
                </c:pt>
                <c:pt idx="4428">
                  <c:v>329.38</c:v>
                </c:pt>
                <c:pt idx="4429">
                  <c:v>329.11</c:v>
                </c:pt>
                <c:pt idx="4430">
                  <c:v>331.42999999999961</c:v>
                </c:pt>
                <c:pt idx="4431">
                  <c:v>330.71</c:v>
                </c:pt>
                <c:pt idx="4432">
                  <c:v>327.11</c:v>
                </c:pt>
                <c:pt idx="4433">
                  <c:v>332.8</c:v>
                </c:pt>
                <c:pt idx="4434">
                  <c:v>333.02</c:v>
                </c:pt>
                <c:pt idx="4435">
                  <c:v>327.72999999999968</c:v>
                </c:pt>
                <c:pt idx="4436">
                  <c:v>329.2</c:v>
                </c:pt>
                <c:pt idx="4437">
                  <c:v>325.07</c:v>
                </c:pt>
                <c:pt idx="4438">
                  <c:v>323.94</c:v>
                </c:pt>
                <c:pt idx="4439">
                  <c:v>326.85000000000002</c:v>
                </c:pt>
                <c:pt idx="4440">
                  <c:v>331.46</c:v>
                </c:pt>
                <c:pt idx="4441">
                  <c:v>334.88</c:v>
                </c:pt>
                <c:pt idx="4442">
                  <c:v>333</c:v>
                </c:pt>
                <c:pt idx="4443">
                  <c:v>333.06</c:v>
                </c:pt>
                <c:pt idx="4444">
                  <c:v>333.06</c:v>
                </c:pt>
                <c:pt idx="4445">
                  <c:v>333.78</c:v>
                </c:pt>
                <c:pt idx="4446">
                  <c:v>333.42999999999961</c:v>
                </c:pt>
                <c:pt idx="4447">
                  <c:v>331.9</c:v>
                </c:pt>
                <c:pt idx="4448">
                  <c:v>333.98999999999961</c:v>
                </c:pt>
                <c:pt idx="4449">
                  <c:v>332.7</c:v>
                </c:pt>
                <c:pt idx="4450">
                  <c:v>327.57</c:v>
                </c:pt>
                <c:pt idx="4451">
                  <c:v>332.83</c:v>
                </c:pt>
                <c:pt idx="4452">
                  <c:v>331.39</c:v>
                </c:pt>
                <c:pt idx="4453">
                  <c:v>335.44</c:v>
                </c:pt>
                <c:pt idx="4454">
                  <c:v>341.41999999999967</c:v>
                </c:pt>
                <c:pt idx="4455">
                  <c:v>342.17</c:v>
                </c:pt>
                <c:pt idx="4456">
                  <c:v>343.8</c:v>
                </c:pt>
                <c:pt idx="4457">
                  <c:v>341</c:v>
                </c:pt>
                <c:pt idx="4458">
                  <c:v>338.91999999999967</c:v>
                </c:pt>
                <c:pt idx="4459">
                  <c:v>337.46</c:v>
                </c:pt>
                <c:pt idx="4460">
                  <c:v>337.25</c:v>
                </c:pt>
                <c:pt idx="4461">
                  <c:v>339.42999999999961</c:v>
                </c:pt>
                <c:pt idx="4462">
                  <c:v>339.95</c:v>
                </c:pt>
                <c:pt idx="4463">
                  <c:v>337.78</c:v>
                </c:pt>
                <c:pt idx="4464">
                  <c:v>338.67</c:v>
                </c:pt>
                <c:pt idx="4465">
                  <c:v>336.28999999999968</c:v>
                </c:pt>
                <c:pt idx="4466">
                  <c:v>338.21</c:v>
                </c:pt>
                <c:pt idx="4467">
                  <c:v>341.27</c:v>
                </c:pt>
                <c:pt idx="4468">
                  <c:v>341.78</c:v>
                </c:pt>
                <c:pt idx="4469">
                  <c:v>341.78</c:v>
                </c:pt>
                <c:pt idx="4470">
                  <c:v>344.36</c:v>
                </c:pt>
                <c:pt idx="4471">
                  <c:v>347.81</c:v>
                </c:pt>
                <c:pt idx="4472">
                  <c:v>345.85</c:v>
                </c:pt>
                <c:pt idx="4473">
                  <c:v>351.28999999999968</c:v>
                </c:pt>
                <c:pt idx="4474">
                  <c:v>352.58</c:v>
                </c:pt>
                <c:pt idx="4475">
                  <c:v>355.18</c:v>
                </c:pt>
                <c:pt idx="4476">
                  <c:v>359.12</c:v>
                </c:pt>
                <c:pt idx="4477">
                  <c:v>360.56</c:v>
                </c:pt>
                <c:pt idx="4478">
                  <c:v>362.88</c:v>
                </c:pt>
                <c:pt idx="4479">
                  <c:v>362.89</c:v>
                </c:pt>
                <c:pt idx="4480">
                  <c:v>361.09</c:v>
                </c:pt>
                <c:pt idx="4481">
                  <c:v>360.22999999999968</c:v>
                </c:pt>
                <c:pt idx="4482">
                  <c:v>354.45</c:v>
                </c:pt>
                <c:pt idx="4483">
                  <c:v>351.88</c:v>
                </c:pt>
                <c:pt idx="4484">
                  <c:v>350.61</c:v>
                </c:pt>
                <c:pt idx="4485">
                  <c:v>338.14000000000033</c:v>
                </c:pt>
                <c:pt idx="4486">
                  <c:v>338.17</c:v>
                </c:pt>
                <c:pt idx="4487">
                  <c:v>348.67</c:v>
                </c:pt>
                <c:pt idx="4488">
                  <c:v>351.15000000000032</c:v>
                </c:pt>
                <c:pt idx="4489">
                  <c:v>353.24</c:v>
                </c:pt>
                <c:pt idx="4490">
                  <c:v>356.45</c:v>
                </c:pt>
                <c:pt idx="4491">
                  <c:v>357.03</c:v>
                </c:pt>
                <c:pt idx="4492">
                  <c:v>358.47999999999968</c:v>
                </c:pt>
                <c:pt idx="4493">
                  <c:v>359.57</c:v>
                </c:pt>
                <c:pt idx="4494">
                  <c:v>354.86</c:v>
                </c:pt>
                <c:pt idx="4495">
                  <c:v>354.01</c:v>
                </c:pt>
                <c:pt idx="4496">
                  <c:v>353.76</c:v>
                </c:pt>
                <c:pt idx="4497">
                  <c:v>359.42999999999961</c:v>
                </c:pt>
                <c:pt idx="4498">
                  <c:v>360.89</c:v>
                </c:pt>
                <c:pt idx="4499">
                  <c:v>362.18</c:v>
                </c:pt>
                <c:pt idx="4500">
                  <c:v>363.11</c:v>
                </c:pt>
                <c:pt idx="4501">
                  <c:v>363.46</c:v>
                </c:pt>
                <c:pt idx="4502">
                  <c:v>364.47999999999968</c:v>
                </c:pt>
                <c:pt idx="4503">
                  <c:v>368.7</c:v>
                </c:pt>
                <c:pt idx="4504">
                  <c:v>366</c:v>
                </c:pt>
                <c:pt idx="4505">
                  <c:v>359.05</c:v>
                </c:pt>
                <c:pt idx="4506">
                  <c:v>359.55</c:v>
                </c:pt>
                <c:pt idx="4507">
                  <c:v>360.66</c:v>
                </c:pt>
                <c:pt idx="4508">
                  <c:v>362.78</c:v>
                </c:pt>
                <c:pt idx="4509">
                  <c:v>359.41999999999967</c:v>
                </c:pt>
                <c:pt idx="4510">
                  <c:v>360.83</c:v>
                </c:pt>
                <c:pt idx="4511">
                  <c:v>365.54</c:v>
                </c:pt>
                <c:pt idx="4512">
                  <c:v>367.44</c:v>
                </c:pt>
                <c:pt idx="4513">
                  <c:v>367.44</c:v>
                </c:pt>
                <c:pt idx="4514">
                  <c:v>366.56</c:v>
                </c:pt>
                <c:pt idx="4515">
                  <c:v>366.19</c:v>
                </c:pt>
                <c:pt idx="4516">
                  <c:v>365.82</c:v>
                </c:pt>
                <c:pt idx="4517">
                  <c:v>366.31</c:v>
                </c:pt>
                <c:pt idx="4518">
                  <c:v>370.56</c:v>
                </c:pt>
                <c:pt idx="4519">
                  <c:v>368.17</c:v>
                </c:pt>
                <c:pt idx="4520">
                  <c:v>365.05</c:v>
                </c:pt>
                <c:pt idx="4521">
                  <c:v>358.63</c:v>
                </c:pt>
                <c:pt idx="4522">
                  <c:v>341.07</c:v>
                </c:pt>
                <c:pt idx="4523">
                  <c:v>337.35</c:v>
                </c:pt>
                <c:pt idx="4524">
                  <c:v>344.1</c:v>
                </c:pt>
                <c:pt idx="4525">
                  <c:v>348.57</c:v>
                </c:pt>
                <c:pt idx="4526">
                  <c:v>338.1</c:v>
                </c:pt>
                <c:pt idx="4527">
                  <c:v>338.56</c:v>
                </c:pt>
                <c:pt idx="4528">
                  <c:v>338.53</c:v>
                </c:pt>
                <c:pt idx="4529">
                  <c:v>336.78</c:v>
                </c:pt>
                <c:pt idx="4530">
                  <c:v>336.47999999999968</c:v>
                </c:pt>
                <c:pt idx="4531">
                  <c:v>344.21</c:v>
                </c:pt>
                <c:pt idx="4532">
                  <c:v>339.3</c:v>
                </c:pt>
                <c:pt idx="4533">
                  <c:v>341.56</c:v>
                </c:pt>
                <c:pt idx="4534">
                  <c:v>336.88</c:v>
                </c:pt>
                <c:pt idx="4535">
                  <c:v>339.1</c:v>
                </c:pt>
                <c:pt idx="4536">
                  <c:v>344.44</c:v>
                </c:pt>
                <c:pt idx="4537">
                  <c:v>343.33</c:v>
                </c:pt>
                <c:pt idx="4538">
                  <c:v>346.27</c:v>
                </c:pt>
                <c:pt idx="4539">
                  <c:v>346.27</c:v>
                </c:pt>
                <c:pt idx="4540">
                  <c:v>350.06</c:v>
                </c:pt>
                <c:pt idx="4541">
                  <c:v>345.91999999999967</c:v>
                </c:pt>
                <c:pt idx="4542">
                  <c:v>347.9</c:v>
                </c:pt>
                <c:pt idx="4543">
                  <c:v>348.61</c:v>
                </c:pt>
                <c:pt idx="4544">
                  <c:v>345.39</c:v>
                </c:pt>
                <c:pt idx="4545">
                  <c:v>346.34000000000032</c:v>
                </c:pt>
                <c:pt idx="4546">
                  <c:v>348.34000000000032</c:v>
                </c:pt>
                <c:pt idx="4547">
                  <c:v>350.84000000000032</c:v>
                </c:pt>
                <c:pt idx="4548">
                  <c:v>348.04</c:v>
                </c:pt>
                <c:pt idx="4549">
                  <c:v>344.56</c:v>
                </c:pt>
                <c:pt idx="4550">
                  <c:v>347.01</c:v>
                </c:pt>
                <c:pt idx="4551">
                  <c:v>338.96</c:v>
                </c:pt>
                <c:pt idx="4552">
                  <c:v>336.89</c:v>
                </c:pt>
                <c:pt idx="4553">
                  <c:v>335.47999999999968</c:v>
                </c:pt>
                <c:pt idx="4554">
                  <c:v>335.98999999999961</c:v>
                </c:pt>
                <c:pt idx="4555">
                  <c:v>338.14000000000033</c:v>
                </c:pt>
                <c:pt idx="4556">
                  <c:v>337.90999999999968</c:v>
                </c:pt>
                <c:pt idx="4557">
                  <c:v>330.21</c:v>
                </c:pt>
                <c:pt idx="4558">
                  <c:v>329.89</c:v>
                </c:pt>
                <c:pt idx="4559">
                  <c:v>328.75</c:v>
                </c:pt>
                <c:pt idx="4560">
                  <c:v>334.46</c:v>
                </c:pt>
                <c:pt idx="4561">
                  <c:v>338.8</c:v>
                </c:pt>
                <c:pt idx="4562">
                  <c:v>338.05</c:v>
                </c:pt>
                <c:pt idx="4563">
                  <c:v>336.71</c:v>
                </c:pt>
                <c:pt idx="4564">
                  <c:v>336.71</c:v>
                </c:pt>
                <c:pt idx="4565">
                  <c:v>341.63</c:v>
                </c:pt>
                <c:pt idx="4566">
                  <c:v>340.2</c:v>
                </c:pt>
                <c:pt idx="4567">
                  <c:v>346.3</c:v>
                </c:pt>
                <c:pt idx="4568">
                  <c:v>343.55</c:v>
                </c:pt>
                <c:pt idx="4569">
                  <c:v>340.62</c:v>
                </c:pt>
                <c:pt idx="4570">
                  <c:v>344.26</c:v>
                </c:pt>
                <c:pt idx="4571">
                  <c:v>349.17</c:v>
                </c:pt>
                <c:pt idx="4572">
                  <c:v>344.72999999999968</c:v>
                </c:pt>
                <c:pt idx="4573">
                  <c:v>346.3</c:v>
                </c:pt>
                <c:pt idx="4574">
                  <c:v>343.81</c:v>
                </c:pt>
                <c:pt idx="4575">
                  <c:v>346.54</c:v>
                </c:pt>
                <c:pt idx="4576">
                  <c:v>346.28</c:v>
                </c:pt>
                <c:pt idx="4577">
                  <c:v>345.27</c:v>
                </c:pt>
                <c:pt idx="4578">
                  <c:v>347.92999999999961</c:v>
                </c:pt>
                <c:pt idx="4579">
                  <c:v>345.89</c:v>
                </c:pt>
                <c:pt idx="4580">
                  <c:v>348.75</c:v>
                </c:pt>
                <c:pt idx="4581">
                  <c:v>346.72999999999968</c:v>
                </c:pt>
                <c:pt idx="4582">
                  <c:v>344.65000000000032</c:v>
                </c:pt>
                <c:pt idx="4583">
                  <c:v>342.08</c:v>
                </c:pt>
                <c:pt idx="4584">
                  <c:v>341.40999999999968</c:v>
                </c:pt>
                <c:pt idx="4585">
                  <c:v>341.82</c:v>
                </c:pt>
                <c:pt idx="4586">
                  <c:v>337.32</c:v>
                </c:pt>
                <c:pt idx="4587">
                  <c:v>327.96999999999969</c:v>
                </c:pt>
                <c:pt idx="4588">
                  <c:v>326.8</c:v>
                </c:pt>
                <c:pt idx="4589">
                  <c:v>317.74</c:v>
                </c:pt>
                <c:pt idx="4590">
                  <c:v>316.12</c:v>
                </c:pt>
                <c:pt idx="4591">
                  <c:v>320.42999999999961</c:v>
                </c:pt>
                <c:pt idx="4592">
                  <c:v>326.33999999999969</c:v>
                </c:pt>
                <c:pt idx="4593">
                  <c:v>326.52999999999969</c:v>
                </c:pt>
                <c:pt idx="4594">
                  <c:v>330.52</c:v>
                </c:pt>
                <c:pt idx="4595">
                  <c:v>330.19</c:v>
                </c:pt>
                <c:pt idx="4596">
                  <c:v>334.19</c:v>
                </c:pt>
                <c:pt idx="4597">
                  <c:v>326.41999999999967</c:v>
                </c:pt>
                <c:pt idx="4598">
                  <c:v>329.46999999999969</c:v>
                </c:pt>
                <c:pt idx="4599">
                  <c:v>331.77</c:v>
                </c:pt>
                <c:pt idx="4600">
                  <c:v>334.42999999999961</c:v>
                </c:pt>
                <c:pt idx="4601">
                  <c:v>331.59</c:v>
                </c:pt>
                <c:pt idx="4602">
                  <c:v>332.07</c:v>
                </c:pt>
                <c:pt idx="4603">
                  <c:v>335.25</c:v>
                </c:pt>
                <c:pt idx="4604">
                  <c:v>337.12</c:v>
                </c:pt>
                <c:pt idx="4605">
                  <c:v>340.95</c:v>
                </c:pt>
                <c:pt idx="4606">
                  <c:v>342.57</c:v>
                </c:pt>
                <c:pt idx="4607">
                  <c:v>340.65000000000032</c:v>
                </c:pt>
                <c:pt idx="4608">
                  <c:v>338.06</c:v>
                </c:pt>
                <c:pt idx="4609">
                  <c:v>338.06</c:v>
                </c:pt>
                <c:pt idx="4610">
                  <c:v>335.21999999999969</c:v>
                </c:pt>
                <c:pt idx="4611">
                  <c:v>339.81</c:v>
                </c:pt>
                <c:pt idx="4612">
                  <c:v>339.9</c:v>
                </c:pt>
                <c:pt idx="4613">
                  <c:v>334.24</c:v>
                </c:pt>
                <c:pt idx="4614">
                  <c:v>334.07</c:v>
                </c:pt>
                <c:pt idx="4615">
                  <c:v>335.75</c:v>
                </c:pt>
                <c:pt idx="4616">
                  <c:v>334.11</c:v>
                </c:pt>
                <c:pt idx="4617">
                  <c:v>332.6</c:v>
                </c:pt>
                <c:pt idx="4618">
                  <c:v>329.55</c:v>
                </c:pt>
                <c:pt idx="4619">
                  <c:v>323.58</c:v>
                </c:pt>
                <c:pt idx="4620">
                  <c:v>324.85000000000002</c:v>
                </c:pt>
                <c:pt idx="4621">
                  <c:v>321.42999999999961</c:v>
                </c:pt>
                <c:pt idx="4622">
                  <c:v>307.24</c:v>
                </c:pt>
                <c:pt idx="4623">
                  <c:v>301.87</c:v>
                </c:pt>
                <c:pt idx="4624">
                  <c:v>301.8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0609280"/>
        <c:axId val="40610816"/>
      </c:lineChart>
      <c:dateAx>
        <c:axId val="40609280"/>
        <c:scaling>
          <c:orientation val="minMax"/>
        </c:scaling>
        <c:delete val="0"/>
        <c:axPos val="b"/>
        <c:numFmt formatCode="yyyy" sourceLinked="0"/>
        <c:majorTickMark val="out"/>
        <c:minorTickMark val="none"/>
        <c:tickLblPos val="nextTo"/>
        <c:spPr>
          <a:effectLst/>
        </c:spPr>
        <c:txPr>
          <a:bodyPr rot="-5400000" vert="horz"/>
          <a:lstStyle/>
          <a:p>
            <a:pPr rtl="0">
              <a:defRPr sz="900" b="0" i="0" u="none" strike="noStrike" baseline="0">
                <a:latin typeface="Tahoma"/>
                <a:ea typeface="Tahoma"/>
                <a:cs typeface="Tahoma"/>
              </a:defRPr>
            </a:pPr>
            <a:endParaRPr lang="pl-PL"/>
          </a:p>
        </c:txPr>
        <c:crossAx val="40610816"/>
        <c:crosses val="autoZero"/>
        <c:auto val="1"/>
        <c:lblOffset val="100"/>
        <c:baseTimeUnit val="days"/>
      </c:dateAx>
      <c:valAx>
        <c:axId val="40610816"/>
        <c:scaling>
          <c:orientation val="minMax"/>
        </c:scaling>
        <c:delete val="0"/>
        <c:axPos val="l"/>
        <c:majorGridlines>
          <c:spPr>
            <a:ln w="3175">
              <a:solidFill>
                <a:srgbClr val="C0C0C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effectLst/>
        </c:spPr>
        <c:txPr>
          <a:bodyPr/>
          <a:lstStyle/>
          <a:p>
            <a:pPr>
              <a:defRPr sz="1100" b="0" i="0" u="none" strike="noStrike" baseline="0">
                <a:solidFill>
                  <a:srgbClr val="000000"/>
                </a:solidFill>
                <a:latin typeface="Tahoma"/>
                <a:ea typeface="Tahoma"/>
                <a:cs typeface="Tahoma"/>
              </a:defRPr>
            </a:pPr>
            <a:endParaRPr lang="pl-PL"/>
          </a:p>
        </c:txPr>
        <c:crossAx val="40609280"/>
        <c:crosses val="autoZero"/>
        <c:crossBetween val="between"/>
      </c:valAx>
      <c:spPr>
        <a:solidFill>
          <a:srgbClr val="FFFFFF"/>
        </a:solidFill>
        <a:ln w="25400">
          <a:noFill/>
        </a:ln>
      </c:spPr>
    </c:plotArea>
    <c:plotVisOnly val="1"/>
    <c:dispBlanksAs val="gap"/>
    <c:showDLblsOverMax val="0"/>
  </c:chart>
  <c:spPr>
    <a:ln w="25400">
      <a:noFill/>
    </a:ln>
  </c:sp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en-US" dirty="0" err="1" smtClean="0"/>
              <a:t>Indone</a:t>
            </a:r>
            <a:r>
              <a:rPr lang="pl-PL" dirty="0" err="1" smtClean="0"/>
              <a:t>sia</a:t>
            </a:r>
            <a:endParaRPr lang="en-US" dirty="0"/>
          </a:p>
        </c:rich>
      </c:tx>
      <c:layout>
        <c:manualLayout>
          <c:xMode val="edge"/>
          <c:yMode val="edge"/>
          <c:x val="0.41135472513202848"/>
          <c:y val="0.10825916562302651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7772121111281335E-2"/>
          <c:y val="0.12010438779286034"/>
          <c:w val="0.84854140182747073"/>
          <c:h val="0.77782275826318015"/>
        </c:manualLayout>
      </c:layout>
      <c:lineChart>
        <c:grouping val="standard"/>
        <c:varyColors val="0"/>
        <c:ser>
          <c:idx val="0"/>
          <c:order val="0"/>
          <c:tx>
            <c:strRef>
              <c:f>'FX emerg'!$AL$1</c:f>
              <c:strCache>
                <c:ptCount val="1"/>
                <c:pt idx="0">
                  <c:v>Indonezja</c:v>
                </c:pt>
              </c:strCache>
            </c:strRef>
          </c:tx>
          <c:spPr>
            <a:ln w="25400">
              <a:solidFill>
                <a:srgbClr val="0096EF"/>
              </a:solidFill>
              <a:prstDash val="solid"/>
            </a:ln>
          </c:spPr>
          <c:marker>
            <c:symbol val="none"/>
          </c:marker>
          <c:cat>
            <c:numRef>
              <c:f>'FX emerg'!$AA$787:$AA$976</c:f>
              <c:numCache>
                <c:formatCode>dd/mm/yy</c:formatCode>
                <c:ptCount val="190"/>
                <c:pt idx="0">
                  <c:v>40546</c:v>
                </c:pt>
                <c:pt idx="1">
                  <c:v>40547</c:v>
                </c:pt>
                <c:pt idx="2">
                  <c:v>40548</c:v>
                </c:pt>
                <c:pt idx="3">
                  <c:v>40549</c:v>
                </c:pt>
                <c:pt idx="4">
                  <c:v>40550</c:v>
                </c:pt>
                <c:pt idx="5">
                  <c:v>40553</c:v>
                </c:pt>
                <c:pt idx="6">
                  <c:v>40554</c:v>
                </c:pt>
                <c:pt idx="7">
                  <c:v>40555</c:v>
                </c:pt>
                <c:pt idx="8">
                  <c:v>40556</c:v>
                </c:pt>
                <c:pt idx="9">
                  <c:v>40557</c:v>
                </c:pt>
                <c:pt idx="10">
                  <c:v>40560</c:v>
                </c:pt>
                <c:pt idx="11">
                  <c:v>40561</c:v>
                </c:pt>
                <c:pt idx="12">
                  <c:v>40562</c:v>
                </c:pt>
                <c:pt idx="13">
                  <c:v>40563</c:v>
                </c:pt>
                <c:pt idx="14">
                  <c:v>40564</c:v>
                </c:pt>
                <c:pt idx="15">
                  <c:v>40567</c:v>
                </c:pt>
                <c:pt idx="16">
                  <c:v>40568</c:v>
                </c:pt>
                <c:pt idx="17">
                  <c:v>40569</c:v>
                </c:pt>
                <c:pt idx="18">
                  <c:v>40570</c:v>
                </c:pt>
                <c:pt idx="19">
                  <c:v>40571</c:v>
                </c:pt>
                <c:pt idx="20">
                  <c:v>40574</c:v>
                </c:pt>
                <c:pt idx="21">
                  <c:v>40575</c:v>
                </c:pt>
                <c:pt idx="22">
                  <c:v>40576</c:v>
                </c:pt>
                <c:pt idx="23">
                  <c:v>40577</c:v>
                </c:pt>
                <c:pt idx="24">
                  <c:v>40578</c:v>
                </c:pt>
                <c:pt idx="25">
                  <c:v>40581</c:v>
                </c:pt>
                <c:pt idx="26">
                  <c:v>40582</c:v>
                </c:pt>
                <c:pt idx="27">
                  <c:v>40583</c:v>
                </c:pt>
                <c:pt idx="28">
                  <c:v>40584</c:v>
                </c:pt>
                <c:pt idx="29">
                  <c:v>40585</c:v>
                </c:pt>
                <c:pt idx="30">
                  <c:v>40588</c:v>
                </c:pt>
                <c:pt idx="31">
                  <c:v>40589</c:v>
                </c:pt>
                <c:pt idx="32">
                  <c:v>40590</c:v>
                </c:pt>
                <c:pt idx="33">
                  <c:v>40591</c:v>
                </c:pt>
                <c:pt idx="34">
                  <c:v>40592</c:v>
                </c:pt>
                <c:pt idx="35">
                  <c:v>40595</c:v>
                </c:pt>
                <c:pt idx="36">
                  <c:v>40596</c:v>
                </c:pt>
                <c:pt idx="37">
                  <c:v>40597</c:v>
                </c:pt>
                <c:pt idx="38">
                  <c:v>40598</c:v>
                </c:pt>
                <c:pt idx="39">
                  <c:v>40599</c:v>
                </c:pt>
                <c:pt idx="40">
                  <c:v>40602</c:v>
                </c:pt>
                <c:pt idx="41">
                  <c:v>40603</c:v>
                </c:pt>
                <c:pt idx="42">
                  <c:v>40604</c:v>
                </c:pt>
                <c:pt idx="43">
                  <c:v>40605</c:v>
                </c:pt>
                <c:pt idx="44">
                  <c:v>40606</c:v>
                </c:pt>
                <c:pt idx="45">
                  <c:v>40609</c:v>
                </c:pt>
                <c:pt idx="46">
                  <c:v>40610</c:v>
                </c:pt>
                <c:pt idx="47">
                  <c:v>40611</c:v>
                </c:pt>
                <c:pt idx="48">
                  <c:v>40612</c:v>
                </c:pt>
                <c:pt idx="49">
                  <c:v>40613</c:v>
                </c:pt>
                <c:pt idx="50">
                  <c:v>40616</c:v>
                </c:pt>
                <c:pt idx="51">
                  <c:v>40617</c:v>
                </c:pt>
                <c:pt idx="52">
                  <c:v>40618</c:v>
                </c:pt>
                <c:pt idx="53">
                  <c:v>40619</c:v>
                </c:pt>
                <c:pt idx="54">
                  <c:v>40620</c:v>
                </c:pt>
                <c:pt idx="55">
                  <c:v>40623</c:v>
                </c:pt>
                <c:pt idx="56">
                  <c:v>40624</c:v>
                </c:pt>
                <c:pt idx="57">
                  <c:v>40625</c:v>
                </c:pt>
                <c:pt idx="58">
                  <c:v>40626</c:v>
                </c:pt>
                <c:pt idx="59">
                  <c:v>40627</c:v>
                </c:pt>
                <c:pt idx="60">
                  <c:v>40630</c:v>
                </c:pt>
                <c:pt idx="61">
                  <c:v>40631</c:v>
                </c:pt>
                <c:pt idx="62">
                  <c:v>40632</c:v>
                </c:pt>
                <c:pt idx="63">
                  <c:v>40633</c:v>
                </c:pt>
                <c:pt idx="64">
                  <c:v>40634</c:v>
                </c:pt>
                <c:pt idx="65">
                  <c:v>40637</c:v>
                </c:pt>
                <c:pt idx="66">
                  <c:v>40638</c:v>
                </c:pt>
                <c:pt idx="67">
                  <c:v>40639</c:v>
                </c:pt>
                <c:pt idx="68">
                  <c:v>40640</c:v>
                </c:pt>
                <c:pt idx="69">
                  <c:v>40641</c:v>
                </c:pt>
                <c:pt idx="70">
                  <c:v>40644</c:v>
                </c:pt>
                <c:pt idx="71">
                  <c:v>40645</c:v>
                </c:pt>
                <c:pt idx="72">
                  <c:v>40646</c:v>
                </c:pt>
                <c:pt idx="73">
                  <c:v>40647</c:v>
                </c:pt>
                <c:pt idx="74">
                  <c:v>40648</c:v>
                </c:pt>
                <c:pt idx="75">
                  <c:v>40651</c:v>
                </c:pt>
                <c:pt idx="76">
                  <c:v>40652</c:v>
                </c:pt>
                <c:pt idx="77">
                  <c:v>40653</c:v>
                </c:pt>
                <c:pt idx="78">
                  <c:v>40654</c:v>
                </c:pt>
                <c:pt idx="79">
                  <c:v>40655</c:v>
                </c:pt>
                <c:pt idx="80">
                  <c:v>40658</c:v>
                </c:pt>
                <c:pt idx="81">
                  <c:v>40659</c:v>
                </c:pt>
                <c:pt idx="82">
                  <c:v>40660</c:v>
                </c:pt>
                <c:pt idx="83">
                  <c:v>40661</c:v>
                </c:pt>
                <c:pt idx="84">
                  <c:v>40662</c:v>
                </c:pt>
                <c:pt idx="85">
                  <c:v>40665</c:v>
                </c:pt>
                <c:pt idx="86">
                  <c:v>40666</c:v>
                </c:pt>
                <c:pt idx="87">
                  <c:v>40667</c:v>
                </c:pt>
                <c:pt idx="88">
                  <c:v>40668</c:v>
                </c:pt>
                <c:pt idx="89">
                  <c:v>40669</c:v>
                </c:pt>
                <c:pt idx="90">
                  <c:v>40672</c:v>
                </c:pt>
                <c:pt idx="91">
                  <c:v>40673</c:v>
                </c:pt>
                <c:pt idx="92">
                  <c:v>40674</c:v>
                </c:pt>
                <c:pt idx="93">
                  <c:v>40675</c:v>
                </c:pt>
                <c:pt idx="94">
                  <c:v>40676</c:v>
                </c:pt>
                <c:pt idx="95">
                  <c:v>40679</c:v>
                </c:pt>
                <c:pt idx="96">
                  <c:v>40680</c:v>
                </c:pt>
                <c:pt idx="97">
                  <c:v>40681</c:v>
                </c:pt>
                <c:pt idx="98">
                  <c:v>40682</c:v>
                </c:pt>
                <c:pt idx="99">
                  <c:v>40683</c:v>
                </c:pt>
                <c:pt idx="100">
                  <c:v>40686</c:v>
                </c:pt>
                <c:pt idx="101">
                  <c:v>40687</c:v>
                </c:pt>
                <c:pt idx="102">
                  <c:v>40688</c:v>
                </c:pt>
                <c:pt idx="103">
                  <c:v>40689</c:v>
                </c:pt>
                <c:pt idx="104">
                  <c:v>40690</c:v>
                </c:pt>
                <c:pt idx="105">
                  <c:v>40693</c:v>
                </c:pt>
                <c:pt idx="106">
                  <c:v>40694</c:v>
                </c:pt>
                <c:pt idx="107">
                  <c:v>40695</c:v>
                </c:pt>
                <c:pt idx="108">
                  <c:v>40696</c:v>
                </c:pt>
                <c:pt idx="109">
                  <c:v>40697</c:v>
                </c:pt>
                <c:pt idx="110">
                  <c:v>40700</c:v>
                </c:pt>
                <c:pt idx="111">
                  <c:v>40701</c:v>
                </c:pt>
                <c:pt idx="112">
                  <c:v>40702</c:v>
                </c:pt>
                <c:pt idx="113">
                  <c:v>40703</c:v>
                </c:pt>
                <c:pt idx="114">
                  <c:v>40704</c:v>
                </c:pt>
                <c:pt idx="115">
                  <c:v>40707</c:v>
                </c:pt>
                <c:pt idx="116">
                  <c:v>40708</c:v>
                </c:pt>
                <c:pt idx="117">
                  <c:v>40709</c:v>
                </c:pt>
                <c:pt idx="118">
                  <c:v>40710</c:v>
                </c:pt>
                <c:pt idx="119">
                  <c:v>40711</c:v>
                </c:pt>
                <c:pt idx="120">
                  <c:v>40714</c:v>
                </c:pt>
                <c:pt idx="121">
                  <c:v>40715</c:v>
                </c:pt>
                <c:pt idx="122">
                  <c:v>40716</c:v>
                </c:pt>
                <c:pt idx="123">
                  <c:v>40717</c:v>
                </c:pt>
                <c:pt idx="124">
                  <c:v>40718</c:v>
                </c:pt>
                <c:pt idx="125">
                  <c:v>40721</c:v>
                </c:pt>
                <c:pt idx="126">
                  <c:v>40722</c:v>
                </c:pt>
                <c:pt idx="127">
                  <c:v>40723</c:v>
                </c:pt>
                <c:pt idx="128">
                  <c:v>40724</c:v>
                </c:pt>
                <c:pt idx="129">
                  <c:v>40725</c:v>
                </c:pt>
                <c:pt idx="130">
                  <c:v>40728</c:v>
                </c:pt>
                <c:pt idx="131">
                  <c:v>40729</c:v>
                </c:pt>
                <c:pt idx="132">
                  <c:v>40730</c:v>
                </c:pt>
                <c:pt idx="133">
                  <c:v>40731</c:v>
                </c:pt>
                <c:pt idx="134">
                  <c:v>40732</c:v>
                </c:pt>
                <c:pt idx="135">
                  <c:v>40735</c:v>
                </c:pt>
                <c:pt idx="136">
                  <c:v>40736</c:v>
                </c:pt>
                <c:pt idx="137">
                  <c:v>40737</c:v>
                </c:pt>
                <c:pt idx="138">
                  <c:v>40738</c:v>
                </c:pt>
                <c:pt idx="139">
                  <c:v>40739</c:v>
                </c:pt>
                <c:pt idx="140">
                  <c:v>40742</c:v>
                </c:pt>
                <c:pt idx="141">
                  <c:v>40743</c:v>
                </c:pt>
                <c:pt idx="142">
                  <c:v>40744</c:v>
                </c:pt>
                <c:pt idx="143">
                  <c:v>40745</c:v>
                </c:pt>
                <c:pt idx="144">
                  <c:v>40746</c:v>
                </c:pt>
                <c:pt idx="145">
                  <c:v>40749</c:v>
                </c:pt>
                <c:pt idx="146">
                  <c:v>40750</c:v>
                </c:pt>
                <c:pt idx="147">
                  <c:v>40751</c:v>
                </c:pt>
                <c:pt idx="148">
                  <c:v>40752</c:v>
                </c:pt>
                <c:pt idx="149">
                  <c:v>40753</c:v>
                </c:pt>
                <c:pt idx="150">
                  <c:v>40756</c:v>
                </c:pt>
                <c:pt idx="151">
                  <c:v>40757</c:v>
                </c:pt>
                <c:pt idx="152">
                  <c:v>40758</c:v>
                </c:pt>
                <c:pt idx="153">
                  <c:v>40759</c:v>
                </c:pt>
                <c:pt idx="154">
                  <c:v>40760</c:v>
                </c:pt>
                <c:pt idx="155">
                  <c:v>40763</c:v>
                </c:pt>
                <c:pt idx="156">
                  <c:v>40764</c:v>
                </c:pt>
                <c:pt idx="157">
                  <c:v>40765</c:v>
                </c:pt>
                <c:pt idx="158">
                  <c:v>40766</c:v>
                </c:pt>
                <c:pt idx="159">
                  <c:v>40767</c:v>
                </c:pt>
                <c:pt idx="160">
                  <c:v>40770</c:v>
                </c:pt>
                <c:pt idx="161">
                  <c:v>40771</c:v>
                </c:pt>
                <c:pt idx="162">
                  <c:v>40772</c:v>
                </c:pt>
                <c:pt idx="163">
                  <c:v>40773</c:v>
                </c:pt>
                <c:pt idx="164">
                  <c:v>40774</c:v>
                </c:pt>
                <c:pt idx="165">
                  <c:v>40777</c:v>
                </c:pt>
                <c:pt idx="166">
                  <c:v>40778</c:v>
                </c:pt>
                <c:pt idx="167">
                  <c:v>40779</c:v>
                </c:pt>
                <c:pt idx="168">
                  <c:v>40780</c:v>
                </c:pt>
                <c:pt idx="169">
                  <c:v>40781</c:v>
                </c:pt>
                <c:pt idx="170">
                  <c:v>40784</c:v>
                </c:pt>
                <c:pt idx="171">
                  <c:v>40785</c:v>
                </c:pt>
                <c:pt idx="172">
                  <c:v>40786</c:v>
                </c:pt>
                <c:pt idx="173">
                  <c:v>40787</c:v>
                </c:pt>
                <c:pt idx="174">
                  <c:v>40788</c:v>
                </c:pt>
                <c:pt idx="175">
                  <c:v>40791</c:v>
                </c:pt>
                <c:pt idx="176">
                  <c:v>40792</c:v>
                </c:pt>
                <c:pt idx="177">
                  <c:v>40793</c:v>
                </c:pt>
                <c:pt idx="178">
                  <c:v>40794</c:v>
                </c:pt>
                <c:pt idx="179">
                  <c:v>40795</c:v>
                </c:pt>
                <c:pt idx="180">
                  <c:v>40798</c:v>
                </c:pt>
                <c:pt idx="181">
                  <c:v>40799</c:v>
                </c:pt>
                <c:pt idx="182">
                  <c:v>40800</c:v>
                </c:pt>
                <c:pt idx="183">
                  <c:v>40801</c:v>
                </c:pt>
                <c:pt idx="184">
                  <c:v>40802</c:v>
                </c:pt>
                <c:pt idx="185">
                  <c:v>40805</c:v>
                </c:pt>
                <c:pt idx="186">
                  <c:v>40806</c:v>
                </c:pt>
                <c:pt idx="187">
                  <c:v>40807</c:v>
                </c:pt>
                <c:pt idx="188">
                  <c:v>40808</c:v>
                </c:pt>
                <c:pt idx="189">
                  <c:v>40809</c:v>
                </c:pt>
              </c:numCache>
            </c:numRef>
          </c:cat>
          <c:val>
            <c:numRef>
              <c:f>'FX emerg'!$AK$787:$AK$976</c:f>
              <c:numCache>
                <c:formatCode>General</c:formatCode>
                <c:ptCount val="190"/>
                <c:pt idx="0">
                  <c:v>8988</c:v>
                </c:pt>
                <c:pt idx="1">
                  <c:v>8983</c:v>
                </c:pt>
                <c:pt idx="2">
                  <c:v>8983</c:v>
                </c:pt>
                <c:pt idx="3">
                  <c:v>8998</c:v>
                </c:pt>
                <c:pt idx="4">
                  <c:v>9023</c:v>
                </c:pt>
                <c:pt idx="5">
                  <c:v>9073</c:v>
                </c:pt>
                <c:pt idx="6">
                  <c:v>9068</c:v>
                </c:pt>
                <c:pt idx="7">
                  <c:v>9063</c:v>
                </c:pt>
                <c:pt idx="8">
                  <c:v>9068</c:v>
                </c:pt>
                <c:pt idx="9">
                  <c:v>9054</c:v>
                </c:pt>
                <c:pt idx="10">
                  <c:v>9063</c:v>
                </c:pt>
                <c:pt idx="11">
                  <c:v>9055</c:v>
                </c:pt>
                <c:pt idx="12">
                  <c:v>9058</c:v>
                </c:pt>
                <c:pt idx="13">
                  <c:v>9063</c:v>
                </c:pt>
                <c:pt idx="14">
                  <c:v>9063</c:v>
                </c:pt>
                <c:pt idx="15">
                  <c:v>9068</c:v>
                </c:pt>
                <c:pt idx="16">
                  <c:v>9039</c:v>
                </c:pt>
                <c:pt idx="17">
                  <c:v>9034</c:v>
                </c:pt>
                <c:pt idx="18">
                  <c:v>9029</c:v>
                </c:pt>
                <c:pt idx="19">
                  <c:v>9031</c:v>
                </c:pt>
                <c:pt idx="20">
                  <c:v>9049</c:v>
                </c:pt>
                <c:pt idx="21">
                  <c:v>9038</c:v>
                </c:pt>
                <c:pt idx="22">
                  <c:v>9018</c:v>
                </c:pt>
                <c:pt idx="23">
                  <c:v>9014</c:v>
                </c:pt>
                <c:pt idx="24">
                  <c:v>8993</c:v>
                </c:pt>
                <c:pt idx="25">
                  <c:v>8953</c:v>
                </c:pt>
                <c:pt idx="26">
                  <c:v>8918</c:v>
                </c:pt>
                <c:pt idx="27">
                  <c:v>8930</c:v>
                </c:pt>
                <c:pt idx="28">
                  <c:v>8933</c:v>
                </c:pt>
                <c:pt idx="29">
                  <c:v>8935</c:v>
                </c:pt>
                <c:pt idx="30">
                  <c:v>8918</c:v>
                </c:pt>
                <c:pt idx="31">
                  <c:v>8908</c:v>
                </c:pt>
                <c:pt idx="32">
                  <c:v>8892</c:v>
                </c:pt>
                <c:pt idx="33">
                  <c:v>8886</c:v>
                </c:pt>
                <c:pt idx="34">
                  <c:v>8870</c:v>
                </c:pt>
                <c:pt idx="35">
                  <c:v>8858</c:v>
                </c:pt>
                <c:pt idx="36">
                  <c:v>8879</c:v>
                </c:pt>
                <c:pt idx="37">
                  <c:v>8855</c:v>
                </c:pt>
                <c:pt idx="38">
                  <c:v>8873</c:v>
                </c:pt>
                <c:pt idx="39">
                  <c:v>8838</c:v>
                </c:pt>
                <c:pt idx="40">
                  <c:v>8821</c:v>
                </c:pt>
                <c:pt idx="41">
                  <c:v>8808</c:v>
                </c:pt>
                <c:pt idx="42">
                  <c:v>8812</c:v>
                </c:pt>
                <c:pt idx="43">
                  <c:v>8808</c:v>
                </c:pt>
                <c:pt idx="44">
                  <c:v>8792</c:v>
                </c:pt>
                <c:pt idx="45">
                  <c:v>8788</c:v>
                </c:pt>
                <c:pt idx="46">
                  <c:v>8788</c:v>
                </c:pt>
                <c:pt idx="47">
                  <c:v>8784</c:v>
                </c:pt>
                <c:pt idx="48">
                  <c:v>8783</c:v>
                </c:pt>
                <c:pt idx="49">
                  <c:v>8782</c:v>
                </c:pt>
                <c:pt idx="50">
                  <c:v>8763</c:v>
                </c:pt>
                <c:pt idx="51">
                  <c:v>8778</c:v>
                </c:pt>
                <c:pt idx="52">
                  <c:v>8779</c:v>
                </c:pt>
                <c:pt idx="53">
                  <c:v>8783</c:v>
                </c:pt>
                <c:pt idx="54">
                  <c:v>8773</c:v>
                </c:pt>
                <c:pt idx="55">
                  <c:v>8733</c:v>
                </c:pt>
                <c:pt idx="56">
                  <c:v>8716</c:v>
                </c:pt>
                <c:pt idx="57">
                  <c:v>8723</c:v>
                </c:pt>
                <c:pt idx="58">
                  <c:v>8718</c:v>
                </c:pt>
                <c:pt idx="59">
                  <c:v>8717</c:v>
                </c:pt>
                <c:pt idx="60">
                  <c:v>8718</c:v>
                </c:pt>
                <c:pt idx="61">
                  <c:v>8711</c:v>
                </c:pt>
                <c:pt idx="62">
                  <c:v>8720</c:v>
                </c:pt>
                <c:pt idx="63">
                  <c:v>8708</c:v>
                </c:pt>
                <c:pt idx="64">
                  <c:v>8696</c:v>
                </c:pt>
                <c:pt idx="65">
                  <c:v>8663</c:v>
                </c:pt>
                <c:pt idx="66">
                  <c:v>8658</c:v>
                </c:pt>
                <c:pt idx="67">
                  <c:v>8653</c:v>
                </c:pt>
                <c:pt idx="68">
                  <c:v>8668</c:v>
                </c:pt>
                <c:pt idx="69">
                  <c:v>8653</c:v>
                </c:pt>
                <c:pt idx="70">
                  <c:v>8653</c:v>
                </c:pt>
                <c:pt idx="71">
                  <c:v>8663</c:v>
                </c:pt>
                <c:pt idx="72">
                  <c:v>8658</c:v>
                </c:pt>
                <c:pt idx="73">
                  <c:v>8666</c:v>
                </c:pt>
                <c:pt idx="74">
                  <c:v>8668</c:v>
                </c:pt>
                <c:pt idx="75">
                  <c:v>8678</c:v>
                </c:pt>
                <c:pt idx="76">
                  <c:v>8688</c:v>
                </c:pt>
                <c:pt idx="77">
                  <c:v>8652</c:v>
                </c:pt>
                <c:pt idx="78">
                  <c:v>8630</c:v>
                </c:pt>
                <c:pt idx="79">
                  <c:v>8623</c:v>
                </c:pt>
                <c:pt idx="80">
                  <c:v>8623</c:v>
                </c:pt>
                <c:pt idx="81">
                  <c:v>8643</c:v>
                </c:pt>
                <c:pt idx="82">
                  <c:v>8628</c:v>
                </c:pt>
                <c:pt idx="83">
                  <c:v>8581</c:v>
                </c:pt>
                <c:pt idx="84">
                  <c:v>8563</c:v>
                </c:pt>
                <c:pt idx="85">
                  <c:v>8543</c:v>
                </c:pt>
                <c:pt idx="86">
                  <c:v>8546</c:v>
                </c:pt>
                <c:pt idx="87">
                  <c:v>8553</c:v>
                </c:pt>
                <c:pt idx="88">
                  <c:v>8572</c:v>
                </c:pt>
                <c:pt idx="89">
                  <c:v>8588</c:v>
                </c:pt>
                <c:pt idx="90">
                  <c:v>8553</c:v>
                </c:pt>
                <c:pt idx="91">
                  <c:v>8553</c:v>
                </c:pt>
                <c:pt idx="92">
                  <c:v>8531</c:v>
                </c:pt>
                <c:pt idx="93">
                  <c:v>8565</c:v>
                </c:pt>
                <c:pt idx="94">
                  <c:v>8546</c:v>
                </c:pt>
                <c:pt idx="95">
                  <c:v>8579</c:v>
                </c:pt>
                <c:pt idx="96">
                  <c:v>8578</c:v>
                </c:pt>
                <c:pt idx="97">
                  <c:v>8563</c:v>
                </c:pt>
                <c:pt idx="98">
                  <c:v>8553</c:v>
                </c:pt>
                <c:pt idx="99">
                  <c:v>8536</c:v>
                </c:pt>
                <c:pt idx="100">
                  <c:v>8593</c:v>
                </c:pt>
                <c:pt idx="101">
                  <c:v>8571</c:v>
                </c:pt>
                <c:pt idx="102">
                  <c:v>8603</c:v>
                </c:pt>
                <c:pt idx="103">
                  <c:v>8582</c:v>
                </c:pt>
                <c:pt idx="104">
                  <c:v>8565</c:v>
                </c:pt>
                <c:pt idx="105">
                  <c:v>8548</c:v>
                </c:pt>
                <c:pt idx="106">
                  <c:v>8543</c:v>
                </c:pt>
                <c:pt idx="107">
                  <c:v>8538</c:v>
                </c:pt>
                <c:pt idx="108">
                  <c:v>8543</c:v>
                </c:pt>
                <c:pt idx="109">
                  <c:v>8528</c:v>
                </c:pt>
                <c:pt idx="110">
                  <c:v>8513</c:v>
                </c:pt>
                <c:pt idx="111">
                  <c:v>8513</c:v>
                </c:pt>
                <c:pt idx="112">
                  <c:v>8515</c:v>
                </c:pt>
                <c:pt idx="113">
                  <c:v>8521</c:v>
                </c:pt>
                <c:pt idx="114">
                  <c:v>8520</c:v>
                </c:pt>
                <c:pt idx="115">
                  <c:v>8543</c:v>
                </c:pt>
                <c:pt idx="116">
                  <c:v>8534</c:v>
                </c:pt>
                <c:pt idx="117">
                  <c:v>8548</c:v>
                </c:pt>
                <c:pt idx="118">
                  <c:v>8598</c:v>
                </c:pt>
                <c:pt idx="119">
                  <c:v>8608</c:v>
                </c:pt>
                <c:pt idx="120">
                  <c:v>8618</c:v>
                </c:pt>
                <c:pt idx="121">
                  <c:v>8601</c:v>
                </c:pt>
                <c:pt idx="122">
                  <c:v>8593</c:v>
                </c:pt>
                <c:pt idx="123">
                  <c:v>8600</c:v>
                </c:pt>
                <c:pt idx="124">
                  <c:v>8599</c:v>
                </c:pt>
                <c:pt idx="125">
                  <c:v>8623</c:v>
                </c:pt>
                <c:pt idx="126">
                  <c:v>8623</c:v>
                </c:pt>
                <c:pt idx="127">
                  <c:v>8608</c:v>
                </c:pt>
                <c:pt idx="128">
                  <c:v>8579</c:v>
                </c:pt>
                <c:pt idx="129">
                  <c:v>8547</c:v>
                </c:pt>
                <c:pt idx="130">
                  <c:v>8524</c:v>
                </c:pt>
                <c:pt idx="131">
                  <c:v>8533</c:v>
                </c:pt>
                <c:pt idx="132">
                  <c:v>8544</c:v>
                </c:pt>
                <c:pt idx="133">
                  <c:v>8537</c:v>
                </c:pt>
                <c:pt idx="134">
                  <c:v>8514</c:v>
                </c:pt>
                <c:pt idx="135">
                  <c:v>8529</c:v>
                </c:pt>
                <c:pt idx="136">
                  <c:v>8578</c:v>
                </c:pt>
                <c:pt idx="137">
                  <c:v>8549</c:v>
                </c:pt>
                <c:pt idx="138">
                  <c:v>8535</c:v>
                </c:pt>
                <c:pt idx="139">
                  <c:v>8544</c:v>
                </c:pt>
                <c:pt idx="140">
                  <c:v>8559</c:v>
                </c:pt>
                <c:pt idx="141">
                  <c:v>8550</c:v>
                </c:pt>
                <c:pt idx="142">
                  <c:v>8541</c:v>
                </c:pt>
                <c:pt idx="143">
                  <c:v>8541</c:v>
                </c:pt>
                <c:pt idx="144">
                  <c:v>8524</c:v>
                </c:pt>
                <c:pt idx="145">
                  <c:v>8524</c:v>
                </c:pt>
                <c:pt idx="146">
                  <c:v>8507</c:v>
                </c:pt>
                <c:pt idx="147">
                  <c:v>8487</c:v>
                </c:pt>
                <c:pt idx="148">
                  <c:v>8494</c:v>
                </c:pt>
                <c:pt idx="149">
                  <c:v>8504</c:v>
                </c:pt>
                <c:pt idx="150">
                  <c:v>8464</c:v>
                </c:pt>
                <c:pt idx="151">
                  <c:v>8476</c:v>
                </c:pt>
                <c:pt idx="152">
                  <c:v>8489</c:v>
                </c:pt>
                <c:pt idx="153">
                  <c:v>8502</c:v>
                </c:pt>
                <c:pt idx="154">
                  <c:v>8548</c:v>
                </c:pt>
                <c:pt idx="155">
                  <c:v>8525</c:v>
                </c:pt>
                <c:pt idx="156">
                  <c:v>8559</c:v>
                </c:pt>
                <c:pt idx="157">
                  <c:v>8534</c:v>
                </c:pt>
                <c:pt idx="158">
                  <c:v>8549</c:v>
                </c:pt>
                <c:pt idx="159">
                  <c:v>8554</c:v>
                </c:pt>
                <c:pt idx="160">
                  <c:v>8544</c:v>
                </c:pt>
                <c:pt idx="161">
                  <c:v>8531</c:v>
                </c:pt>
                <c:pt idx="162">
                  <c:v>8526</c:v>
                </c:pt>
                <c:pt idx="163">
                  <c:v>8553</c:v>
                </c:pt>
                <c:pt idx="164">
                  <c:v>8558</c:v>
                </c:pt>
                <c:pt idx="165">
                  <c:v>8547</c:v>
                </c:pt>
                <c:pt idx="166">
                  <c:v>8544</c:v>
                </c:pt>
                <c:pt idx="167">
                  <c:v>8553</c:v>
                </c:pt>
                <c:pt idx="168">
                  <c:v>8595</c:v>
                </c:pt>
                <c:pt idx="169">
                  <c:v>8565</c:v>
                </c:pt>
                <c:pt idx="170">
                  <c:v>8544</c:v>
                </c:pt>
                <c:pt idx="171">
                  <c:v>8549</c:v>
                </c:pt>
                <c:pt idx="172">
                  <c:v>8534</c:v>
                </c:pt>
                <c:pt idx="173">
                  <c:v>8508</c:v>
                </c:pt>
                <c:pt idx="174">
                  <c:v>8519</c:v>
                </c:pt>
                <c:pt idx="175">
                  <c:v>8542</c:v>
                </c:pt>
                <c:pt idx="176">
                  <c:v>8558</c:v>
                </c:pt>
                <c:pt idx="177">
                  <c:v>8557</c:v>
                </c:pt>
                <c:pt idx="178">
                  <c:v>8564</c:v>
                </c:pt>
                <c:pt idx="179">
                  <c:v>8578</c:v>
                </c:pt>
                <c:pt idx="180">
                  <c:v>8613</c:v>
                </c:pt>
                <c:pt idx="181">
                  <c:v>8663</c:v>
                </c:pt>
                <c:pt idx="182">
                  <c:v>8884</c:v>
                </c:pt>
                <c:pt idx="183">
                  <c:v>8804</c:v>
                </c:pt>
                <c:pt idx="184">
                  <c:v>8803</c:v>
                </c:pt>
                <c:pt idx="185">
                  <c:v>8893</c:v>
                </c:pt>
                <c:pt idx="186">
                  <c:v>8893</c:v>
                </c:pt>
                <c:pt idx="187">
                  <c:v>9018</c:v>
                </c:pt>
                <c:pt idx="188">
                  <c:v>9024</c:v>
                </c:pt>
                <c:pt idx="189">
                  <c:v>894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3053184"/>
        <c:axId val="103054720"/>
      </c:lineChart>
      <c:dateAx>
        <c:axId val="103053184"/>
        <c:scaling>
          <c:orientation val="minMax"/>
        </c:scaling>
        <c:delete val="0"/>
        <c:axPos val="b"/>
        <c:numFmt formatCode="[$-415]mmm\ yy;@" sourceLinked="0"/>
        <c:majorTickMark val="out"/>
        <c:minorTickMark val="none"/>
        <c:tickLblPos val="nextTo"/>
        <c:spPr>
          <a:effectLst/>
        </c:spPr>
        <c:txPr>
          <a:bodyPr/>
          <a:lstStyle/>
          <a:p>
            <a:pPr rtl="0">
              <a:defRPr sz="900" b="0" i="0" u="none" strike="noStrike" baseline="0"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3054720"/>
        <c:crosses val="autoZero"/>
        <c:auto val="1"/>
        <c:lblOffset val="100"/>
        <c:baseTimeUnit val="days"/>
        <c:majorUnit val="1"/>
        <c:majorTimeUnit val="months"/>
      </c:dateAx>
      <c:valAx>
        <c:axId val="103054720"/>
        <c:scaling>
          <c:orientation val="minMax"/>
          <c:min val="8400"/>
        </c:scaling>
        <c:delete val="0"/>
        <c:axPos val="l"/>
        <c:majorGridlines>
          <c:spPr>
            <a:ln w="3175">
              <a:solidFill>
                <a:srgbClr val="C0C0C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effectLst/>
        </c:spPr>
        <c:txPr>
          <a:bodyPr/>
          <a:lstStyle/>
          <a:p>
            <a:pPr>
              <a:defRPr sz="1050" b="0" i="0" u="none" strike="noStrike" baseline="0">
                <a:solidFill>
                  <a:srgbClr val="000000"/>
                </a:solidFill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3053184"/>
        <c:crosses val="autoZero"/>
        <c:crossBetween val="between"/>
      </c:valAx>
      <c:spPr>
        <a:solidFill>
          <a:srgbClr val="FFFFFF"/>
        </a:solidFill>
        <a:ln w="25400">
          <a:noFill/>
        </a:ln>
      </c:spPr>
    </c:plotArea>
    <c:plotVisOnly val="1"/>
    <c:dispBlanksAs val="gap"/>
    <c:showDLblsOverMax val="0"/>
  </c:chart>
  <c:spPr>
    <a:ln w="25400">
      <a:noFill/>
    </a:ln>
  </c:spPr>
  <c:externalData r:id="rId1">
    <c:autoUpdate val="0"/>
  </c:externalData>
  <c:userShapes r:id="rId2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en-US" dirty="0" smtClean="0"/>
              <a:t>Indi</a:t>
            </a:r>
            <a:r>
              <a:rPr lang="pl-PL" dirty="0" smtClean="0"/>
              <a:t>a</a:t>
            </a:r>
            <a:endParaRPr lang="en-US" dirty="0"/>
          </a:p>
        </c:rich>
      </c:tx>
      <c:layout>
        <c:manualLayout>
          <c:xMode val="edge"/>
          <c:yMode val="edge"/>
          <c:x val="0.46341558065507982"/>
          <c:y val="0.10629767701911209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7772121111281335E-2"/>
          <c:y val="9.8844703278823248E-2"/>
          <c:w val="0.84854140182747073"/>
          <c:h val="0.74960577790649008"/>
        </c:manualLayout>
      </c:layout>
      <c:lineChart>
        <c:grouping val="standard"/>
        <c:varyColors val="0"/>
        <c:ser>
          <c:idx val="0"/>
          <c:order val="0"/>
          <c:tx>
            <c:strRef>
              <c:f>'FX emerg'!$AO$1</c:f>
              <c:strCache>
                <c:ptCount val="1"/>
                <c:pt idx="0">
                  <c:v>Indie</c:v>
                </c:pt>
              </c:strCache>
            </c:strRef>
          </c:tx>
          <c:spPr>
            <a:ln w="25400">
              <a:solidFill>
                <a:srgbClr val="0096EF"/>
              </a:solidFill>
              <a:prstDash val="solid"/>
            </a:ln>
          </c:spPr>
          <c:marker>
            <c:symbol val="none"/>
          </c:marker>
          <c:cat>
            <c:numRef>
              <c:f>'FX emerg'!$AA$787:$AA$976</c:f>
              <c:numCache>
                <c:formatCode>dd/mm/yy</c:formatCode>
                <c:ptCount val="190"/>
                <c:pt idx="0">
                  <c:v>40546</c:v>
                </c:pt>
                <c:pt idx="1">
                  <c:v>40547</c:v>
                </c:pt>
                <c:pt idx="2">
                  <c:v>40548</c:v>
                </c:pt>
                <c:pt idx="3">
                  <c:v>40549</c:v>
                </c:pt>
                <c:pt idx="4">
                  <c:v>40550</c:v>
                </c:pt>
                <c:pt idx="5">
                  <c:v>40553</c:v>
                </c:pt>
                <c:pt idx="6">
                  <c:v>40554</c:v>
                </c:pt>
                <c:pt idx="7">
                  <c:v>40555</c:v>
                </c:pt>
                <c:pt idx="8">
                  <c:v>40556</c:v>
                </c:pt>
                <c:pt idx="9">
                  <c:v>40557</c:v>
                </c:pt>
                <c:pt idx="10">
                  <c:v>40560</c:v>
                </c:pt>
                <c:pt idx="11">
                  <c:v>40561</c:v>
                </c:pt>
                <c:pt idx="12">
                  <c:v>40562</c:v>
                </c:pt>
                <c:pt idx="13">
                  <c:v>40563</c:v>
                </c:pt>
                <c:pt idx="14">
                  <c:v>40564</c:v>
                </c:pt>
                <c:pt idx="15">
                  <c:v>40567</c:v>
                </c:pt>
                <c:pt idx="16">
                  <c:v>40568</c:v>
                </c:pt>
                <c:pt idx="17">
                  <c:v>40569</c:v>
                </c:pt>
                <c:pt idx="18">
                  <c:v>40570</c:v>
                </c:pt>
                <c:pt idx="19">
                  <c:v>40571</c:v>
                </c:pt>
                <c:pt idx="20">
                  <c:v>40574</c:v>
                </c:pt>
                <c:pt idx="21">
                  <c:v>40575</c:v>
                </c:pt>
                <c:pt idx="22">
                  <c:v>40576</c:v>
                </c:pt>
                <c:pt idx="23">
                  <c:v>40577</c:v>
                </c:pt>
                <c:pt idx="24">
                  <c:v>40578</c:v>
                </c:pt>
                <c:pt idx="25">
                  <c:v>40581</c:v>
                </c:pt>
                <c:pt idx="26">
                  <c:v>40582</c:v>
                </c:pt>
                <c:pt idx="27">
                  <c:v>40583</c:v>
                </c:pt>
                <c:pt idx="28">
                  <c:v>40584</c:v>
                </c:pt>
                <c:pt idx="29">
                  <c:v>40585</c:v>
                </c:pt>
                <c:pt idx="30">
                  <c:v>40588</c:v>
                </c:pt>
                <c:pt idx="31">
                  <c:v>40589</c:v>
                </c:pt>
                <c:pt idx="32">
                  <c:v>40590</c:v>
                </c:pt>
                <c:pt idx="33">
                  <c:v>40591</c:v>
                </c:pt>
                <c:pt idx="34">
                  <c:v>40592</c:v>
                </c:pt>
                <c:pt idx="35">
                  <c:v>40595</c:v>
                </c:pt>
                <c:pt idx="36">
                  <c:v>40596</c:v>
                </c:pt>
                <c:pt idx="37">
                  <c:v>40597</c:v>
                </c:pt>
                <c:pt idx="38">
                  <c:v>40598</c:v>
                </c:pt>
                <c:pt idx="39">
                  <c:v>40599</c:v>
                </c:pt>
                <c:pt idx="40">
                  <c:v>40602</c:v>
                </c:pt>
                <c:pt idx="41">
                  <c:v>40603</c:v>
                </c:pt>
                <c:pt idx="42">
                  <c:v>40604</c:v>
                </c:pt>
                <c:pt idx="43">
                  <c:v>40605</c:v>
                </c:pt>
                <c:pt idx="44">
                  <c:v>40606</c:v>
                </c:pt>
                <c:pt idx="45">
                  <c:v>40609</c:v>
                </c:pt>
                <c:pt idx="46">
                  <c:v>40610</c:v>
                </c:pt>
                <c:pt idx="47">
                  <c:v>40611</c:v>
                </c:pt>
                <c:pt idx="48">
                  <c:v>40612</c:v>
                </c:pt>
                <c:pt idx="49">
                  <c:v>40613</c:v>
                </c:pt>
                <c:pt idx="50">
                  <c:v>40616</c:v>
                </c:pt>
                <c:pt idx="51">
                  <c:v>40617</c:v>
                </c:pt>
                <c:pt idx="52">
                  <c:v>40618</c:v>
                </c:pt>
                <c:pt idx="53">
                  <c:v>40619</c:v>
                </c:pt>
                <c:pt idx="54">
                  <c:v>40620</c:v>
                </c:pt>
                <c:pt idx="55">
                  <c:v>40623</c:v>
                </c:pt>
                <c:pt idx="56">
                  <c:v>40624</c:v>
                </c:pt>
                <c:pt idx="57">
                  <c:v>40625</c:v>
                </c:pt>
                <c:pt idx="58">
                  <c:v>40626</c:v>
                </c:pt>
                <c:pt idx="59">
                  <c:v>40627</c:v>
                </c:pt>
                <c:pt idx="60">
                  <c:v>40630</c:v>
                </c:pt>
                <c:pt idx="61">
                  <c:v>40631</c:v>
                </c:pt>
                <c:pt idx="62">
                  <c:v>40632</c:v>
                </c:pt>
                <c:pt idx="63">
                  <c:v>40633</c:v>
                </c:pt>
                <c:pt idx="64">
                  <c:v>40634</c:v>
                </c:pt>
                <c:pt idx="65">
                  <c:v>40637</c:v>
                </c:pt>
                <c:pt idx="66">
                  <c:v>40638</c:v>
                </c:pt>
                <c:pt idx="67">
                  <c:v>40639</c:v>
                </c:pt>
                <c:pt idx="68">
                  <c:v>40640</c:v>
                </c:pt>
                <c:pt idx="69">
                  <c:v>40641</c:v>
                </c:pt>
                <c:pt idx="70">
                  <c:v>40644</c:v>
                </c:pt>
                <c:pt idx="71">
                  <c:v>40645</c:v>
                </c:pt>
                <c:pt idx="72">
                  <c:v>40646</c:v>
                </c:pt>
                <c:pt idx="73">
                  <c:v>40647</c:v>
                </c:pt>
                <c:pt idx="74">
                  <c:v>40648</c:v>
                </c:pt>
                <c:pt idx="75">
                  <c:v>40651</c:v>
                </c:pt>
                <c:pt idx="76">
                  <c:v>40652</c:v>
                </c:pt>
                <c:pt idx="77">
                  <c:v>40653</c:v>
                </c:pt>
                <c:pt idx="78">
                  <c:v>40654</c:v>
                </c:pt>
                <c:pt idx="79">
                  <c:v>40655</c:v>
                </c:pt>
                <c:pt idx="80">
                  <c:v>40658</c:v>
                </c:pt>
                <c:pt idx="81">
                  <c:v>40659</c:v>
                </c:pt>
                <c:pt idx="82">
                  <c:v>40660</c:v>
                </c:pt>
                <c:pt idx="83">
                  <c:v>40661</c:v>
                </c:pt>
                <c:pt idx="84">
                  <c:v>40662</c:v>
                </c:pt>
                <c:pt idx="85">
                  <c:v>40665</c:v>
                </c:pt>
                <c:pt idx="86">
                  <c:v>40666</c:v>
                </c:pt>
                <c:pt idx="87">
                  <c:v>40667</c:v>
                </c:pt>
                <c:pt idx="88">
                  <c:v>40668</c:v>
                </c:pt>
                <c:pt idx="89">
                  <c:v>40669</c:v>
                </c:pt>
                <c:pt idx="90">
                  <c:v>40672</c:v>
                </c:pt>
                <c:pt idx="91">
                  <c:v>40673</c:v>
                </c:pt>
                <c:pt idx="92">
                  <c:v>40674</c:v>
                </c:pt>
                <c:pt idx="93">
                  <c:v>40675</c:v>
                </c:pt>
                <c:pt idx="94">
                  <c:v>40676</c:v>
                </c:pt>
                <c:pt idx="95">
                  <c:v>40679</c:v>
                </c:pt>
                <c:pt idx="96">
                  <c:v>40680</c:v>
                </c:pt>
                <c:pt idx="97">
                  <c:v>40681</c:v>
                </c:pt>
                <c:pt idx="98">
                  <c:v>40682</c:v>
                </c:pt>
                <c:pt idx="99">
                  <c:v>40683</c:v>
                </c:pt>
                <c:pt idx="100">
                  <c:v>40686</c:v>
                </c:pt>
                <c:pt idx="101">
                  <c:v>40687</c:v>
                </c:pt>
                <c:pt idx="102">
                  <c:v>40688</c:v>
                </c:pt>
                <c:pt idx="103">
                  <c:v>40689</c:v>
                </c:pt>
                <c:pt idx="104">
                  <c:v>40690</c:v>
                </c:pt>
                <c:pt idx="105">
                  <c:v>40693</c:v>
                </c:pt>
                <c:pt idx="106">
                  <c:v>40694</c:v>
                </c:pt>
                <c:pt idx="107">
                  <c:v>40695</c:v>
                </c:pt>
                <c:pt idx="108">
                  <c:v>40696</c:v>
                </c:pt>
                <c:pt idx="109">
                  <c:v>40697</c:v>
                </c:pt>
                <c:pt idx="110">
                  <c:v>40700</c:v>
                </c:pt>
                <c:pt idx="111">
                  <c:v>40701</c:v>
                </c:pt>
                <c:pt idx="112">
                  <c:v>40702</c:v>
                </c:pt>
                <c:pt idx="113">
                  <c:v>40703</c:v>
                </c:pt>
                <c:pt idx="114">
                  <c:v>40704</c:v>
                </c:pt>
                <c:pt idx="115">
                  <c:v>40707</c:v>
                </c:pt>
                <c:pt idx="116">
                  <c:v>40708</c:v>
                </c:pt>
                <c:pt idx="117">
                  <c:v>40709</c:v>
                </c:pt>
                <c:pt idx="118">
                  <c:v>40710</c:v>
                </c:pt>
                <c:pt idx="119">
                  <c:v>40711</c:v>
                </c:pt>
                <c:pt idx="120">
                  <c:v>40714</c:v>
                </c:pt>
                <c:pt idx="121">
                  <c:v>40715</c:v>
                </c:pt>
                <c:pt idx="122">
                  <c:v>40716</c:v>
                </c:pt>
                <c:pt idx="123">
                  <c:v>40717</c:v>
                </c:pt>
                <c:pt idx="124">
                  <c:v>40718</c:v>
                </c:pt>
                <c:pt idx="125">
                  <c:v>40721</c:v>
                </c:pt>
                <c:pt idx="126">
                  <c:v>40722</c:v>
                </c:pt>
                <c:pt idx="127">
                  <c:v>40723</c:v>
                </c:pt>
                <c:pt idx="128">
                  <c:v>40724</c:v>
                </c:pt>
                <c:pt idx="129">
                  <c:v>40725</c:v>
                </c:pt>
                <c:pt idx="130">
                  <c:v>40728</c:v>
                </c:pt>
                <c:pt idx="131">
                  <c:v>40729</c:v>
                </c:pt>
                <c:pt idx="132">
                  <c:v>40730</c:v>
                </c:pt>
                <c:pt idx="133">
                  <c:v>40731</c:v>
                </c:pt>
                <c:pt idx="134">
                  <c:v>40732</c:v>
                </c:pt>
                <c:pt idx="135">
                  <c:v>40735</c:v>
                </c:pt>
                <c:pt idx="136">
                  <c:v>40736</c:v>
                </c:pt>
                <c:pt idx="137">
                  <c:v>40737</c:v>
                </c:pt>
                <c:pt idx="138">
                  <c:v>40738</c:v>
                </c:pt>
                <c:pt idx="139">
                  <c:v>40739</c:v>
                </c:pt>
                <c:pt idx="140">
                  <c:v>40742</c:v>
                </c:pt>
                <c:pt idx="141">
                  <c:v>40743</c:v>
                </c:pt>
                <c:pt idx="142">
                  <c:v>40744</c:v>
                </c:pt>
                <c:pt idx="143">
                  <c:v>40745</c:v>
                </c:pt>
                <c:pt idx="144">
                  <c:v>40746</c:v>
                </c:pt>
                <c:pt idx="145">
                  <c:v>40749</c:v>
                </c:pt>
                <c:pt idx="146">
                  <c:v>40750</c:v>
                </c:pt>
                <c:pt idx="147">
                  <c:v>40751</c:v>
                </c:pt>
                <c:pt idx="148">
                  <c:v>40752</c:v>
                </c:pt>
                <c:pt idx="149">
                  <c:v>40753</c:v>
                </c:pt>
                <c:pt idx="150">
                  <c:v>40756</c:v>
                </c:pt>
                <c:pt idx="151">
                  <c:v>40757</c:v>
                </c:pt>
                <c:pt idx="152">
                  <c:v>40758</c:v>
                </c:pt>
                <c:pt idx="153">
                  <c:v>40759</c:v>
                </c:pt>
                <c:pt idx="154">
                  <c:v>40760</c:v>
                </c:pt>
                <c:pt idx="155">
                  <c:v>40763</c:v>
                </c:pt>
                <c:pt idx="156">
                  <c:v>40764</c:v>
                </c:pt>
                <c:pt idx="157">
                  <c:v>40765</c:v>
                </c:pt>
                <c:pt idx="158">
                  <c:v>40766</c:v>
                </c:pt>
                <c:pt idx="159">
                  <c:v>40767</c:v>
                </c:pt>
                <c:pt idx="160">
                  <c:v>40770</c:v>
                </c:pt>
                <c:pt idx="161">
                  <c:v>40771</c:v>
                </c:pt>
                <c:pt idx="162">
                  <c:v>40772</c:v>
                </c:pt>
                <c:pt idx="163">
                  <c:v>40773</c:v>
                </c:pt>
                <c:pt idx="164">
                  <c:v>40774</c:v>
                </c:pt>
                <c:pt idx="165">
                  <c:v>40777</c:v>
                </c:pt>
                <c:pt idx="166">
                  <c:v>40778</c:v>
                </c:pt>
                <c:pt idx="167">
                  <c:v>40779</c:v>
                </c:pt>
                <c:pt idx="168">
                  <c:v>40780</c:v>
                </c:pt>
                <c:pt idx="169">
                  <c:v>40781</c:v>
                </c:pt>
                <c:pt idx="170">
                  <c:v>40784</c:v>
                </c:pt>
                <c:pt idx="171">
                  <c:v>40785</c:v>
                </c:pt>
                <c:pt idx="172">
                  <c:v>40786</c:v>
                </c:pt>
                <c:pt idx="173">
                  <c:v>40787</c:v>
                </c:pt>
                <c:pt idx="174">
                  <c:v>40788</c:v>
                </c:pt>
                <c:pt idx="175">
                  <c:v>40791</c:v>
                </c:pt>
                <c:pt idx="176">
                  <c:v>40792</c:v>
                </c:pt>
                <c:pt idx="177">
                  <c:v>40793</c:v>
                </c:pt>
                <c:pt idx="178">
                  <c:v>40794</c:v>
                </c:pt>
                <c:pt idx="179">
                  <c:v>40795</c:v>
                </c:pt>
                <c:pt idx="180">
                  <c:v>40798</c:v>
                </c:pt>
                <c:pt idx="181">
                  <c:v>40799</c:v>
                </c:pt>
                <c:pt idx="182">
                  <c:v>40800</c:v>
                </c:pt>
                <c:pt idx="183">
                  <c:v>40801</c:v>
                </c:pt>
                <c:pt idx="184">
                  <c:v>40802</c:v>
                </c:pt>
                <c:pt idx="185">
                  <c:v>40805</c:v>
                </c:pt>
                <c:pt idx="186">
                  <c:v>40806</c:v>
                </c:pt>
                <c:pt idx="187">
                  <c:v>40807</c:v>
                </c:pt>
                <c:pt idx="188">
                  <c:v>40808</c:v>
                </c:pt>
                <c:pt idx="189">
                  <c:v>40809</c:v>
                </c:pt>
              </c:numCache>
            </c:numRef>
          </c:cat>
          <c:val>
            <c:numRef>
              <c:f>'FX emerg'!$AN$787:$AN$976</c:f>
              <c:numCache>
                <c:formatCode>General</c:formatCode>
                <c:ptCount val="190"/>
                <c:pt idx="0">
                  <c:v>44.715000000000003</c:v>
                </c:pt>
                <c:pt idx="1">
                  <c:v>44.984999999999999</c:v>
                </c:pt>
                <c:pt idx="2">
                  <c:v>45.33</c:v>
                </c:pt>
                <c:pt idx="3">
                  <c:v>45.252500000000012</c:v>
                </c:pt>
                <c:pt idx="4">
                  <c:v>45.384999999999998</c:v>
                </c:pt>
                <c:pt idx="5">
                  <c:v>45.445600000000006</c:v>
                </c:pt>
                <c:pt idx="6">
                  <c:v>45.165000000000013</c:v>
                </c:pt>
                <c:pt idx="7">
                  <c:v>45.135000000000012</c:v>
                </c:pt>
                <c:pt idx="8">
                  <c:v>45.240600000000001</c:v>
                </c:pt>
                <c:pt idx="9">
                  <c:v>45.365000000000002</c:v>
                </c:pt>
                <c:pt idx="10">
                  <c:v>45.518800000000006</c:v>
                </c:pt>
                <c:pt idx="11">
                  <c:v>45.427500000000002</c:v>
                </c:pt>
                <c:pt idx="12">
                  <c:v>45.46</c:v>
                </c:pt>
                <c:pt idx="13">
                  <c:v>45.535000000000011</c:v>
                </c:pt>
                <c:pt idx="14">
                  <c:v>45.620000000000012</c:v>
                </c:pt>
                <c:pt idx="15">
                  <c:v>45.678800000000003</c:v>
                </c:pt>
                <c:pt idx="16">
                  <c:v>45.706300000000013</c:v>
                </c:pt>
                <c:pt idx="17">
                  <c:v>45.706300000000013</c:v>
                </c:pt>
                <c:pt idx="18">
                  <c:v>45.565000000000012</c:v>
                </c:pt>
                <c:pt idx="19">
                  <c:v>45.756300000000003</c:v>
                </c:pt>
                <c:pt idx="20">
                  <c:v>45.905000000000001</c:v>
                </c:pt>
                <c:pt idx="21">
                  <c:v>45.766300000000079</c:v>
                </c:pt>
                <c:pt idx="22">
                  <c:v>45.627500000000012</c:v>
                </c:pt>
                <c:pt idx="23">
                  <c:v>45.615000000000002</c:v>
                </c:pt>
                <c:pt idx="24">
                  <c:v>45.6</c:v>
                </c:pt>
                <c:pt idx="25">
                  <c:v>45.486400000000003</c:v>
                </c:pt>
                <c:pt idx="26">
                  <c:v>45.305</c:v>
                </c:pt>
                <c:pt idx="27">
                  <c:v>45.484999999999999</c:v>
                </c:pt>
                <c:pt idx="28">
                  <c:v>45.73250000000008</c:v>
                </c:pt>
                <c:pt idx="29">
                  <c:v>45.685000000000002</c:v>
                </c:pt>
                <c:pt idx="30">
                  <c:v>45.505000000000003</c:v>
                </c:pt>
                <c:pt idx="31">
                  <c:v>45.515000000000001</c:v>
                </c:pt>
                <c:pt idx="32">
                  <c:v>45.515000000000001</c:v>
                </c:pt>
                <c:pt idx="33">
                  <c:v>45.347499999999997</c:v>
                </c:pt>
                <c:pt idx="34">
                  <c:v>45.21</c:v>
                </c:pt>
                <c:pt idx="35">
                  <c:v>44.992500000000071</c:v>
                </c:pt>
                <c:pt idx="36">
                  <c:v>45.265000000000072</c:v>
                </c:pt>
                <c:pt idx="37">
                  <c:v>45.133800000000001</c:v>
                </c:pt>
                <c:pt idx="38">
                  <c:v>45.475000000000001</c:v>
                </c:pt>
                <c:pt idx="39">
                  <c:v>45.325000000000003</c:v>
                </c:pt>
                <c:pt idx="40">
                  <c:v>45.270800000000001</c:v>
                </c:pt>
                <c:pt idx="41">
                  <c:v>44.957499999999996</c:v>
                </c:pt>
                <c:pt idx="42">
                  <c:v>44.957499999999996</c:v>
                </c:pt>
                <c:pt idx="43">
                  <c:v>45.045000000000002</c:v>
                </c:pt>
                <c:pt idx="44">
                  <c:v>44.987499999999997</c:v>
                </c:pt>
                <c:pt idx="45">
                  <c:v>45.052500000000002</c:v>
                </c:pt>
                <c:pt idx="46">
                  <c:v>45.087499999999999</c:v>
                </c:pt>
                <c:pt idx="47">
                  <c:v>45.005000000000003</c:v>
                </c:pt>
                <c:pt idx="48">
                  <c:v>45.185000000000002</c:v>
                </c:pt>
                <c:pt idx="49">
                  <c:v>45.242500000000071</c:v>
                </c:pt>
                <c:pt idx="50">
                  <c:v>45.066300000000012</c:v>
                </c:pt>
                <c:pt idx="51">
                  <c:v>45.245600000000003</c:v>
                </c:pt>
                <c:pt idx="52">
                  <c:v>45.1175</c:v>
                </c:pt>
                <c:pt idx="53">
                  <c:v>45.185000000000002</c:v>
                </c:pt>
                <c:pt idx="54">
                  <c:v>45.125600000000013</c:v>
                </c:pt>
                <c:pt idx="55">
                  <c:v>45.013800000000003</c:v>
                </c:pt>
                <c:pt idx="56">
                  <c:v>44.963800000000006</c:v>
                </c:pt>
                <c:pt idx="57">
                  <c:v>44.852499999999999</c:v>
                </c:pt>
                <c:pt idx="58">
                  <c:v>44.756300000000003</c:v>
                </c:pt>
                <c:pt idx="59">
                  <c:v>44.675000000000011</c:v>
                </c:pt>
                <c:pt idx="60">
                  <c:v>44.837499999999999</c:v>
                </c:pt>
                <c:pt idx="61">
                  <c:v>44.782500000000013</c:v>
                </c:pt>
                <c:pt idx="62">
                  <c:v>44.755000000000003</c:v>
                </c:pt>
                <c:pt idx="63">
                  <c:v>44.585000000000001</c:v>
                </c:pt>
                <c:pt idx="64">
                  <c:v>44.585000000000001</c:v>
                </c:pt>
                <c:pt idx="65">
                  <c:v>44.585000000000001</c:v>
                </c:pt>
                <c:pt idx="66">
                  <c:v>44.4163</c:v>
                </c:pt>
                <c:pt idx="67">
                  <c:v>44.17</c:v>
                </c:pt>
                <c:pt idx="68">
                  <c:v>44.205000000000013</c:v>
                </c:pt>
                <c:pt idx="69">
                  <c:v>44.076900000000002</c:v>
                </c:pt>
                <c:pt idx="70">
                  <c:v>44.395000000000003</c:v>
                </c:pt>
                <c:pt idx="71">
                  <c:v>44.395000000000003</c:v>
                </c:pt>
                <c:pt idx="72">
                  <c:v>44.505000000000003</c:v>
                </c:pt>
                <c:pt idx="73">
                  <c:v>44.505000000000003</c:v>
                </c:pt>
                <c:pt idx="74">
                  <c:v>44.335000000000001</c:v>
                </c:pt>
                <c:pt idx="75">
                  <c:v>44.457499999999996</c:v>
                </c:pt>
                <c:pt idx="76">
                  <c:v>44.484999999999999</c:v>
                </c:pt>
                <c:pt idx="77">
                  <c:v>44.327500000000001</c:v>
                </c:pt>
                <c:pt idx="78">
                  <c:v>44.3675</c:v>
                </c:pt>
                <c:pt idx="79">
                  <c:v>44.3675</c:v>
                </c:pt>
                <c:pt idx="80">
                  <c:v>44.49</c:v>
                </c:pt>
                <c:pt idx="81">
                  <c:v>44.52</c:v>
                </c:pt>
                <c:pt idx="82">
                  <c:v>44.435000000000002</c:v>
                </c:pt>
                <c:pt idx="83">
                  <c:v>44.4343</c:v>
                </c:pt>
                <c:pt idx="84">
                  <c:v>44.2194</c:v>
                </c:pt>
                <c:pt idx="85">
                  <c:v>44.335000000000001</c:v>
                </c:pt>
                <c:pt idx="86">
                  <c:v>44.515000000000001</c:v>
                </c:pt>
                <c:pt idx="87">
                  <c:v>44.467500000000001</c:v>
                </c:pt>
                <c:pt idx="88">
                  <c:v>44.762500000000095</c:v>
                </c:pt>
                <c:pt idx="89">
                  <c:v>44.79500000000008</c:v>
                </c:pt>
                <c:pt idx="90">
                  <c:v>44.715000000000003</c:v>
                </c:pt>
                <c:pt idx="91">
                  <c:v>44.7575</c:v>
                </c:pt>
                <c:pt idx="92">
                  <c:v>44.695000000000071</c:v>
                </c:pt>
                <c:pt idx="93">
                  <c:v>45</c:v>
                </c:pt>
                <c:pt idx="94">
                  <c:v>44.865000000000002</c:v>
                </c:pt>
                <c:pt idx="95">
                  <c:v>45.158800000000006</c:v>
                </c:pt>
                <c:pt idx="96">
                  <c:v>45.158800000000006</c:v>
                </c:pt>
                <c:pt idx="97">
                  <c:v>45.057499999999997</c:v>
                </c:pt>
                <c:pt idx="98">
                  <c:v>44.976300000000002</c:v>
                </c:pt>
                <c:pt idx="99">
                  <c:v>45.016300000000001</c:v>
                </c:pt>
                <c:pt idx="100">
                  <c:v>45.235000000000063</c:v>
                </c:pt>
                <c:pt idx="101">
                  <c:v>45.208800000000011</c:v>
                </c:pt>
                <c:pt idx="102">
                  <c:v>45.332500000000003</c:v>
                </c:pt>
                <c:pt idx="103">
                  <c:v>45.308100000000003</c:v>
                </c:pt>
                <c:pt idx="104">
                  <c:v>45.167500000000011</c:v>
                </c:pt>
                <c:pt idx="105">
                  <c:v>45.079500000000003</c:v>
                </c:pt>
                <c:pt idx="106">
                  <c:v>45.06</c:v>
                </c:pt>
                <c:pt idx="107">
                  <c:v>44.8431</c:v>
                </c:pt>
                <c:pt idx="108">
                  <c:v>44.8294</c:v>
                </c:pt>
                <c:pt idx="109">
                  <c:v>44.818800000000003</c:v>
                </c:pt>
                <c:pt idx="110">
                  <c:v>44.762500000000095</c:v>
                </c:pt>
                <c:pt idx="111">
                  <c:v>44.676300000000012</c:v>
                </c:pt>
                <c:pt idx="112">
                  <c:v>44.702500000000072</c:v>
                </c:pt>
                <c:pt idx="113">
                  <c:v>44.735000000000063</c:v>
                </c:pt>
                <c:pt idx="114">
                  <c:v>44.721400000000003</c:v>
                </c:pt>
                <c:pt idx="115">
                  <c:v>44.858800000000002</c:v>
                </c:pt>
                <c:pt idx="116">
                  <c:v>44.741200000000006</c:v>
                </c:pt>
                <c:pt idx="117">
                  <c:v>44.772500000000072</c:v>
                </c:pt>
                <c:pt idx="118">
                  <c:v>44.907499999999999</c:v>
                </c:pt>
                <c:pt idx="119">
                  <c:v>44.866200000000006</c:v>
                </c:pt>
                <c:pt idx="120">
                  <c:v>45.006300000000003</c:v>
                </c:pt>
                <c:pt idx="121">
                  <c:v>44.844999999999999</c:v>
                </c:pt>
                <c:pt idx="122">
                  <c:v>44.895000000000003</c:v>
                </c:pt>
                <c:pt idx="123">
                  <c:v>44.954999999999998</c:v>
                </c:pt>
                <c:pt idx="124">
                  <c:v>44.995000000000012</c:v>
                </c:pt>
                <c:pt idx="125">
                  <c:v>45.035000000000011</c:v>
                </c:pt>
                <c:pt idx="126">
                  <c:v>45.04</c:v>
                </c:pt>
                <c:pt idx="127">
                  <c:v>44.866300000000003</c:v>
                </c:pt>
                <c:pt idx="128">
                  <c:v>44.698100000000096</c:v>
                </c:pt>
                <c:pt idx="129">
                  <c:v>44.582500000000003</c:v>
                </c:pt>
                <c:pt idx="130">
                  <c:v>44.425000000000011</c:v>
                </c:pt>
                <c:pt idx="131">
                  <c:v>44.4375</c:v>
                </c:pt>
                <c:pt idx="132">
                  <c:v>44.489800000000002</c:v>
                </c:pt>
                <c:pt idx="133">
                  <c:v>44.422500000000063</c:v>
                </c:pt>
                <c:pt idx="134">
                  <c:v>44.327500000000001</c:v>
                </c:pt>
                <c:pt idx="135">
                  <c:v>44.484999999999999</c:v>
                </c:pt>
                <c:pt idx="136">
                  <c:v>44.711300000000001</c:v>
                </c:pt>
                <c:pt idx="137">
                  <c:v>44.525000000000013</c:v>
                </c:pt>
                <c:pt idx="138">
                  <c:v>44.495600000000003</c:v>
                </c:pt>
                <c:pt idx="139">
                  <c:v>44.517499999999998</c:v>
                </c:pt>
                <c:pt idx="140">
                  <c:v>44.575000000000003</c:v>
                </c:pt>
                <c:pt idx="141">
                  <c:v>44.5</c:v>
                </c:pt>
                <c:pt idx="142">
                  <c:v>44.456299999999999</c:v>
                </c:pt>
                <c:pt idx="143">
                  <c:v>44.51</c:v>
                </c:pt>
                <c:pt idx="144">
                  <c:v>44.354999999999997</c:v>
                </c:pt>
                <c:pt idx="145">
                  <c:v>44.400600000000004</c:v>
                </c:pt>
                <c:pt idx="146">
                  <c:v>44.185000000000002</c:v>
                </c:pt>
                <c:pt idx="147">
                  <c:v>44.085000000000001</c:v>
                </c:pt>
                <c:pt idx="148">
                  <c:v>44.0762</c:v>
                </c:pt>
                <c:pt idx="149">
                  <c:v>44.188100000000013</c:v>
                </c:pt>
                <c:pt idx="150">
                  <c:v>44.075600000000001</c:v>
                </c:pt>
                <c:pt idx="151">
                  <c:v>44.276200000000003</c:v>
                </c:pt>
                <c:pt idx="152">
                  <c:v>44.313699999999997</c:v>
                </c:pt>
                <c:pt idx="153">
                  <c:v>44.552500000000002</c:v>
                </c:pt>
                <c:pt idx="154">
                  <c:v>44.74</c:v>
                </c:pt>
                <c:pt idx="155">
                  <c:v>44.976900000000001</c:v>
                </c:pt>
                <c:pt idx="156">
                  <c:v>45.211200000000005</c:v>
                </c:pt>
                <c:pt idx="157">
                  <c:v>45.253700000000002</c:v>
                </c:pt>
                <c:pt idx="158">
                  <c:v>45.403700000000001</c:v>
                </c:pt>
                <c:pt idx="159">
                  <c:v>45.337499999999999</c:v>
                </c:pt>
                <c:pt idx="160">
                  <c:v>45.337499999999999</c:v>
                </c:pt>
                <c:pt idx="161">
                  <c:v>45.386899999999997</c:v>
                </c:pt>
                <c:pt idx="162">
                  <c:v>45.41</c:v>
                </c:pt>
                <c:pt idx="163">
                  <c:v>45.747500000000002</c:v>
                </c:pt>
                <c:pt idx="164">
                  <c:v>45.747500000000002</c:v>
                </c:pt>
                <c:pt idx="165">
                  <c:v>45.671200000000006</c:v>
                </c:pt>
                <c:pt idx="166">
                  <c:v>45.633700000000012</c:v>
                </c:pt>
                <c:pt idx="167">
                  <c:v>45.995000000000012</c:v>
                </c:pt>
                <c:pt idx="168">
                  <c:v>46.057499999999997</c:v>
                </c:pt>
                <c:pt idx="169">
                  <c:v>46.155000000000001</c:v>
                </c:pt>
                <c:pt idx="170">
                  <c:v>46.053699999999999</c:v>
                </c:pt>
                <c:pt idx="171">
                  <c:v>46.095000000000013</c:v>
                </c:pt>
                <c:pt idx="172">
                  <c:v>46.095000000000013</c:v>
                </c:pt>
                <c:pt idx="173">
                  <c:v>46.095000000000013</c:v>
                </c:pt>
                <c:pt idx="174">
                  <c:v>45.787500000000001</c:v>
                </c:pt>
                <c:pt idx="175">
                  <c:v>45.988700000000001</c:v>
                </c:pt>
                <c:pt idx="176">
                  <c:v>46.108100000000071</c:v>
                </c:pt>
                <c:pt idx="177">
                  <c:v>46.167500000000011</c:v>
                </c:pt>
                <c:pt idx="178">
                  <c:v>46.196200000000012</c:v>
                </c:pt>
                <c:pt idx="179">
                  <c:v>46.565000000000012</c:v>
                </c:pt>
                <c:pt idx="180">
                  <c:v>47.22500000000008</c:v>
                </c:pt>
                <c:pt idx="181">
                  <c:v>47.597500000000011</c:v>
                </c:pt>
                <c:pt idx="182">
                  <c:v>47.65</c:v>
                </c:pt>
                <c:pt idx="183">
                  <c:v>47.555</c:v>
                </c:pt>
                <c:pt idx="184">
                  <c:v>47.267500000000013</c:v>
                </c:pt>
                <c:pt idx="185">
                  <c:v>47.82</c:v>
                </c:pt>
                <c:pt idx="186">
                  <c:v>48.056200000000004</c:v>
                </c:pt>
                <c:pt idx="187">
                  <c:v>48.335000000000001</c:v>
                </c:pt>
                <c:pt idx="188">
                  <c:v>49.575000000000003</c:v>
                </c:pt>
                <c:pt idx="189">
                  <c:v>49.4337000000000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679040"/>
        <c:axId val="101205120"/>
      </c:lineChart>
      <c:dateAx>
        <c:axId val="100679040"/>
        <c:scaling>
          <c:orientation val="minMax"/>
        </c:scaling>
        <c:delete val="0"/>
        <c:axPos val="b"/>
        <c:numFmt formatCode="[$-415]mmm\ yy;@" sourceLinked="0"/>
        <c:majorTickMark val="out"/>
        <c:minorTickMark val="none"/>
        <c:tickLblPos val="nextTo"/>
        <c:spPr>
          <a:effectLst/>
        </c:spPr>
        <c:txPr>
          <a:bodyPr/>
          <a:lstStyle/>
          <a:p>
            <a:pPr rtl="0">
              <a:defRPr sz="1050" b="0" i="0" u="none" strike="noStrike" baseline="0"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1205120"/>
        <c:crosses val="autoZero"/>
        <c:auto val="1"/>
        <c:lblOffset val="100"/>
        <c:baseTimeUnit val="days"/>
        <c:majorUnit val="1"/>
        <c:majorTimeUnit val="months"/>
      </c:dateAx>
      <c:valAx>
        <c:axId val="101205120"/>
        <c:scaling>
          <c:orientation val="minMax"/>
          <c:max val="50"/>
          <c:min val="43"/>
        </c:scaling>
        <c:delete val="0"/>
        <c:axPos val="l"/>
        <c:majorGridlines>
          <c:spPr>
            <a:ln w="3175">
              <a:solidFill>
                <a:srgbClr val="C0C0C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effectLst/>
        </c:spPr>
        <c:txPr>
          <a:bodyPr/>
          <a:lstStyle/>
          <a:p>
            <a:pPr>
              <a:defRPr sz="1050" b="0" i="0" u="none" strike="noStrike" baseline="0">
                <a:solidFill>
                  <a:srgbClr val="000000"/>
                </a:solidFill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0679040"/>
        <c:crosses val="autoZero"/>
        <c:crossBetween val="between"/>
      </c:valAx>
      <c:spPr>
        <a:solidFill>
          <a:srgbClr val="FFFFFF"/>
        </a:solidFill>
        <a:ln w="25400">
          <a:noFill/>
        </a:ln>
      </c:spPr>
    </c:plotArea>
    <c:plotVisOnly val="1"/>
    <c:dispBlanksAs val="gap"/>
    <c:showDLblsOverMax val="0"/>
  </c:chart>
  <c:spPr>
    <a:ln w="25400">
      <a:noFill/>
    </a:ln>
  </c:spPr>
  <c:externalData r:id="rId1">
    <c:autoUpdate val="0"/>
  </c:externalData>
  <c:userShapes r:id="rId2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/>
            </a:pPr>
            <a:r>
              <a:rPr lang="en-US" sz="1200"/>
              <a:t>NBP base rate (%)</a:t>
            </a:r>
          </a:p>
        </c:rich>
      </c:tx>
      <c:layout>
        <c:manualLayout>
          <c:xMode val="edge"/>
          <c:yMode val="edge"/>
          <c:x val="0.36343044619422582"/>
          <c:y val="2.3148148148148147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1419072615923011E-2"/>
          <c:y val="0.10278944298629547"/>
          <c:w val="0.87802537182853224"/>
          <c:h val="0.74683617672790858"/>
        </c:manualLayout>
      </c:layout>
      <c:lineChart>
        <c:grouping val="standard"/>
        <c:varyColors val="0"/>
        <c:ser>
          <c:idx val="0"/>
          <c:order val="0"/>
          <c:spPr>
            <a:ln>
              <a:solidFill>
                <a:schemeClr val="accent1">
                  <a:lumMod val="75000"/>
                </a:schemeClr>
              </a:solidFill>
            </a:ln>
          </c:spPr>
          <c:marker>
            <c:symbol val="none"/>
          </c:marker>
          <c:dLbls>
            <c:dLbl>
              <c:idx val="4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stopy ref'!$A$219:$A$264</c:f>
              <c:numCache>
                <c:formatCode>dd/mm/yy</c:formatCode>
                <c:ptCount val="46"/>
                <c:pt idx="0">
                  <c:v>39478</c:v>
                </c:pt>
                <c:pt idx="1">
                  <c:v>39507</c:v>
                </c:pt>
                <c:pt idx="2">
                  <c:v>39538</c:v>
                </c:pt>
                <c:pt idx="3">
                  <c:v>39568</c:v>
                </c:pt>
                <c:pt idx="4">
                  <c:v>39598</c:v>
                </c:pt>
                <c:pt idx="5">
                  <c:v>39629</c:v>
                </c:pt>
                <c:pt idx="6">
                  <c:v>39660</c:v>
                </c:pt>
                <c:pt idx="7">
                  <c:v>39689</c:v>
                </c:pt>
                <c:pt idx="8">
                  <c:v>39721</c:v>
                </c:pt>
                <c:pt idx="9">
                  <c:v>39752</c:v>
                </c:pt>
                <c:pt idx="10">
                  <c:v>39780</c:v>
                </c:pt>
                <c:pt idx="11">
                  <c:v>39813</c:v>
                </c:pt>
                <c:pt idx="12">
                  <c:v>39843</c:v>
                </c:pt>
                <c:pt idx="13">
                  <c:v>39871</c:v>
                </c:pt>
                <c:pt idx="14">
                  <c:v>39903</c:v>
                </c:pt>
                <c:pt idx="15">
                  <c:v>39933</c:v>
                </c:pt>
                <c:pt idx="16">
                  <c:v>39962</c:v>
                </c:pt>
                <c:pt idx="17">
                  <c:v>39994</c:v>
                </c:pt>
                <c:pt idx="18">
                  <c:v>40025</c:v>
                </c:pt>
                <c:pt idx="19">
                  <c:v>40056</c:v>
                </c:pt>
                <c:pt idx="20">
                  <c:v>40086</c:v>
                </c:pt>
                <c:pt idx="21">
                  <c:v>40116</c:v>
                </c:pt>
                <c:pt idx="22">
                  <c:v>40147</c:v>
                </c:pt>
                <c:pt idx="23">
                  <c:v>40178</c:v>
                </c:pt>
                <c:pt idx="24">
                  <c:v>40207</c:v>
                </c:pt>
                <c:pt idx="25">
                  <c:v>40235</c:v>
                </c:pt>
                <c:pt idx="26">
                  <c:v>40268</c:v>
                </c:pt>
                <c:pt idx="27">
                  <c:v>40298</c:v>
                </c:pt>
                <c:pt idx="28">
                  <c:v>40329</c:v>
                </c:pt>
                <c:pt idx="29">
                  <c:v>40359</c:v>
                </c:pt>
                <c:pt idx="30">
                  <c:v>40389</c:v>
                </c:pt>
                <c:pt idx="31">
                  <c:v>40421</c:v>
                </c:pt>
                <c:pt idx="32">
                  <c:v>40451</c:v>
                </c:pt>
                <c:pt idx="33">
                  <c:v>40480</c:v>
                </c:pt>
                <c:pt idx="34">
                  <c:v>40512</c:v>
                </c:pt>
                <c:pt idx="35">
                  <c:v>40543</c:v>
                </c:pt>
                <c:pt idx="36">
                  <c:v>40574</c:v>
                </c:pt>
                <c:pt idx="37">
                  <c:v>40602</c:v>
                </c:pt>
                <c:pt idx="38">
                  <c:v>40633</c:v>
                </c:pt>
                <c:pt idx="39">
                  <c:v>40662</c:v>
                </c:pt>
                <c:pt idx="40">
                  <c:v>40694</c:v>
                </c:pt>
                <c:pt idx="41">
                  <c:v>40724</c:v>
                </c:pt>
                <c:pt idx="42">
                  <c:v>40753</c:v>
                </c:pt>
                <c:pt idx="43">
                  <c:v>40786</c:v>
                </c:pt>
              </c:numCache>
            </c:numRef>
          </c:cat>
          <c:val>
            <c:numRef>
              <c:f>'stopy ref'!$B$219:$B$264</c:f>
              <c:numCache>
                <c:formatCode>General</c:formatCode>
                <c:ptCount val="46"/>
                <c:pt idx="0">
                  <c:v>5.25</c:v>
                </c:pt>
                <c:pt idx="1">
                  <c:v>5.5</c:v>
                </c:pt>
                <c:pt idx="2">
                  <c:v>5.75</c:v>
                </c:pt>
                <c:pt idx="3">
                  <c:v>5.75</c:v>
                </c:pt>
                <c:pt idx="4">
                  <c:v>5.75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5.75</c:v>
                </c:pt>
                <c:pt idx="11">
                  <c:v>5</c:v>
                </c:pt>
                <c:pt idx="12">
                  <c:v>4.25</c:v>
                </c:pt>
                <c:pt idx="13">
                  <c:v>4</c:v>
                </c:pt>
                <c:pt idx="14">
                  <c:v>3.75</c:v>
                </c:pt>
                <c:pt idx="15">
                  <c:v>3.75</c:v>
                </c:pt>
                <c:pt idx="16">
                  <c:v>3.75</c:v>
                </c:pt>
                <c:pt idx="17">
                  <c:v>3.5</c:v>
                </c:pt>
                <c:pt idx="18">
                  <c:v>3.5</c:v>
                </c:pt>
                <c:pt idx="19">
                  <c:v>3.5</c:v>
                </c:pt>
                <c:pt idx="20">
                  <c:v>3.5</c:v>
                </c:pt>
                <c:pt idx="21">
                  <c:v>3.5</c:v>
                </c:pt>
                <c:pt idx="22">
                  <c:v>3.5</c:v>
                </c:pt>
                <c:pt idx="23">
                  <c:v>3.5</c:v>
                </c:pt>
                <c:pt idx="24">
                  <c:v>3.5</c:v>
                </c:pt>
                <c:pt idx="25">
                  <c:v>3.5</c:v>
                </c:pt>
                <c:pt idx="26">
                  <c:v>3.5</c:v>
                </c:pt>
                <c:pt idx="27">
                  <c:v>3.5</c:v>
                </c:pt>
                <c:pt idx="28">
                  <c:v>3.5</c:v>
                </c:pt>
                <c:pt idx="29">
                  <c:v>3.5</c:v>
                </c:pt>
                <c:pt idx="30">
                  <c:v>3.5</c:v>
                </c:pt>
                <c:pt idx="31">
                  <c:v>3.5</c:v>
                </c:pt>
                <c:pt idx="32">
                  <c:v>3.5</c:v>
                </c:pt>
                <c:pt idx="33">
                  <c:v>3.5</c:v>
                </c:pt>
                <c:pt idx="34">
                  <c:v>3.5</c:v>
                </c:pt>
                <c:pt idx="35">
                  <c:v>3.5</c:v>
                </c:pt>
                <c:pt idx="36">
                  <c:v>3.75</c:v>
                </c:pt>
                <c:pt idx="37">
                  <c:v>3.75</c:v>
                </c:pt>
                <c:pt idx="38">
                  <c:v>3.75</c:v>
                </c:pt>
                <c:pt idx="39">
                  <c:v>4</c:v>
                </c:pt>
                <c:pt idx="40">
                  <c:v>4.25</c:v>
                </c:pt>
                <c:pt idx="41">
                  <c:v>4.5</c:v>
                </c:pt>
                <c:pt idx="42">
                  <c:v>4.5</c:v>
                </c:pt>
                <c:pt idx="43">
                  <c:v>4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231616"/>
        <c:axId val="101786368"/>
      </c:lineChart>
      <c:dateAx>
        <c:axId val="101231616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pl-PL"/>
          </a:p>
        </c:txPr>
        <c:crossAx val="101786368"/>
        <c:crosses val="autoZero"/>
        <c:auto val="1"/>
        <c:lblOffset val="100"/>
        <c:baseTimeUnit val="months"/>
      </c:dateAx>
      <c:valAx>
        <c:axId val="101786368"/>
        <c:scaling>
          <c:orientation val="minMax"/>
          <c:max val="6.1"/>
          <c:min val="3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101231616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800">
          <a:latin typeface="Tahoma" pitchFamily="34" charset="0"/>
          <a:cs typeface="Tahoma" pitchFamily="34" charset="0"/>
        </a:defRPr>
      </a:pPr>
      <a:endParaRPr lang="pl-PL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/>
              <a:t>EURPLN</a:t>
            </a:r>
          </a:p>
        </c:rich>
      </c:tx>
      <c:layout>
        <c:manualLayout>
          <c:xMode val="edge"/>
          <c:yMode val="edge"/>
          <c:x val="0.41821700153932134"/>
          <c:y val="2.3938361922397487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9.3606517935258204E-2"/>
          <c:y val="7.5869874796634082E-2"/>
          <c:w val="0.87583792650920056"/>
          <c:h val="0.78846617759562909"/>
        </c:manualLayout>
      </c:layout>
      <c:lineChart>
        <c:grouping val="standard"/>
        <c:varyColors val="0"/>
        <c:ser>
          <c:idx val="0"/>
          <c:order val="0"/>
          <c:spPr>
            <a:ln w="25400">
              <a:solidFill>
                <a:srgbClr val="0096EF"/>
              </a:solidFill>
              <a:prstDash val="solid"/>
            </a:ln>
          </c:spPr>
          <c:marker>
            <c:symbol val="none"/>
          </c:marker>
          <c:cat>
            <c:numRef>
              <c:f>Daily!$E$2612:$E$3200</c:f>
              <c:numCache>
                <c:formatCode>dd/mm/yy</c:formatCode>
                <c:ptCount val="589"/>
                <c:pt idx="0">
                  <c:v>40179</c:v>
                </c:pt>
                <c:pt idx="1">
                  <c:v>40182</c:v>
                </c:pt>
                <c:pt idx="2">
                  <c:v>40183</c:v>
                </c:pt>
                <c:pt idx="3">
                  <c:v>40184</c:v>
                </c:pt>
                <c:pt idx="4">
                  <c:v>40185</c:v>
                </c:pt>
                <c:pt idx="5">
                  <c:v>40186</c:v>
                </c:pt>
                <c:pt idx="6">
                  <c:v>40189</c:v>
                </c:pt>
                <c:pt idx="7">
                  <c:v>40190</c:v>
                </c:pt>
                <c:pt idx="8">
                  <c:v>40191</c:v>
                </c:pt>
                <c:pt idx="9">
                  <c:v>40192</c:v>
                </c:pt>
                <c:pt idx="10">
                  <c:v>40193</c:v>
                </c:pt>
                <c:pt idx="11">
                  <c:v>40196</c:v>
                </c:pt>
                <c:pt idx="12">
                  <c:v>40197</c:v>
                </c:pt>
                <c:pt idx="13">
                  <c:v>40198</c:v>
                </c:pt>
                <c:pt idx="14">
                  <c:v>40199</c:v>
                </c:pt>
                <c:pt idx="15">
                  <c:v>40200</c:v>
                </c:pt>
                <c:pt idx="16">
                  <c:v>40203</c:v>
                </c:pt>
                <c:pt idx="17">
                  <c:v>40204</c:v>
                </c:pt>
                <c:pt idx="18">
                  <c:v>40205</c:v>
                </c:pt>
                <c:pt idx="19">
                  <c:v>40206</c:v>
                </c:pt>
                <c:pt idx="20">
                  <c:v>40207</c:v>
                </c:pt>
                <c:pt idx="21">
                  <c:v>40210</c:v>
                </c:pt>
                <c:pt idx="22">
                  <c:v>40211</c:v>
                </c:pt>
                <c:pt idx="23">
                  <c:v>40212</c:v>
                </c:pt>
                <c:pt idx="24">
                  <c:v>40213</c:v>
                </c:pt>
                <c:pt idx="25">
                  <c:v>40214</c:v>
                </c:pt>
                <c:pt idx="26">
                  <c:v>40217</c:v>
                </c:pt>
                <c:pt idx="27">
                  <c:v>40218</c:v>
                </c:pt>
                <c:pt idx="28">
                  <c:v>40219</c:v>
                </c:pt>
                <c:pt idx="29">
                  <c:v>40220</c:v>
                </c:pt>
                <c:pt idx="30">
                  <c:v>40221</c:v>
                </c:pt>
                <c:pt idx="31">
                  <c:v>40224</c:v>
                </c:pt>
                <c:pt idx="32">
                  <c:v>40225</c:v>
                </c:pt>
                <c:pt idx="33">
                  <c:v>40226</c:v>
                </c:pt>
                <c:pt idx="34">
                  <c:v>40227</c:v>
                </c:pt>
                <c:pt idx="35">
                  <c:v>40228</c:v>
                </c:pt>
                <c:pt idx="36">
                  <c:v>40231</c:v>
                </c:pt>
                <c:pt idx="37">
                  <c:v>40232</c:v>
                </c:pt>
                <c:pt idx="38">
                  <c:v>40233</c:v>
                </c:pt>
                <c:pt idx="39">
                  <c:v>40234</c:v>
                </c:pt>
                <c:pt idx="40">
                  <c:v>40235</c:v>
                </c:pt>
                <c:pt idx="41">
                  <c:v>40238</c:v>
                </c:pt>
                <c:pt idx="42">
                  <c:v>40239</c:v>
                </c:pt>
                <c:pt idx="43">
                  <c:v>40240</c:v>
                </c:pt>
                <c:pt idx="44">
                  <c:v>40241</c:v>
                </c:pt>
                <c:pt idx="45">
                  <c:v>40242</c:v>
                </c:pt>
                <c:pt idx="46">
                  <c:v>40245</c:v>
                </c:pt>
                <c:pt idx="47">
                  <c:v>40246</c:v>
                </c:pt>
                <c:pt idx="48">
                  <c:v>40247</c:v>
                </c:pt>
                <c:pt idx="49">
                  <c:v>40248</c:v>
                </c:pt>
                <c:pt idx="50">
                  <c:v>40249</c:v>
                </c:pt>
                <c:pt idx="51">
                  <c:v>40252</c:v>
                </c:pt>
                <c:pt idx="52">
                  <c:v>40253</c:v>
                </c:pt>
                <c:pt idx="53">
                  <c:v>40254</c:v>
                </c:pt>
                <c:pt idx="54">
                  <c:v>40255</c:v>
                </c:pt>
                <c:pt idx="55">
                  <c:v>40256</c:v>
                </c:pt>
                <c:pt idx="56">
                  <c:v>40259</c:v>
                </c:pt>
                <c:pt idx="57">
                  <c:v>40260</c:v>
                </c:pt>
                <c:pt idx="58">
                  <c:v>40261</c:v>
                </c:pt>
                <c:pt idx="59">
                  <c:v>40262</c:v>
                </c:pt>
                <c:pt idx="60">
                  <c:v>40263</c:v>
                </c:pt>
                <c:pt idx="61">
                  <c:v>40266</c:v>
                </c:pt>
                <c:pt idx="62">
                  <c:v>40267</c:v>
                </c:pt>
                <c:pt idx="63">
                  <c:v>40268</c:v>
                </c:pt>
                <c:pt idx="64">
                  <c:v>40269</c:v>
                </c:pt>
                <c:pt idx="65">
                  <c:v>40270</c:v>
                </c:pt>
                <c:pt idx="66">
                  <c:v>40273</c:v>
                </c:pt>
                <c:pt idx="67">
                  <c:v>40274</c:v>
                </c:pt>
                <c:pt idx="68">
                  <c:v>40275</c:v>
                </c:pt>
                <c:pt idx="69">
                  <c:v>40276</c:v>
                </c:pt>
                <c:pt idx="70">
                  <c:v>40277</c:v>
                </c:pt>
                <c:pt idx="71">
                  <c:v>40280</c:v>
                </c:pt>
                <c:pt idx="72">
                  <c:v>40281</c:v>
                </c:pt>
                <c:pt idx="73">
                  <c:v>40282</c:v>
                </c:pt>
                <c:pt idx="74">
                  <c:v>40283</c:v>
                </c:pt>
                <c:pt idx="75">
                  <c:v>40284</c:v>
                </c:pt>
                <c:pt idx="76">
                  <c:v>40287</c:v>
                </c:pt>
                <c:pt idx="77">
                  <c:v>40288</c:v>
                </c:pt>
                <c:pt idx="78">
                  <c:v>40289</c:v>
                </c:pt>
                <c:pt idx="79">
                  <c:v>40290</c:v>
                </c:pt>
                <c:pt idx="80">
                  <c:v>40291</c:v>
                </c:pt>
                <c:pt idx="81">
                  <c:v>40294</c:v>
                </c:pt>
                <c:pt idx="82">
                  <c:v>40295</c:v>
                </c:pt>
                <c:pt idx="83">
                  <c:v>40296</c:v>
                </c:pt>
                <c:pt idx="84">
                  <c:v>40297</c:v>
                </c:pt>
                <c:pt idx="85">
                  <c:v>40298</c:v>
                </c:pt>
                <c:pt idx="86">
                  <c:v>40301</c:v>
                </c:pt>
                <c:pt idx="87">
                  <c:v>40302</c:v>
                </c:pt>
                <c:pt idx="88">
                  <c:v>40303</c:v>
                </c:pt>
                <c:pt idx="89">
                  <c:v>40304</c:v>
                </c:pt>
                <c:pt idx="90">
                  <c:v>40305</c:v>
                </c:pt>
                <c:pt idx="91">
                  <c:v>40308</c:v>
                </c:pt>
                <c:pt idx="92">
                  <c:v>40309</c:v>
                </c:pt>
                <c:pt idx="93">
                  <c:v>40310</c:v>
                </c:pt>
                <c:pt idx="94">
                  <c:v>40311</c:v>
                </c:pt>
                <c:pt idx="95">
                  <c:v>40312</c:v>
                </c:pt>
                <c:pt idx="96">
                  <c:v>40315</c:v>
                </c:pt>
                <c:pt idx="97">
                  <c:v>40316</c:v>
                </c:pt>
                <c:pt idx="98">
                  <c:v>40317</c:v>
                </c:pt>
                <c:pt idx="99">
                  <c:v>40318</c:v>
                </c:pt>
                <c:pt idx="100">
                  <c:v>40319</c:v>
                </c:pt>
                <c:pt idx="101">
                  <c:v>40322</c:v>
                </c:pt>
                <c:pt idx="102">
                  <c:v>40323</c:v>
                </c:pt>
                <c:pt idx="103">
                  <c:v>40324</c:v>
                </c:pt>
                <c:pt idx="104">
                  <c:v>40325</c:v>
                </c:pt>
                <c:pt idx="105">
                  <c:v>40326</c:v>
                </c:pt>
                <c:pt idx="106">
                  <c:v>40329</c:v>
                </c:pt>
                <c:pt idx="107">
                  <c:v>40330</c:v>
                </c:pt>
                <c:pt idx="108">
                  <c:v>40331</c:v>
                </c:pt>
                <c:pt idx="109">
                  <c:v>40332</c:v>
                </c:pt>
                <c:pt idx="110">
                  <c:v>40333</c:v>
                </c:pt>
                <c:pt idx="111">
                  <c:v>40336</c:v>
                </c:pt>
                <c:pt idx="112">
                  <c:v>40337</c:v>
                </c:pt>
                <c:pt idx="113">
                  <c:v>40338</c:v>
                </c:pt>
                <c:pt idx="114">
                  <c:v>40339</c:v>
                </c:pt>
                <c:pt idx="115">
                  <c:v>40340</c:v>
                </c:pt>
                <c:pt idx="116">
                  <c:v>40343</c:v>
                </c:pt>
                <c:pt idx="117">
                  <c:v>40344</c:v>
                </c:pt>
                <c:pt idx="118">
                  <c:v>40345</c:v>
                </c:pt>
                <c:pt idx="119">
                  <c:v>40346</c:v>
                </c:pt>
                <c:pt idx="120">
                  <c:v>40347</c:v>
                </c:pt>
                <c:pt idx="121">
                  <c:v>40350</c:v>
                </c:pt>
                <c:pt idx="122">
                  <c:v>40351</c:v>
                </c:pt>
                <c:pt idx="123">
                  <c:v>40352</c:v>
                </c:pt>
                <c:pt idx="124">
                  <c:v>40353</c:v>
                </c:pt>
                <c:pt idx="125">
                  <c:v>40354</c:v>
                </c:pt>
                <c:pt idx="126">
                  <c:v>40357</c:v>
                </c:pt>
                <c:pt idx="127">
                  <c:v>40358</c:v>
                </c:pt>
                <c:pt idx="128">
                  <c:v>40359</c:v>
                </c:pt>
                <c:pt idx="129">
                  <c:v>40360</c:v>
                </c:pt>
                <c:pt idx="130">
                  <c:v>40361</c:v>
                </c:pt>
                <c:pt idx="131">
                  <c:v>40364</c:v>
                </c:pt>
                <c:pt idx="132">
                  <c:v>40365</c:v>
                </c:pt>
                <c:pt idx="133">
                  <c:v>40366</c:v>
                </c:pt>
                <c:pt idx="134">
                  <c:v>40367</c:v>
                </c:pt>
                <c:pt idx="135">
                  <c:v>40368</c:v>
                </c:pt>
                <c:pt idx="136">
                  <c:v>40371</c:v>
                </c:pt>
                <c:pt idx="137">
                  <c:v>40372</c:v>
                </c:pt>
                <c:pt idx="138">
                  <c:v>40373</c:v>
                </c:pt>
                <c:pt idx="139">
                  <c:v>40374</c:v>
                </c:pt>
                <c:pt idx="140">
                  <c:v>40375</c:v>
                </c:pt>
                <c:pt idx="141">
                  <c:v>40378</c:v>
                </c:pt>
                <c:pt idx="142">
                  <c:v>40379</c:v>
                </c:pt>
                <c:pt idx="143">
                  <c:v>40380</c:v>
                </c:pt>
                <c:pt idx="144">
                  <c:v>40381</c:v>
                </c:pt>
                <c:pt idx="145">
                  <c:v>40382</c:v>
                </c:pt>
                <c:pt idx="146">
                  <c:v>40385</c:v>
                </c:pt>
                <c:pt idx="147">
                  <c:v>40386</c:v>
                </c:pt>
                <c:pt idx="148">
                  <c:v>40387</c:v>
                </c:pt>
                <c:pt idx="149">
                  <c:v>40388</c:v>
                </c:pt>
                <c:pt idx="150">
                  <c:v>40389</c:v>
                </c:pt>
                <c:pt idx="151">
                  <c:v>40392</c:v>
                </c:pt>
                <c:pt idx="152">
                  <c:v>40393</c:v>
                </c:pt>
                <c:pt idx="153">
                  <c:v>40394</c:v>
                </c:pt>
                <c:pt idx="154">
                  <c:v>40395</c:v>
                </c:pt>
                <c:pt idx="155">
                  <c:v>40396</c:v>
                </c:pt>
                <c:pt idx="156">
                  <c:v>40399</c:v>
                </c:pt>
                <c:pt idx="157">
                  <c:v>40400</c:v>
                </c:pt>
                <c:pt idx="158">
                  <c:v>40401</c:v>
                </c:pt>
                <c:pt idx="159">
                  <c:v>40402</c:v>
                </c:pt>
                <c:pt idx="160">
                  <c:v>40403</c:v>
                </c:pt>
                <c:pt idx="161">
                  <c:v>40406</c:v>
                </c:pt>
                <c:pt idx="162">
                  <c:v>40407</c:v>
                </c:pt>
                <c:pt idx="163">
                  <c:v>40408</c:v>
                </c:pt>
                <c:pt idx="164">
                  <c:v>40409</c:v>
                </c:pt>
                <c:pt idx="165">
                  <c:v>40410</c:v>
                </c:pt>
                <c:pt idx="166">
                  <c:v>40413</c:v>
                </c:pt>
                <c:pt idx="167">
                  <c:v>40414</c:v>
                </c:pt>
                <c:pt idx="168">
                  <c:v>40415</c:v>
                </c:pt>
                <c:pt idx="169">
                  <c:v>40416</c:v>
                </c:pt>
                <c:pt idx="170">
                  <c:v>40417</c:v>
                </c:pt>
                <c:pt idx="171">
                  <c:v>40420</c:v>
                </c:pt>
                <c:pt idx="172">
                  <c:v>40421</c:v>
                </c:pt>
                <c:pt idx="173">
                  <c:v>40422</c:v>
                </c:pt>
                <c:pt idx="174">
                  <c:v>40423</c:v>
                </c:pt>
                <c:pt idx="175">
                  <c:v>40424</c:v>
                </c:pt>
                <c:pt idx="176">
                  <c:v>40427</c:v>
                </c:pt>
                <c:pt idx="177">
                  <c:v>40428</c:v>
                </c:pt>
                <c:pt idx="178">
                  <c:v>40429</c:v>
                </c:pt>
                <c:pt idx="179">
                  <c:v>40430</c:v>
                </c:pt>
                <c:pt idx="180">
                  <c:v>40431</c:v>
                </c:pt>
                <c:pt idx="181">
                  <c:v>40434</c:v>
                </c:pt>
                <c:pt idx="182">
                  <c:v>40435</c:v>
                </c:pt>
                <c:pt idx="183">
                  <c:v>40436</c:v>
                </c:pt>
                <c:pt idx="184">
                  <c:v>40437</c:v>
                </c:pt>
                <c:pt idx="185">
                  <c:v>40438</c:v>
                </c:pt>
                <c:pt idx="186">
                  <c:v>40441</c:v>
                </c:pt>
                <c:pt idx="187">
                  <c:v>40442</c:v>
                </c:pt>
                <c:pt idx="188">
                  <c:v>40443</c:v>
                </c:pt>
                <c:pt idx="189">
                  <c:v>40444</c:v>
                </c:pt>
                <c:pt idx="190">
                  <c:v>40445</c:v>
                </c:pt>
                <c:pt idx="191">
                  <c:v>40448</c:v>
                </c:pt>
                <c:pt idx="192">
                  <c:v>40449</c:v>
                </c:pt>
                <c:pt idx="193">
                  <c:v>40450</c:v>
                </c:pt>
                <c:pt idx="194">
                  <c:v>40451</c:v>
                </c:pt>
                <c:pt idx="195">
                  <c:v>40452</c:v>
                </c:pt>
                <c:pt idx="196">
                  <c:v>40455</c:v>
                </c:pt>
                <c:pt idx="197">
                  <c:v>40456</c:v>
                </c:pt>
                <c:pt idx="198">
                  <c:v>40457</c:v>
                </c:pt>
                <c:pt idx="199">
                  <c:v>40458</c:v>
                </c:pt>
                <c:pt idx="200">
                  <c:v>40459</c:v>
                </c:pt>
                <c:pt idx="201">
                  <c:v>40462</c:v>
                </c:pt>
                <c:pt idx="202">
                  <c:v>40463</c:v>
                </c:pt>
                <c:pt idx="203">
                  <c:v>40464</c:v>
                </c:pt>
                <c:pt idx="204">
                  <c:v>40465</c:v>
                </c:pt>
                <c:pt idx="205">
                  <c:v>40466</c:v>
                </c:pt>
                <c:pt idx="206">
                  <c:v>40469</c:v>
                </c:pt>
                <c:pt idx="207">
                  <c:v>40470</c:v>
                </c:pt>
                <c:pt idx="208">
                  <c:v>40471</c:v>
                </c:pt>
                <c:pt idx="209">
                  <c:v>40472</c:v>
                </c:pt>
                <c:pt idx="210">
                  <c:v>40473</c:v>
                </c:pt>
                <c:pt idx="211">
                  <c:v>40476</c:v>
                </c:pt>
                <c:pt idx="212">
                  <c:v>40477</c:v>
                </c:pt>
                <c:pt idx="213">
                  <c:v>40478</c:v>
                </c:pt>
                <c:pt idx="214">
                  <c:v>40479</c:v>
                </c:pt>
                <c:pt idx="215">
                  <c:v>40480</c:v>
                </c:pt>
                <c:pt idx="216">
                  <c:v>40483</c:v>
                </c:pt>
                <c:pt idx="217">
                  <c:v>40484</c:v>
                </c:pt>
                <c:pt idx="218">
                  <c:v>40485</c:v>
                </c:pt>
                <c:pt idx="219">
                  <c:v>40486</c:v>
                </c:pt>
                <c:pt idx="220">
                  <c:v>40487</c:v>
                </c:pt>
                <c:pt idx="221">
                  <c:v>40490</c:v>
                </c:pt>
                <c:pt idx="222">
                  <c:v>40491</c:v>
                </c:pt>
                <c:pt idx="223">
                  <c:v>40492</c:v>
                </c:pt>
                <c:pt idx="224">
                  <c:v>40493</c:v>
                </c:pt>
                <c:pt idx="225">
                  <c:v>40494</c:v>
                </c:pt>
                <c:pt idx="226">
                  <c:v>40497</c:v>
                </c:pt>
                <c:pt idx="227">
                  <c:v>40498</c:v>
                </c:pt>
                <c:pt idx="228">
                  <c:v>40499</c:v>
                </c:pt>
                <c:pt idx="229">
                  <c:v>40500</c:v>
                </c:pt>
                <c:pt idx="230">
                  <c:v>40501</c:v>
                </c:pt>
                <c:pt idx="231">
                  <c:v>40504</c:v>
                </c:pt>
                <c:pt idx="232">
                  <c:v>40505</c:v>
                </c:pt>
                <c:pt idx="233">
                  <c:v>40506</c:v>
                </c:pt>
                <c:pt idx="234">
                  <c:v>40507</c:v>
                </c:pt>
                <c:pt idx="235">
                  <c:v>40508</c:v>
                </c:pt>
                <c:pt idx="236">
                  <c:v>40511</c:v>
                </c:pt>
                <c:pt idx="237">
                  <c:v>40512</c:v>
                </c:pt>
                <c:pt idx="238">
                  <c:v>40513</c:v>
                </c:pt>
                <c:pt idx="239">
                  <c:v>40514</c:v>
                </c:pt>
                <c:pt idx="240">
                  <c:v>40515</c:v>
                </c:pt>
                <c:pt idx="241">
                  <c:v>40518</c:v>
                </c:pt>
                <c:pt idx="242">
                  <c:v>40519</c:v>
                </c:pt>
                <c:pt idx="243">
                  <c:v>40520</c:v>
                </c:pt>
                <c:pt idx="244">
                  <c:v>40521</c:v>
                </c:pt>
                <c:pt idx="245">
                  <c:v>40522</c:v>
                </c:pt>
                <c:pt idx="246">
                  <c:v>40525</c:v>
                </c:pt>
                <c:pt idx="247">
                  <c:v>40526</c:v>
                </c:pt>
                <c:pt idx="248">
                  <c:v>40527</c:v>
                </c:pt>
                <c:pt idx="249">
                  <c:v>40528</c:v>
                </c:pt>
                <c:pt idx="250">
                  <c:v>40529</c:v>
                </c:pt>
                <c:pt idx="251">
                  <c:v>40532</c:v>
                </c:pt>
                <c:pt idx="252">
                  <c:v>40533</c:v>
                </c:pt>
                <c:pt idx="253">
                  <c:v>40534</c:v>
                </c:pt>
                <c:pt idx="254">
                  <c:v>40535</c:v>
                </c:pt>
                <c:pt idx="255">
                  <c:v>40536</c:v>
                </c:pt>
                <c:pt idx="256">
                  <c:v>40539</c:v>
                </c:pt>
                <c:pt idx="257">
                  <c:v>40540</c:v>
                </c:pt>
                <c:pt idx="258">
                  <c:v>40541</c:v>
                </c:pt>
                <c:pt idx="259">
                  <c:v>40542</c:v>
                </c:pt>
                <c:pt idx="260">
                  <c:v>40543</c:v>
                </c:pt>
                <c:pt idx="261">
                  <c:v>40546</c:v>
                </c:pt>
                <c:pt idx="262">
                  <c:v>40547</c:v>
                </c:pt>
                <c:pt idx="263">
                  <c:v>40548</c:v>
                </c:pt>
                <c:pt idx="264">
                  <c:v>40549</c:v>
                </c:pt>
                <c:pt idx="265">
                  <c:v>40550</c:v>
                </c:pt>
                <c:pt idx="266">
                  <c:v>40553</c:v>
                </c:pt>
                <c:pt idx="267">
                  <c:v>40554</c:v>
                </c:pt>
                <c:pt idx="268">
                  <c:v>40555</c:v>
                </c:pt>
                <c:pt idx="269">
                  <c:v>40556</c:v>
                </c:pt>
                <c:pt idx="270">
                  <c:v>40557</c:v>
                </c:pt>
                <c:pt idx="271">
                  <c:v>40560</c:v>
                </c:pt>
                <c:pt idx="272">
                  <c:v>40561</c:v>
                </c:pt>
                <c:pt idx="273">
                  <c:v>40562</c:v>
                </c:pt>
                <c:pt idx="274">
                  <c:v>40563</c:v>
                </c:pt>
                <c:pt idx="275">
                  <c:v>40564</c:v>
                </c:pt>
                <c:pt idx="276">
                  <c:v>40567</c:v>
                </c:pt>
                <c:pt idx="277">
                  <c:v>40568</c:v>
                </c:pt>
                <c:pt idx="278">
                  <c:v>40569</c:v>
                </c:pt>
                <c:pt idx="279">
                  <c:v>40570</c:v>
                </c:pt>
                <c:pt idx="280">
                  <c:v>40571</c:v>
                </c:pt>
                <c:pt idx="281">
                  <c:v>40574</c:v>
                </c:pt>
                <c:pt idx="282">
                  <c:v>40575</c:v>
                </c:pt>
                <c:pt idx="283">
                  <c:v>40576</c:v>
                </c:pt>
                <c:pt idx="284">
                  <c:v>40577</c:v>
                </c:pt>
                <c:pt idx="285">
                  <c:v>40578</c:v>
                </c:pt>
                <c:pt idx="286">
                  <c:v>40581</c:v>
                </c:pt>
                <c:pt idx="287">
                  <c:v>40582</c:v>
                </c:pt>
                <c:pt idx="288">
                  <c:v>40583</c:v>
                </c:pt>
                <c:pt idx="289">
                  <c:v>40584</c:v>
                </c:pt>
                <c:pt idx="290">
                  <c:v>40585</c:v>
                </c:pt>
                <c:pt idx="291">
                  <c:v>40588</c:v>
                </c:pt>
                <c:pt idx="292">
                  <c:v>40589</c:v>
                </c:pt>
                <c:pt idx="293">
                  <c:v>40590</c:v>
                </c:pt>
                <c:pt idx="294">
                  <c:v>40591</c:v>
                </c:pt>
                <c:pt idx="295">
                  <c:v>40592</c:v>
                </c:pt>
                <c:pt idx="296">
                  <c:v>40595</c:v>
                </c:pt>
                <c:pt idx="297">
                  <c:v>40596</c:v>
                </c:pt>
                <c:pt idx="298">
                  <c:v>40597</c:v>
                </c:pt>
                <c:pt idx="299">
                  <c:v>40598</c:v>
                </c:pt>
                <c:pt idx="300">
                  <c:v>40599</c:v>
                </c:pt>
                <c:pt idx="301">
                  <c:v>40602</c:v>
                </c:pt>
                <c:pt idx="302">
                  <c:v>40603</c:v>
                </c:pt>
                <c:pt idx="303">
                  <c:v>40604</c:v>
                </c:pt>
                <c:pt idx="304">
                  <c:v>40605</c:v>
                </c:pt>
                <c:pt idx="305">
                  <c:v>40606</c:v>
                </c:pt>
                <c:pt idx="306">
                  <c:v>40609</c:v>
                </c:pt>
                <c:pt idx="307">
                  <c:v>40610</c:v>
                </c:pt>
                <c:pt idx="308">
                  <c:v>40611</c:v>
                </c:pt>
                <c:pt idx="309">
                  <c:v>40612</c:v>
                </c:pt>
                <c:pt idx="310">
                  <c:v>40613</c:v>
                </c:pt>
                <c:pt idx="311">
                  <c:v>40616</c:v>
                </c:pt>
                <c:pt idx="312">
                  <c:v>40617</c:v>
                </c:pt>
                <c:pt idx="313">
                  <c:v>40618</c:v>
                </c:pt>
                <c:pt idx="314">
                  <c:v>40619</c:v>
                </c:pt>
                <c:pt idx="315">
                  <c:v>40620</c:v>
                </c:pt>
                <c:pt idx="316">
                  <c:v>40623</c:v>
                </c:pt>
                <c:pt idx="317">
                  <c:v>40624</c:v>
                </c:pt>
                <c:pt idx="318">
                  <c:v>40625</c:v>
                </c:pt>
                <c:pt idx="319">
                  <c:v>40626</c:v>
                </c:pt>
                <c:pt idx="320">
                  <c:v>40627</c:v>
                </c:pt>
                <c:pt idx="321">
                  <c:v>40630</c:v>
                </c:pt>
                <c:pt idx="322">
                  <c:v>40631</c:v>
                </c:pt>
                <c:pt idx="323">
                  <c:v>40632</c:v>
                </c:pt>
                <c:pt idx="324">
                  <c:v>40633</c:v>
                </c:pt>
                <c:pt idx="325">
                  <c:v>40634</c:v>
                </c:pt>
                <c:pt idx="326">
                  <c:v>40637</c:v>
                </c:pt>
                <c:pt idx="327">
                  <c:v>40638</c:v>
                </c:pt>
                <c:pt idx="328">
                  <c:v>40639</c:v>
                </c:pt>
                <c:pt idx="329">
                  <c:v>40640</c:v>
                </c:pt>
                <c:pt idx="330">
                  <c:v>40641</c:v>
                </c:pt>
                <c:pt idx="331">
                  <c:v>40644</c:v>
                </c:pt>
                <c:pt idx="332">
                  <c:v>40645</c:v>
                </c:pt>
                <c:pt idx="333">
                  <c:v>40646</c:v>
                </c:pt>
                <c:pt idx="334">
                  <c:v>40647</c:v>
                </c:pt>
                <c:pt idx="335">
                  <c:v>40648</c:v>
                </c:pt>
                <c:pt idx="336">
                  <c:v>40651</c:v>
                </c:pt>
                <c:pt idx="337">
                  <c:v>40652</c:v>
                </c:pt>
                <c:pt idx="338">
                  <c:v>40653</c:v>
                </c:pt>
                <c:pt idx="339">
                  <c:v>40654</c:v>
                </c:pt>
                <c:pt idx="340">
                  <c:v>40655</c:v>
                </c:pt>
                <c:pt idx="341">
                  <c:v>40658</c:v>
                </c:pt>
                <c:pt idx="342">
                  <c:v>40659</c:v>
                </c:pt>
                <c:pt idx="343">
                  <c:v>40660</c:v>
                </c:pt>
                <c:pt idx="344">
                  <c:v>40661</c:v>
                </c:pt>
                <c:pt idx="345">
                  <c:v>40662</c:v>
                </c:pt>
                <c:pt idx="346">
                  <c:v>40665</c:v>
                </c:pt>
                <c:pt idx="347">
                  <c:v>40666</c:v>
                </c:pt>
                <c:pt idx="348">
                  <c:v>40667</c:v>
                </c:pt>
                <c:pt idx="349">
                  <c:v>40668</c:v>
                </c:pt>
                <c:pt idx="350">
                  <c:v>40669</c:v>
                </c:pt>
                <c:pt idx="351">
                  <c:v>40672</c:v>
                </c:pt>
                <c:pt idx="352">
                  <c:v>40673</c:v>
                </c:pt>
                <c:pt idx="353">
                  <c:v>40674</c:v>
                </c:pt>
                <c:pt idx="354">
                  <c:v>40675</c:v>
                </c:pt>
                <c:pt idx="355">
                  <c:v>40676</c:v>
                </c:pt>
                <c:pt idx="356">
                  <c:v>40679</c:v>
                </c:pt>
                <c:pt idx="357">
                  <c:v>40680</c:v>
                </c:pt>
                <c:pt idx="358">
                  <c:v>40681</c:v>
                </c:pt>
                <c:pt idx="359">
                  <c:v>40682</c:v>
                </c:pt>
                <c:pt idx="360">
                  <c:v>40683</c:v>
                </c:pt>
                <c:pt idx="361">
                  <c:v>40686</c:v>
                </c:pt>
                <c:pt idx="362">
                  <c:v>40687</c:v>
                </c:pt>
                <c:pt idx="363">
                  <c:v>40688</c:v>
                </c:pt>
                <c:pt idx="364">
                  <c:v>40689</c:v>
                </c:pt>
                <c:pt idx="365">
                  <c:v>40690</c:v>
                </c:pt>
                <c:pt idx="366">
                  <c:v>40693</c:v>
                </c:pt>
                <c:pt idx="367">
                  <c:v>40694</c:v>
                </c:pt>
                <c:pt idx="368">
                  <c:v>40695</c:v>
                </c:pt>
                <c:pt idx="369">
                  <c:v>40696</c:v>
                </c:pt>
                <c:pt idx="370">
                  <c:v>40697</c:v>
                </c:pt>
                <c:pt idx="371">
                  <c:v>40700</c:v>
                </c:pt>
                <c:pt idx="372">
                  <c:v>40701</c:v>
                </c:pt>
                <c:pt idx="373">
                  <c:v>40702</c:v>
                </c:pt>
                <c:pt idx="374">
                  <c:v>40703</c:v>
                </c:pt>
                <c:pt idx="375">
                  <c:v>40704</c:v>
                </c:pt>
                <c:pt idx="376">
                  <c:v>40707</c:v>
                </c:pt>
                <c:pt idx="377">
                  <c:v>40708</c:v>
                </c:pt>
                <c:pt idx="378">
                  <c:v>40709</c:v>
                </c:pt>
                <c:pt idx="379">
                  <c:v>40710</c:v>
                </c:pt>
                <c:pt idx="380">
                  <c:v>40711</c:v>
                </c:pt>
                <c:pt idx="381">
                  <c:v>40714</c:v>
                </c:pt>
                <c:pt idx="382">
                  <c:v>40715</c:v>
                </c:pt>
                <c:pt idx="383">
                  <c:v>40716</c:v>
                </c:pt>
                <c:pt idx="384">
                  <c:v>40717</c:v>
                </c:pt>
                <c:pt idx="385">
                  <c:v>40718</c:v>
                </c:pt>
                <c:pt idx="386">
                  <c:v>40721</c:v>
                </c:pt>
                <c:pt idx="387">
                  <c:v>40722</c:v>
                </c:pt>
                <c:pt idx="388">
                  <c:v>40723</c:v>
                </c:pt>
                <c:pt idx="389">
                  <c:v>40724</c:v>
                </c:pt>
                <c:pt idx="390">
                  <c:v>40725</c:v>
                </c:pt>
                <c:pt idx="391">
                  <c:v>40728</c:v>
                </c:pt>
                <c:pt idx="392">
                  <c:v>40729</c:v>
                </c:pt>
                <c:pt idx="393">
                  <c:v>40730</c:v>
                </c:pt>
                <c:pt idx="394">
                  <c:v>40731</c:v>
                </c:pt>
                <c:pt idx="395">
                  <c:v>40732</c:v>
                </c:pt>
                <c:pt idx="396">
                  <c:v>40735</c:v>
                </c:pt>
                <c:pt idx="397">
                  <c:v>40736</c:v>
                </c:pt>
                <c:pt idx="398">
                  <c:v>40737</c:v>
                </c:pt>
                <c:pt idx="399">
                  <c:v>40738</c:v>
                </c:pt>
                <c:pt idx="400">
                  <c:v>40739</c:v>
                </c:pt>
                <c:pt idx="401">
                  <c:v>40742</c:v>
                </c:pt>
                <c:pt idx="402">
                  <c:v>40743</c:v>
                </c:pt>
                <c:pt idx="403">
                  <c:v>40744</c:v>
                </c:pt>
                <c:pt idx="404">
                  <c:v>40745</c:v>
                </c:pt>
                <c:pt idx="405">
                  <c:v>40746</c:v>
                </c:pt>
                <c:pt idx="406">
                  <c:v>40749</c:v>
                </c:pt>
                <c:pt idx="407">
                  <c:v>40750</c:v>
                </c:pt>
                <c:pt idx="408">
                  <c:v>40751</c:v>
                </c:pt>
                <c:pt idx="409">
                  <c:v>40752</c:v>
                </c:pt>
                <c:pt idx="410">
                  <c:v>40753</c:v>
                </c:pt>
                <c:pt idx="411">
                  <c:v>40756</c:v>
                </c:pt>
                <c:pt idx="412">
                  <c:v>40757</c:v>
                </c:pt>
                <c:pt idx="413">
                  <c:v>40758</c:v>
                </c:pt>
                <c:pt idx="414">
                  <c:v>40759</c:v>
                </c:pt>
                <c:pt idx="415">
                  <c:v>40760</c:v>
                </c:pt>
                <c:pt idx="416">
                  <c:v>40763</c:v>
                </c:pt>
                <c:pt idx="417">
                  <c:v>40764</c:v>
                </c:pt>
                <c:pt idx="418">
                  <c:v>40765</c:v>
                </c:pt>
                <c:pt idx="419">
                  <c:v>40766</c:v>
                </c:pt>
                <c:pt idx="420">
                  <c:v>40767</c:v>
                </c:pt>
                <c:pt idx="421">
                  <c:v>40770</c:v>
                </c:pt>
                <c:pt idx="422">
                  <c:v>40771</c:v>
                </c:pt>
                <c:pt idx="423">
                  <c:v>40772</c:v>
                </c:pt>
                <c:pt idx="424">
                  <c:v>40773</c:v>
                </c:pt>
                <c:pt idx="425">
                  <c:v>40774</c:v>
                </c:pt>
                <c:pt idx="426">
                  <c:v>40777</c:v>
                </c:pt>
                <c:pt idx="427">
                  <c:v>40778</c:v>
                </c:pt>
                <c:pt idx="428">
                  <c:v>40779</c:v>
                </c:pt>
                <c:pt idx="429">
                  <c:v>40780</c:v>
                </c:pt>
                <c:pt idx="430">
                  <c:v>40781</c:v>
                </c:pt>
                <c:pt idx="431">
                  <c:v>40784</c:v>
                </c:pt>
                <c:pt idx="432">
                  <c:v>40785</c:v>
                </c:pt>
                <c:pt idx="433">
                  <c:v>40786</c:v>
                </c:pt>
                <c:pt idx="434">
                  <c:v>40787</c:v>
                </c:pt>
                <c:pt idx="435">
                  <c:v>40788</c:v>
                </c:pt>
                <c:pt idx="436">
                  <c:v>40791</c:v>
                </c:pt>
                <c:pt idx="437">
                  <c:v>40792</c:v>
                </c:pt>
                <c:pt idx="438">
                  <c:v>40793</c:v>
                </c:pt>
                <c:pt idx="439">
                  <c:v>40794</c:v>
                </c:pt>
                <c:pt idx="440">
                  <c:v>40795</c:v>
                </c:pt>
                <c:pt idx="441">
                  <c:v>40798</c:v>
                </c:pt>
                <c:pt idx="442">
                  <c:v>40799</c:v>
                </c:pt>
                <c:pt idx="443">
                  <c:v>40800</c:v>
                </c:pt>
                <c:pt idx="444">
                  <c:v>40801</c:v>
                </c:pt>
                <c:pt idx="445">
                  <c:v>40802</c:v>
                </c:pt>
                <c:pt idx="446">
                  <c:v>40805</c:v>
                </c:pt>
                <c:pt idx="447">
                  <c:v>40806</c:v>
                </c:pt>
                <c:pt idx="448">
                  <c:v>40807</c:v>
                </c:pt>
                <c:pt idx="449">
                  <c:v>40808</c:v>
                </c:pt>
                <c:pt idx="450">
                  <c:v>40809</c:v>
                </c:pt>
                <c:pt idx="451">
                  <c:v>40812</c:v>
                </c:pt>
                <c:pt idx="452">
                  <c:v>40801</c:v>
                </c:pt>
                <c:pt idx="453">
                  <c:v>40802</c:v>
                </c:pt>
                <c:pt idx="454">
                  <c:v>40803</c:v>
                </c:pt>
                <c:pt idx="455">
                  <c:v>40804</c:v>
                </c:pt>
                <c:pt idx="456">
                  <c:v>40805</c:v>
                </c:pt>
                <c:pt idx="457">
                  <c:v>40806</c:v>
                </c:pt>
                <c:pt idx="458">
                  <c:v>40807</c:v>
                </c:pt>
                <c:pt idx="459">
                  <c:v>40808</c:v>
                </c:pt>
                <c:pt idx="460">
                  <c:v>40809</c:v>
                </c:pt>
                <c:pt idx="461">
                  <c:v>40810</c:v>
                </c:pt>
                <c:pt idx="462">
                  <c:v>40811</c:v>
                </c:pt>
                <c:pt idx="463">
                  <c:v>40812</c:v>
                </c:pt>
                <c:pt idx="464">
                  <c:v>40813</c:v>
                </c:pt>
                <c:pt idx="465">
                  <c:v>40814</c:v>
                </c:pt>
                <c:pt idx="466">
                  <c:v>40815</c:v>
                </c:pt>
                <c:pt idx="467">
                  <c:v>40816</c:v>
                </c:pt>
                <c:pt idx="468">
                  <c:v>40817</c:v>
                </c:pt>
                <c:pt idx="469">
                  <c:v>40818</c:v>
                </c:pt>
                <c:pt idx="470">
                  <c:v>40819</c:v>
                </c:pt>
                <c:pt idx="471">
                  <c:v>40820</c:v>
                </c:pt>
                <c:pt idx="472">
                  <c:v>40821</c:v>
                </c:pt>
                <c:pt idx="473">
                  <c:v>40822</c:v>
                </c:pt>
                <c:pt idx="474">
                  <c:v>40823</c:v>
                </c:pt>
                <c:pt idx="475">
                  <c:v>40824</c:v>
                </c:pt>
                <c:pt idx="476">
                  <c:v>40825</c:v>
                </c:pt>
                <c:pt idx="477">
                  <c:v>40826</c:v>
                </c:pt>
                <c:pt idx="478">
                  <c:v>40827</c:v>
                </c:pt>
                <c:pt idx="479">
                  <c:v>40828</c:v>
                </c:pt>
                <c:pt idx="480">
                  <c:v>40829</c:v>
                </c:pt>
                <c:pt idx="481">
                  <c:v>40830</c:v>
                </c:pt>
                <c:pt idx="482">
                  <c:v>40831</c:v>
                </c:pt>
                <c:pt idx="483">
                  <c:v>40832</c:v>
                </c:pt>
                <c:pt idx="484">
                  <c:v>40833</c:v>
                </c:pt>
                <c:pt idx="485">
                  <c:v>40834</c:v>
                </c:pt>
                <c:pt idx="486">
                  <c:v>40835</c:v>
                </c:pt>
                <c:pt idx="487">
                  <c:v>40836</c:v>
                </c:pt>
                <c:pt idx="488">
                  <c:v>40837</c:v>
                </c:pt>
                <c:pt idx="489">
                  <c:v>40838</c:v>
                </c:pt>
                <c:pt idx="490">
                  <c:v>40839</c:v>
                </c:pt>
                <c:pt idx="491">
                  <c:v>40840</c:v>
                </c:pt>
                <c:pt idx="492">
                  <c:v>40841</c:v>
                </c:pt>
                <c:pt idx="493">
                  <c:v>40842</c:v>
                </c:pt>
                <c:pt idx="494">
                  <c:v>40843</c:v>
                </c:pt>
                <c:pt idx="495">
                  <c:v>40844</c:v>
                </c:pt>
                <c:pt idx="496">
                  <c:v>40845</c:v>
                </c:pt>
                <c:pt idx="497">
                  <c:v>40846</c:v>
                </c:pt>
                <c:pt idx="498">
                  <c:v>40847</c:v>
                </c:pt>
                <c:pt idx="499">
                  <c:v>40848</c:v>
                </c:pt>
                <c:pt idx="500">
                  <c:v>40849</c:v>
                </c:pt>
                <c:pt idx="501">
                  <c:v>40850</c:v>
                </c:pt>
                <c:pt idx="502">
                  <c:v>40851</c:v>
                </c:pt>
                <c:pt idx="503">
                  <c:v>40852</c:v>
                </c:pt>
                <c:pt idx="504">
                  <c:v>40853</c:v>
                </c:pt>
                <c:pt idx="505">
                  <c:v>40854</c:v>
                </c:pt>
                <c:pt idx="506">
                  <c:v>40855</c:v>
                </c:pt>
                <c:pt idx="507">
                  <c:v>40856</c:v>
                </c:pt>
                <c:pt idx="508">
                  <c:v>40857</c:v>
                </c:pt>
                <c:pt idx="509">
                  <c:v>40858</c:v>
                </c:pt>
                <c:pt idx="510">
                  <c:v>40859</c:v>
                </c:pt>
                <c:pt idx="511">
                  <c:v>40860</c:v>
                </c:pt>
                <c:pt idx="512">
                  <c:v>40861</c:v>
                </c:pt>
                <c:pt idx="513">
                  <c:v>40862</c:v>
                </c:pt>
                <c:pt idx="514">
                  <c:v>40863</c:v>
                </c:pt>
                <c:pt idx="515">
                  <c:v>40864</c:v>
                </c:pt>
                <c:pt idx="516">
                  <c:v>40865</c:v>
                </c:pt>
                <c:pt idx="517">
                  <c:v>40866</c:v>
                </c:pt>
                <c:pt idx="518">
                  <c:v>40867</c:v>
                </c:pt>
                <c:pt idx="519">
                  <c:v>40868</c:v>
                </c:pt>
                <c:pt idx="520">
                  <c:v>40869</c:v>
                </c:pt>
                <c:pt idx="521">
                  <c:v>40870</c:v>
                </c:pt>
                <c:pt idx="522">
                  <c:v>40871</c:v>
                </c:pt>
                <c:pt idx="523">
                  <c:v>40872</c:v>
                </c:pt>
                <c:pt idx="524">
                  <c:v>40873</c:v>
                </c:pt>
                <c:pt idx="525">
                  <c:v>40874</c:v>
                </c:pt>
                <c:pt idx="526">
                  <c:v>40875</c:v>
                </c:pt>
                <c:pt idx="527">
                  <c:v>40876</c:v>
                </c:pt>
                <c:pt idx="528">
                  <c:v>40877</c:v>
                </c:pt>
                <c:pt idx="529">
                  <c:v>40878</c:v>
                </c:pt>
                <c:pt idx="530">
                  <c:v>40879</c:v>
                </c:pt>
                <c:pt idx="531">
                  <c:v>40880</c:v>
                </c:pt>
                <c:pt idx="532">
                  <c:v>40881</c:v>
                </c:pt>
                <c:pt idx="533">
                  <c:v>40882</c:v>
                </c:pt>
                <c:pt idx="534">
                  <c:v>40883</c:v>
                </c:pt>
                <c:pt idx="535">
                  <c:v>40884</c:v>
                </c:pt>
                <c:pt idx="536">
                  <c:v>40885</c:v>
                </c:pt>
                <c:pt idx="537">
                  <c:v>40886</c:v>
                </c:pt>
                <c:pt idx="538">
                  <c:v>40887</c:v>
                </c:pt>
                <c:pt idx="539">
                  <c:v>40888</c:v>
                </c:pt>
                <c:pt idx="540">
                  <c:v>40889</c:v>
                </c:pt>
                <c:pt idx="541">
                  <c:v>40890</c:v>
                </c:pt>
                <c:pt idx="542">
                  <c:v>40891</c:v>
                </c:pt>
                <c:pt idx="543">
                  <c:v>40892</c:v>
                </c:pt>
                <c:pt idx="544">
                  <c:v>40893</c:v>
                </c:pt>
                <c:pt idx="545">
                  <c:v>40894</c:v>
                </c:pt>
                <c:pt idx="546">
                  <c:v>40895</c:v>
                </c:pt>
                <c:pt idx="547">
                  <c:v>40896</c:v>
                </c:pt>
                <c:pt idx="548">
                  <c:v>40897</c:v>
                </c:pt>
                <c:pt idx="549">
                  <c:v>40898</c:v>
                </c:pt>
                <c:pt idx="550">
                  <c:v>40899</c:v>
                </c:pt>
                <c:pt idx="551">
                  <c:v>40900</c:v>
                </c:pt>
                <c:pt idx="552">
                  <c:v>40901</c:v>
                </c:pt>
                <c:pt idx="553">
                  <c:v>40902</c:v>
                </c:pt>
                <c:pt idx="554">
                  <c:v>40903</c:v>
                </c:pt>
                <c:pt idx="555">
                  <c:v>40904</c:v>
                </c:pt>
                <c:pt idx="556">
                  <c:v>40905</c:v>
                </c:pt>
                <c:pt idx="557">
                  <c:v>40906</c:v>
                </c:pt>
                <c:pt idx="558">
                  <c:v>40907</c:v>
                </c:pt>
                <c:pt idx="559">
                  <c:v>40908</c:v>
                </c:pt>
                <c:pt idx="560">
                  <c:v>40909</c:v>
                </c:pt>
                <c:pt idx="561">
                  <c:v>40910</c:v>
                </c:pt>
                <c:pt idx="562">
                  <c:v>40911</c:v>
                </c:pt>
                <c:pt idx="563">
                  <c:v>40912</c:v>
                </c:pt>
                <c:pt idx="564">
                  <c:v>40913</c:v>
                </c:pt>
                <c:pt idx="565">
                  <c:v>40914</c:v>
                </c:pt>
                <c:pt idx="566">
                  <c:v>40915</c:v>
                </c:pt>
                <c:pt idx="567">
                  <c:v>40916</c:v>
                </c:pt>
                <c:pt idx="568">
                  <c:v>40917</c:v>
                </c:pt>
                <c:pt idx="569">
                  <c:v>40918</c:v>
                </c:pt>
                <c:pt idx="570">
                  <c:v>40919</c:v>
                </c:pt>
                <c:pt idx="571">
                  <c:v>40920</c:v>
                </c:pt>
                <c:pt idx="572">
                  <c:v>40921</c:v>
                </c:pt>
                <c:pt idx="573">
                  <c:v>40922</c:v>
                </c:pt>
                <c:pt idx="574">
                  <c:v>40923</c:v>
                </c:pt>
                <c:pt idx="575">
                  <c:v>40924</c:v>
                </c:pt>
                <c:pt idx="576">
                  <c:v>40925</c:v>
                </c:pt>
                <c:pt idx="577">
                  <c:v>40926</c:v>
                </c:pt>
                <c:pt idx="578">
                  <c:v>40927</c:v>
                </c:pt>
                <c:pt idx="579">
                  <c:v>40928</c:v>
                </c:pt>
                <c:pt idx="580">
                  <c:v>40929</c:v>
                </c:pt>
                <c:pt idx="581">
                  <c:v>40930</c:v>
                </c:pt>
                <c:pt idx="582">
                  <c:v>40931</c:v>
                </c:pt>
                <c:pt idx="583">
                  <c:v>40932</c:v>
                </c:pt>
                <c:pt idx="584">
                  <c:v>40933</c:v>
                </c:pt>
                <c:pt idx="585">
                  <c:v>40934</c:v>
                </c:pt>
                <c:pt idx="586">
                  <c:v>40935</c:v>
                </c:pt>
                <c:pt idx="587">
                  <c:v>40936</c:v>
                </c:pt>
                <c:pt idx="588">
                  <c:v>40937</c:v>
                </c:pt>
              </c:numCache>
            </c:numRef>
          </c:cat>
          <c:val>
            <c:numRef>
              <c:f>Daily!$C$2612:$C$3200</c:f>
              <c:numCache>
                <c:formatCode>0.0000</c:formatCode>
                <c:ptCount val="589"/>
                <c:pt idx="0">
                  <c:v>4.1034999999999995</c:v>
                </c:pt>
                <c:pt idx="1">
                  <c:v>4.0800999999999998</c:v>
                </c:pt>
                <c:pt idx="2">
                  <c:v>4.0922999999999998</c:v>
                </c:pt>
                <c:pt idx="3">
                  <c:v>4.0906000000000002</c:v>
                </c:pt>
                <c:pt idx="4">
                  <c:v>4.1092000000000004</c:v>
                </c:pt>
                <c:pt idx="5">
                  <c:v>4.0647999999999955</c:v>
                </c:pt>
                <c:pt idx="6">
                  <c:v>4.0667</c:v>
                </c:pt>
                <c:pt idx="7">
                  <c:v>4.0743999999999998</c:v>
                </c:pt>
                <c:pt idx="8">
                  <c:v>4.0508999999999995</c:v>
                </c:pt>
                <c:pt idx="9">
                  <c:v>4.0452000000000004</c:v>
                </c:pt>
                <c:pt idx="10">
                  <c:v>4.0488</c:v>
                </c:pt>
                <c:pt idx="11">
                  <c:v>4.0199999999999996</c:v>
                </c:pt>
                <c:pt idx="12">
                  <c:v>4.0034000000000001</c:v>
                </c:pt>
                <c:pt idx="13">
                  <c:v>4.0503999999999998</c:v>
                </c:pt>
                <c:pt idx="14">
                  <c:v>4.0927999999999995</c:v>
                </c:pt>
                <c:pt idx="15">
                  <c:v>4.0906000000000002</c:v>
                </c:pt>
                <c:pt idx="16">
                  <c:v>4.0705999999999998</c:v>
                </c:pt>
                <c:pt idx="17">
                  <c:v>4.0762000000000063</c:v>
                </c:pt>
                <c:pt idx="18">
                  <c:v>4.0924999999999985</c:v>
                </c:pt>
                <c:pt idx="19">
                  <c:v>4.0795000000000003</c:v>
                </c:pt>
                <c:pt idx="20">
                  <c:v>4.0491999999999999</c:v>
                </c:pt>
                <c:pt idx="21">
                  <c:v>3.9791999999999987</c:v>
                </c:pt>
                <c:pt idx="22">
                  <c:v>3.9735999999999998</c:v>
                </c:pt>
                <c:pt idx="23">
                  <c:v>4.0040999999999976</c:v>
                </c:pt>
                <c:pt idx="24">
                  <c:v>4.0767000000000024</c:v>
                </c:pt>
                <c:pt idx="25">
                  <c:v>4.0975999999999955</c:v>
                </c:pt>
                <c:pt idx="26">
                  <c:v>4.1157999999999975</c:v>
                </c:pt>
                <c:pt idx="27">
                  <c:v>4.0616000000000003</c:v>
                </c:pt>
                <c:pt idx="28">
                  <c:v>4.0639999999999965</c:v>
                </c:pt>
                <c:pt idx="29">
                  <c:v>4.0114000000000001</c:v>
                </c:pt>
                <c:pt idx="30">
                  <c:v>4.0197000000000003</c:v>
                </c:pt>
                <c:pt idx="31">
                  <c:v>4.0315000000000003</c:v>
                </c:pt>
                <c:pt idx="32">
                  <c:v>3.9795999999999987</c:v>
                </c:pt>
                <c:pt idx="33">
                  <c:v>3.9796999999999976</c:v>
                </c:pt>
                <c:pt idx="34">
                  <c:v>4.0052000000000003</c:v>
                </c:pt>
                <c:pt idx="35">
                  <c:v>3.9825999999999997</c:v>
                </c:pt>
                <c:pt idx="36">
                  <c:v>3.9630000000000001</c:v>
                </c:pt>
                <c:pt idx="37">
                  <c:v>3.9953999999999987</c:v>
                </c:pt>
                <c:pt idx="38">
                  <c:v>3.9786999999999977</c:v>
                </c:pt>
                <c:pt idx="39">
                  <c:v>3.9731999999999998</c:v>
                </c:pt>
                <c:pt idx="40">
                  <c:v>3.9422999999999977</c:v>
                </c:pt>
                <c:pt idx="41">
                  <c:v>3.9241000000000001</c:v>
                </c:pt>
                <c:pt idx="42">
                  <c:v>3.9145999999999987</c:v>
                </c:pt>
                <c:pt idx="43">
                  <c:v>3.9060999999999977</c:v>
                </c:pt>
                <c:pt idx="44">
                  <c:v>3.8971</c:v>
                </c:pt>
                <c:pt idx="45">
                  <c:v>3.8731999999999998</c:v>
                </c:pt>
                <c:pt idx="46">
                  <c:v>3.867</c:v>
                </c:pt>
                <c:pt idx="47">
                  <c:v>3.8673000000000002</c:v>
                </c:pt>
                <c:pt idx="48">
                  <c:v>3.8833000000000002</c:v>
                </c:pt>
                <c:pt idx="49">
                  <c:v>3.9</c:v>
                </c:pt>
                <c:pt idx="50">
                  <c:v>3.8841000000000001</c:v>
                </c:pt>
                <c:pt idx="51">
                  <c:v>3.8935</c:v>
                </c:pt>
                <c:pt idx="52">
                  <c:v>3.867</c:v>
                </c:pt>
                <c:pt idx="53">
                  <c:v>3.8655999999999997</c:v>
                </c:pt>
                <c:pt idx="54">
                  <c:v>3.8792999999999971</c:v>
                </c:pt>
                <c:pt idx="55">
                  <c:v>3.8939999999999997</c:v>
                </c:pt>
                <c:pt idx="56">
                  <c:v>3.8881999999999999</c:v>
                </c:pt>
                <c:pt idx="57">
                  <c:v>3.8839999999999999</c:v>
                </c:pt>
                <c:pt idx="58">
                  <c:v>3.8899999999999997</c:v>
                </c:pt>
                <c:pt idx="59">
                  <c:v>3.9039000000000001</c:v>
                </c:pt>
                <c:pt idx="60">
                  <c:v>3.8985999999999987</c:v>
                </c:pt>
                <c:pt idx="61">
                  <c:v>3.8795999999999977</c:v>
                </c:pt>
                <c:pt idx="62">
                  <c:v>3.8724999999999969</c:v>
                </c:pt>
                <c:pt idx="63">
                  <c:v>3.8605999999999998</c:v>
                </c:pt>
                <c:pt idx="64">
                  <c:v>3.8523999999999976</c:v>
                </c:pt>
                <c:pt idx="65">
                  <c:v>3.8471000000000002</c:v>
                </c:pt>
                <c:pt idx="66">
                  <c:v>3.8433999999999999</c:v>
                </c:pt>
                <c:pt idx="67">
                  <c:v>3.8332999999999977</c:v>
                </c:pt>
                <c:pt idx="68">
                  <c:v>3.8329999999999975</c:v>
                </c:pt>
                <c:pt idx="69">
                  <c:v>3.8456999999999977</c:v>
                </c:pt>
                <c:pt idx="70">
                  <c:v>3.8709999999999987</c:v>
                </c:pt>
                <c:pt idx="71">
                  <c:v>3.8635999999999999</c:v>
                </c:pt>
                <c:pt idx="72">
                  <c:v>3.8751999999999978</c:v>
                </c:pt>
                <c:pt idx="73">
                  <c:v>3.8601000000000001</c:v>
                </c:pt>
                <c:pt idx="74">
                  <c:v>3.8573</c:v>
                </c:pt>
                <c:pt idx="75">
                  <c:v>3.8793999999999977</c:v>
                </c:pt>
                <c:pt idx="76">
                  <c:v>3.8921999999999977</c:v>
                </c:pt>
                <c:pt idx="77">
                  <c:v>3.8806000000000003</c:v>
                </c:pt>
                <c:pt idx="78">
                  <c:v>3.8611</c:v>
                </c:pt>
                <c:pt idx="79">
                  <c:v>3.8865999999999987</c:v>
                </c:pt>
                <c:pt idx="80">
                  <c:v>3.8803999999999998</c:v>
                </c:pt>
                <c:pt idx="81">
                  <c:v>3.8822999999999972</c:v>
                </c:pt>
                <c:pt idx="82">
                  <c:v>3.932299999999997</c:v>
                </c:pt>
                <c:pt idx="83">
                  <c:v>3.9085000000000001</c:v>
                </c:pt>
                <c:pt idx="84">
                  <c:v>3.9059999999999997</c:v>
                </c:pt>
                <c:pt idx="85">
                  <c:v>3.9267999999999987</c:v>
                </c:pt>
                <c:pt idx="86">
                  <c:v>3.9191000000000003</c:v>
                </c:pt>
                <c:pt idx="87">
                  <c:v>4.0220999999999965</c:v>
                </c:pt>
                <c:pt idx="88">
                  <c:v>4.0820999999999996</c:v>
                </c:pt>
                <c:pt idx="89">
                  <c:v>4.1954999999999965</c:v>
                </c:pt>
                <c:pt idx="90">
                  <c:v>4.1170999999999944</c:v>
                </c:pt>
                <c:pt idx="91">
                  <c:v>4.0176999999999996</c:v>
                </c:pt>
                <c:pt idx="92">
                  <c:v>4.0263999999999998</c:v>
                </c:pt>
                <c:pt idx="93">
                  <c:v>3.9521999999999977</c:v>
                </c:pt>
                <c:pt idx="94">
                  <c:v>3.9515999999999987</c:v>
                </c:pt>
                <c:pt idx="95">
                  <c:v>4.0152000000000001</c:v>
                </c:pt>
                <c:pt idx="96">
                  <c:v>4.0195999999999996</c:v>
                </c:pt>
                <c:pt idx="97">
                  <c:v>4.0580999999999996</c:v>
                </c:pt>
                <c:pt idx="98">
                  <c:v>4.0902000000000003</c:v>
                </c:pt>
                <c:pt idx="99">
                  <c:v>4.1661999999999955</c:v>
                </c:pt>
                <c:pt idx="100">
                  <c:v>4.1167999999999996</c:v>
                </c:pt>
                <c:pt idx="101">
                  <c:v>4.1064999999999996</c:v>
                </c:pt>
                <c:pt idx="102">
                  <c:v>4.1352000000000002</c:v>
                </c:pt>
                <c:pt idx="103">
                  <c:v>4.1282999999999985</c:v>
                </c:pt>
                <c:pt idx="104">
                  <c:v>4.0547999999999975</c:v>
                </c:pt>
                <c:pt idx="105">
                  <c:v>4.0747999999999998</c:v>
                </c:pt>
                <c:pt idx="106">
                  <c:v>4.0757000000000003</c:v>
                </c:pt>
                <c:pt idx="107">
                  <c:v>4.1140999999999943</c:v>
                </c:pt>
                <c:pt idx="108">
                  <c:v>4.0893000000000024</c:v>
                </c:pt>
                <c:pt idx="109">
                  <c:v>4.1212</c:v>
                </c:pt>
                <c:pt idx="110">
                  <c:v>4.1795999999999998</c:v>
                </c:pt>
                <c:pt idx="111">
                  <c:v>4.1608999999999945</c:v>
                </c:pt>
                <c:pt idx="112">
                  <c:v>4.1285999999999943</c:v>
                </c:pt>
                <c:pt idx="113">
                  <c:v>4.1464999999999996</c:v>
                </c:pt>
                <c:pt idx="114">
                  <c:v>4.0869</c:v>
                </c:pt>
                <c:pt idx="115">
                  <c:v>4.1030999999999995</c:v>
                </c:pt>
                <c:pt idx="116">
                  <c:v>4.0733000000000024</c:v>
                </c:pt>
                <c:pt idx="117">
                  <c:v>4.0609999999999955</c:v>
                </c:pt>
                <c:pt idx="118">
                  <c:v>4.0657999999999985</c:v>
                </c:pt>
                <c:pt idx="119">
                  <c:v>4.0750000000000002</c:v>
                </c:pt>
                <c:pt idx="120">
                  <c:v>4.0453000000000001</c:v>
                </c:pt>
                <c:pt idx="121">
                  <c:v>4.0602</c:v>
                </c:pt>
                <c:pt idx="122">
                  <c:v>4.0667999999999997</c:v>
                </c:pt>
                <c:pt idx="123">
                  <c:v>4.0643999999999965</c:v>
                </c:pt>
                <c:pt idx="124">
                  <c:v>4.117599999999995</c:v>
                </c:pt>
                <c:pt idx="125">
                  <c:v>4.1169999999999956</c:v>
                </c:pt>
                <c:pt idx="126">
                  <c:v>4.1543999999999945</c:v>
                </c:pt>
                <c:pt idx="127">
                  <c:v>4.1540999999999944</c:v>
                </c:pt>
                <c:pt idx="128">
                  <c:v>4.1469999999999985</c:v>
                </c:pt>
                <c:pt idx="129">
                  <c:v>4.1648999999999941</c:v>
                </c:pt>
                <c:pt idx="130">
                  <c:v>4.1528999999999945</c:v>
                </c:pt>
                <c:pt idx="131">
                  <c:v>4.1155999999999944</c:v>
                </c:pt>
                <c:pt idx="132">
                  <c:v>4.1088999999999976</c:v>
                </c:pt>
                <c:pt idx="133">
                  <c:v>4.09</c:v>
                </c:pt>
                <c:pt idx="134">
                  <c:v>4.0785</c:v>
                </c:pt>
                <c:pt idx="135">
                  <c:v>4.0711000000000004</c:v>
                </c:pt>
                <c:pt idx="136">
                  <c:v>4.0696000000000003</c:v>
                </c:pt>
                <c:pt idx="137">
                  <c:v>4.0672999999999995</c:v>
                </c:pt>
                <c:pt idx="138">
                  <c:v>4.0548999999999955</c:v>
                </c:pt>
                <c:pt idx="139">
                  <c:v>4.0728999999999997</c:v>
                </c:pt>
                <c:pt idx="140">
                  <c:v>4.1066000000000003</c:v>
                </c:pt>
                <c:pt idx="141">
                  <c:v>4.1254999999999944</c:v>
                </c:pt>
                <c:pt idx="142">
                  <c:v>4.1109999999999944</c:v>
                </c:pt>
                <c:pt idx="143">
                  <c:v>4.1072999999999995</c:v>
                </c:pt>
                <c:pt idx="144">
                  <c:v>4.0818000000000003</c:v>
                </c:pt>
                <c:pt idx="145">
                  <c:v>4.0599999999999996</c:v>
                </c:pt>
                <c:pt idx="146">
                  <c:v>4.0233999999999996</c:v>
                </c:pt>
                <c:pt idx="147">
                  <c:v>4.0056000000000003</c:v>
                </c:pt>
                <c:pt idx="148">
                  <c:v>4.0038999999999998</c:v>
                </c:pt>
                <c:pt idx="149">
                  <c:v>4.01</c:v>
                </c:pt>
                <c:pt idx="150">
                  <c:v>4.0087999999999999</c:v>
                </c:pt>
                <c:pt idx="151">
                  <c:v>3.9811999999999999</c:v>
                </c:pt>
                <c:pt idx="152">
                  <c:v>4.0048999999999975</c:v>
                </c:pt>
                <c:pt idx="153">
                  <c:v>3.9854000000000003</c:v>
                </c:pt>
                <c:pt idx="154">
                  <c:v>3.9913999999999987</c:v>
                </c:pt>
                <c:pt idx="155">
                  <c:v>3.9877000000000002</c:v>
                </c:pt>
                <c:pt idx="156">
                  <c:v>3.9647000000000001</c:v>
                </c:pt>
                <c:pt idx="157">
                  <c:v>3.9710999999999972</c:v>
                </c:pt>
                <c:pt idx="158">
                  <c:v>4.0076999999999998</c:v>
                </c:pt>
                <c:pt idx="159">
                  <c:v>4.0022000000000002</c:v>
                </c:pt>
                <c:pt idx="160">
                  <c:v>4.0030999999999999</c:v>
                </c:pt>
                <c:pt idx="161">
                  <c:v>3.9830000000000001</c:v>
                </c:pt>
                <c:pt idx="162">
                  <c:v>3.9435000000000002</c:v>
                </c:pt>
                <c:pt idx="163">
                  <c:v>3.9385999999999997</c:v>
                </c:pt>
                <c:pt idx="164">
                  <c:v>3.9699</c:v>
                </c:pt>
                <c:pt idx="165">
                  <c:v>3.9773000000000001</c:v>
                </c:pt>
                <c:pt idx="166">
                  <c:v>4.0182000000000002</c:v>
                </c:pt>
                <c:pt idx="167">
                  <c:v>4.0080999999999998</c:v>
                </c:pt>
                <c:pt idx="168">
                  <c:v>3.9977999999999998</c:v>
                </c:pt>
                <c:pt idx="169">
                  <c:v>3.9998999999999976</c:v>
                </c:pt>
                <c:pt idx="170">
                  <c:v>3.9672999999999998</c:v>
                </c:pt>
                <c:pt idx="171">
                  <c:v>3.9973000000000001</c:v>
                </c:pt>
                <c:pt idx="172">
                  <c:v>4.0043999999999995</c:v>
                </c:pt>
                <c:pt idx="173">
                  <c:v>3.9701999999999997</c:v>
                </c:pt>
                <c:pt idx="174">
                  <c:v>3.9548999999999972</c:v>
                </c:pt>
                <c:pt idx="175">
                  <c:v>3.9405000000000001</c:v>
                </c:pt>
                <c:pt idx="176">
                  <c:v>3.9283999999999999</c:v>
                </c:pt>
                <c:pt idx="177">
                  <c:v>3.9463999999999997</c:v>
                </c:pt>
                <c:pt idx="178">
                  <c:v>3.9413999999999998</c:v>
                </c:pt>
                <c:pt idx="179">
                  <c:v>3.9405999999999999</c:v>
                </c:pt>
                <c:pt idx="180">
                  <c:v>3.9407999999999999</c:v>
                </c:pt>
                <c:pt idx="181">
                  <c:v>3.9325999999999977</c:v>
                </c:pt>
                <c:pt idx="182">
                  <c:v>3.9239000000000002</c:v>
                </c:pt>
                <c:pt idx="183">
                  <c:v>3.9417999999999997</c:v>
                </c:pt>
                <c:pt idx="184">
                  <c:v>3.9535</c:v>
                </c:pt>
                <c:pt idx="185">
                  <c:v>3.9577999999999998</c:v>
                </c:pt>
                <c:pt idx="186">
                  <c:v>3.9401000000000002</c:v>
                </c:pt>
                <c:pt idx="187">
                  <c:v>3.9413</c:v>
                </c:pt>
                <c:pt idx="188">
                  <c:v>3.9519999999999977</c:v>
                </c:pt>
                <c:pt idx="189">
                  <c:v>3.9715999999999987</c:v>
                </c:pt>
                <c:pt idx="190">
                  <c:v>3.9531000000000001</c:v>
                </c:pt>
                <c:pt idx="191">
                  <c:v>3.9575</c:v>
                </c:pt>
                <c:pt idx="192">
                  <c:v>3.9668999999999977</c:v>
                </c:pt>
                <c:pt idx="193">
                  <c:v>3.9769999999999972</c:v>
                </c:pt>
                <c:pt idx="194">
                  <c:v>3.9641000000000002</c:v>
                </c:pt>
                <c:pt idx="195">
                  <c:v>3.9419</c:v>
                </c:pt>
                <c:pt idx="196">
                  <c:v>3.9637000000000002</c:v>
                </c:pt>
                <c:pt idx="197">
                  <c:v>3.9462999999999977</c:v>
                </c:pt>
                <c:pt idx="198">
                  <c:v>3.9645999999999999</c:v>
                </c:pt>
                <c:pt idx="199">
                  <c:v>3.9727999999999977</c:v>
                </c:pt>
                <c:pt idx="200">
                  <c:v>3.9626999999999977</c:v>
                </c:pt>
                <c:pt idx="201">
                  <c:v>3.9558999999999971</c:v>
                </c:pt>
                <c:pt idx="202">
                  <c:v>3.9561999999999977</c:v>
                </c:pt>
                <c:pt idx="203">
                  <c:v>3.907</c:v>
                </c:pt>
                <c:pt idx="204">
                  <c:v>3.9028999999999971</c:v>
                </c:pt>
                <c:pt idx="205">
                  <c:v>3.8978999999999977</c:v>
                </c:pt>
                <c:pt idx="206">
                  <c:v>3.9249999999999998</c:v>
                </c:pt>
                <c:pt idx="207">
                  <c:v>3.9708999999999977</c:v>
                </c:pt>
                <c:pt idx="208">
                  <c:v>3.9514999999999976</c:v>
                </c:pt>
                <c:pt idx="209">
                  <c:v>3.9802</c:v>
                </c:pt>
                <c:pt idx="210">
                  <c:v>3.9624999999999977</c:v>
                </c:pt>
                <c:pt idx="211">
                  <c:v>3.9278</c:v>
                </c:pt>
                <c:pt idx="212">
                  <c:v>3.9319999999999977</c:v>
                </c:pt>
                <c:pt idx="213">
                  <c:v>3.9611000000000001</c:v>
                </c:pt>
                <c:pt idx="214">
                  <c:v>3.9741999999999997</c:v>
                </c:pt>
                <c:pt idx="215">
                  <c:v>3.9676999999999998</c:v>
                </c:pt>
                <c:pt idx="216">
                  <c:v>3.9676</c:v>
                </c:pt>
                <c:pt idx="217">
                  <c:v>3.9459999999999997</c:v>
                </c:pt>
                <c:pt idx="218">
                  <c:v>3.9117999999999977</c:v>
                </c:pt>
                <c:pt idx="219">
                  <c:v>3.9003000000000001</c:v>
                </c:pt>
                <c:pt idx="220">
                  <c:v>3.9121999999999977</c:v>
                </c:pt>
                <c:pt idx="221">
                  <c:v>3.9327999999999972</c:v>
                </c:pt>
                <c:pt idx="222">
                  <c:v>3.9039000000000001</c:v>
                </c:pt>
                <c:pt idx="223">
                  <c:v>3.8933</c:v>
                </c:pt>
                <c:pt idx="224">
                  <c:v>3.9304999999999977</c:v>
                </c:pt>
                <c:pt idx="225">
                  <c:v>3.9441000000000002</c:v>
                </c:pt>
                <c:pt idx="226">
                  <c:v>3.927</c:v>
                </c:pt>
                <c:pt idx="227">
                  <c:v>3.9668999999999977</c:v>
                </c:pt>
                <c:pt idx="228">
                  <c:v>3.9531999999999998</c:v>
                </c:pt>
                <c:pt idx="229">
                  <c:v>3.9327999999999972</c:v>
                </c:pt>
                <c:pt idx="230">
                  <c:v>3.9351000000000003</c:v>
                </c:pt>
                <c:pt idx="231">
                  <c:v>3.9457999999999998</c:v>
                </c:pt>
                <c:pt idx="232">
                  <c:v>3.9794999999999972</c:v>
                </c:pt>
                <c:pt idx="233">
                  <c:v>3.9603999999999999</c:v>
                </c:pt>
                <c:pt idx="234">
                  <c:v>3.9798999999999971</c:v>
                </c:pt>
                <c:pt idx="235">
                  <c:v>4.0363000000000024</c:v>
                </c:pt>
                <c:pt idx="236">
                  <c:v>4.0877999999999997</c:v>
                </c:pt>
                <c:pt idx="237">
                  <c:v>4.0230999999999995</c:v>
                </c:pt>
                <c:pt idx="238">
                  <c:v>3.9985999999999997</c:v>
                </c:pt>
                <c:pt idx="239">
                  <c:v>3.9847999999999999</c:v>
                </c:pt>
                <c:pt idx="240">
                  <c:v>3.9773000000000001</c:v>
                </c:pt>
                <c:pt idx="241">
                  <c:v>4.0077999999999996</c:v>
                </c:pt>
                <c:pt idx="242">
                  <c:v>4.0241999999999951</c:v>
                </c:pt>
                <c:pt idx="243">
                  <c:v>4.0288999999999975</c:v>
                </c:pt>
                <c:pt idx="244">
                  <c:v>4.0342000000000002</c:v>
                </c:pt>
                <c:pt idx="245">
                  <c:v>4.0282999999999998</c:v>
                </c:pt>
                <c:pt idx="246">
                  <c:v>3.9947999999999997</c:v>
                </c:pt>
                <c:pt idx="247">
                  <c:v>3.9889999999999999</c:v>
                </c:pt>
                <c:pt idx="248">
                  <c:v>3.9927999999999977</c:v>
                </c:pt>
                <c:pt idx="249">
                  <c:v>3.9864999999999977</c:v>
                </c:pt>
                <c:pt idx="250">
                  <c:v>3.9835000000000012</c:v>
                </c:pt>
                <c:pt idx="251">
                  <c:v>4.0034999999999998</c:v>
                </c:pt>
                <c:pt idx="252">
                  <c:v>4.0040999999999976</c:v>
                </c:pt>
                <c:pt idx="253">
                  <c:v>3.9893000000000001</c:v>
                </c:pt>
                <c:pt idx="254">
                  <c:v>3.964</c:v>
                </c:pt>
                <c:pt idx="255">
                  <c:v>3.9670999999999998</c:v>
                </c:pt>
                <c:pt idx="256">
                  <c:v>3.9811000000000001</c:v>
                </c:pt>
                <c:pt idx="257">
                  <c:v>3.9921999999999978</c:v>
                </c:pt>
                <c:pt idx="258">
                  <c:v>3.9674</c:v>
                </c:pt>
                <c:pt idx="259">
                  <c:v>3.9607999999999999</c:v>
                </c:pt>
                <c:pt idx="260">
                  <c:v>3.964</c:v>
                </c:pt>
                <c:pt idx="261">
                  <c:v>3.9503999999999997</c:v>
                </c:pt>
                <c:pt idx="262">
                  <c:v>3.8875999999999999</c:v>
                </c:pt>
                <c:pt idx="263">
                  <c:v>3.8700999999999977</c:v>
                </c:pt>
                <c:pt idx="264">
                  <c:v>3.8737999999999997</c:v>
                </c:pt>
                <c:pt idx="265">
                  <c:v>3.8867999999999987</c:v>
                </c:pt>
                <c:pt idx="266">
                  <c:v>3.9059999999999997</c:v>
                </c:pt>
                <c:pt idx="267">
                  <c:v>3.8575999999999997</c:v>
                </c:pt>
                <c:pt idx="268">
                  <c:v>3.8411999999999997</c:v>
                </c:pt>
                <c:pt idx="269">
                  <c:v>3.8714999999999975</c:v>
                </c:pt>
                <c:pt idx="270">
                  <c:v>3.8759999999999977</c:v>
                </c:pt>
                <c:pt idx="271">
                  <c:v>3.8695999999999997</c:v>
                </c:pt>
                <c:pt idx="272">
                  <c:v>3.8712999999999971</c:v>
                </c:pt>
                <c:pt idx="273">
                  <c:v>3.8717999999999977</c:v>
                </c:pt>
                <c:pt idx="274">
                  <c:v>3.8935</c:v>
                </c:pt>
                <c:pt idx="275">
                  <c:v>3.8779999999999997</c:v>
                </c:pt>
                <c:pt idx="276">
                  <c:v>3.8761999999999972</c:v>
                </c:pt>
                <c:pt idx="277">
                  <c:v>3.8801000000000001</c:v>
                </c:pt>
                <c:pt idx="278">
                  <c:v>3.8837999999999999</c:v>
                </c:pt>
                <c:pt idx="279">
                  <c:v>3.9063999999999997</c:v>
                </c:pt>
                <c:pt idx="280">
                  <c:v>3.9485000000000001</c:v>
                </c:pt>
                <c:pt idx="281">
                  <c:v>3.9311999999999987</c:v>
                </c:pt>
                <c:pt idx="282">
                  <c:v>3.8984999999999972</c:v>
                </c:pt>
                <c:pt idx="283">
                  <c:v>3.9041999999999999</c:v>
                </c:pt>
                <c:pt idx="284">
                  <c:v>3.9032999999999998</c:v>
                </c:pt>
                <c:pt idx="285">
                  <c:v>3.8903999999999987</c:v>
                </c:pt>
                <c:pt idx="286">
                  <c:v>3.8777999999999997</c:v>
                </c:pt>
                <c:pt idx="287">
                  <c:v>3.8903999999999987</c:v>
                </c:pt>
                <c:pt idx="288">
                  <c:v>3.9066999999999972</c:v>
                </c:pt>
                <c:pt idx="289">
                  <c:v>3.9207000000000001</c:v>
                </c:pt>
                <c:pt idx="290">
                  <c:v>3.9171</c:v>
                </c:pt>
                <c:pt idx="291">
                  <c:v>3.9474999999999998</c:v>
                </c:pt>
                <c:pt idx="292">
                  <c:v>3.9293</c:v>
                </c:pt>
                <c:pt idx="293">
                  <c:v>3.9053999999999998</c:v>
                </c:pt>
                <c:pt idx="294">
                  <c:v>3.9023999999999988</c:v>
                </c:pt>
                <c:pt idx="295">
                  <c:v>3.916699999999997</c:v>
                </c:pt>
                <c:pt idx="296">
                  <c:v>3.9425999999999997</c:v>
                </c:pt>
                <c:pt idx="297">
                  <c:v>3.9744999999999977</c:v>
                </c:pt>
                <c:pt idx="298">
                  <c:v>3.9775</c:v>
                </c:pt>
                <c:pt idx="299">
                  <c:v>3.9797999999999987</c:v>
                </c:pt>
                <c:pt idx="300">
                  <c:v>3.9798999999999971</c:v>
                </c:pt>
                <c:pt idx="301">
                  <c:v>3.9561999999999977</c:v>
                </c:pt>
                <c:pt idx="302">
                  <c:v>3.9903999999999997</c:v>
                </c:pt>
                <c:pt idx="303">
                  <c:v>3.9746999999999977</c:v>
                </c:pt>
                <c:pt idx="304">
                  <c:v>3.9864999999999977</c:v>
                </c:pt>
                <c:pt idx="305">
                  <c:v>3.9790999999999972</c:v>
                </c:pt>
                <c:pt idx="306">
                  <c:v>3.9697</c:v>
                </c:pt>
                <c:pt idx="307">
                  <c:v>3.9703999999999997</c:v>
                </c:pt>
                <c:pt idx="308">
                  <c:v>3.9816000000000003</c:v>
                </c:pt>
                <c:pt idx="309">
                  <c:v>4.0164999999999997</c:v>
                </c:pt>
                <c:pt idx="310">
                  <c:v>4.0030000000000001</c:v>
                </c:pt>
                <c:pt idx="311">
                  <c:v>4.0270999999999955</c:v>
                </c:pt>
                <c:pt idx="312">
                  <c:v>4.0423</c:v>
                </c:pt>
                <c:pt idx="313">
                  <c:v>4.0995999999999997</c:v>
                </c:pt>
                <c:pt idx="314">
                  <c:v>4.0671999999999944</c:v>
                </c:pt>
                <c:pt idx="315">
                  <c:v>4.0674999999999955</c:v>
                </c:pt>
                <c:pt idx="316">
                  <c:v>4.0278999999999945</c:v>
                </c:pt>
                <c:pt idx="317">
                  <c:v>4.0324</c:v>
                </c:pt>
                <c:pt idx="318">
                  <c:v>4.0318000000000014</c:v>
                </c:pt>
                <c:pt idx="319">
                  <c:v>4.0144999999999955</c:v>
                </c:pt>
                <c:pt idx="320">
                  <c:v>4.0168999999999997</c:v>
                </c:pt>
                <c:pt idx="321">
                  <c:v>3.9996999999999971</c:v>
                </c:pt>
                <c:pt idx="322">
                  <c:v>3.9953999999999987</c:v>
                </c:pt>
                <c:pt idx="323">
                  <c:v>4.0157999999999996</c:v>
                </c:pt>
                <c:pt idx="324">
                  <c:v>4.0245999999999951</c:v>
                </c:pt>
                <c:pt idx="325">
                  <c:v>4.0175999999999945</c:v>
                </c:pt>
                <c:pt idx="326">
                  <c:v>4.0262000000000002</c:v>
                </c:pt>
                <c:pt idx="327">
                  <c:v>3.9937999999999998</c:v>
                </c:pt>
                <c:pt idx="328">
                  <c:v>3.9719999999999978</c:v>
                </c:pt>
                <c:pt idx="329">
                  <c:v>3.9670000000000001</c:v>
                </c:pt>
                <c:pt idx="330">
                  <c:v>3.9611000000000001</c:v>
                </c:pt>
                <c:pt idx="331">
                  <c:v>3.9683000000000002</c:v>
                </c:pt>
                <c:pt idx="332">
                  <c:v>3.9895</c:v>
                </c:pt>
                <c:pt idx="333">
                  <c:v>3.9622999999999977</c:v>
                </c:pt>
                <c:pt idx="334">
                  <c:v>3.9462999999999977</c:v>
                </c:pt>
                <c:pt idx="335">
                  <c:v>3.9503999999999997</c:v>
                </c:pt>
                <c:pt idx="336">
                  <c:v>3.9923999999999977</c:v>
                </c:pt>
                <c:pt idx="337">
                  <c:v>3.9670999999999998</c:v>
                </c:pt>
                <c:pt idx="338">
                  <c:v>3.9706999999999977</c:v>
                </c:pt>
                <c:pt idx="339">
                  <c:v>3.9439000000000002</c:v>
                </c:pt>
                <c:pt idx="340">
                  <c:v>3.9502999999999977</c:v>
                </c:pt>
                <c:pt idx="341">
                  <c:v>3.9466999999999977</c:v>
                </c:pt>
                <c:pt idx="342">
                  <c:v>3.9421999999999997</c:v>
                </c:pt>
                <c:pt idx="343">
                  <c:v>3.9249000000000001</c:v>
                </c:pt>
                <c:pt idx="344">
                  <c:v>3.9377999999999997</c:v>
                </c:pt>
                <c:pt idx="345">
                  <c:v>3.9290000000000003</c:v>
                </c:pt>
                <c:pt idx="346">
                  <c:v>3.9258999999999977</c:v>
                </c:pt>
                <c:pt idx="347">
                  <c:v>3.9409000000000001</c:v>
                </c:pt>
                <c:pt idx="348">
                  <c:v>3.9517999999999978</c:v>
                </c:pt>
                <c:pt idx="349">
                  <c:v>3.9680999999999997</c:v>
                </c:pt>
                <c:pt idx="350">
                  <c:v>3.9445999999999999</c:v>
                </c:pt>
                <c:pt idx="351">
                  <c:v>3.9295999999999998</c:v>
                </c:pt>
                <c:pt idx="352">
                  <c:v>3.9251</c:v>
                </c:pt>
                <c:pt idx="353">
                  <c:v>3.9127999999999972</c:v>
                </c:pt>
                <c:pt idx="354">
                  <c:v>3.9104999999999972</c:v>
                </c:pt>
                <c:pt idx="355">
                  <c:v>3.9390999999999972</c:v>
                </c:pt>
                <c:pt idx="356">
                  <c:v>3.9329999999999972</c:v>
                </c:pt>
                <c:pt idx="357">
                  <c:v>3.927</c:v>
                </c:pt>
                <c:pt idx="358">
                  <c:v>3.9145999999999987</c:v>
                </c:pt>
                <c:pt idx="359">
                  <c:v>3.92</c:v>
                </c:pt>
                <c:pt idx="360">
                  <c:v>3.9219999999999997</c:v>
                </c:pt>
                <c:pt idx="361">
                  <c:v>3.9483000000000001</c:v>
                </c:pt>
                <c:pt idx="362">
                  <c:v>3.9483999999999999</c:v>
                </c:pt>
                <c:pt idx="363">
                  <c:v>3.9649000000000001</c:v>
                </c:pt>
                <c:pt idx="364">
                  <c:v>3.9851000000000001</c:v>
                </c:pt>
                <c:pt idx="365">
                  <c:v>3.9678</c:v>
                </c:pt>
                <c:pt idx="366">
                  <c:v>3.9771999999999998</c:v>
                </c:pt>
                <c:pt idx="367">
                  <c:v>3.9489000000000001</c:v>
                </c:pt>
                <c:pt idx="368">
                  <c:v>3.9695</c:v>
                </c:pt>
                <c:pt idx="369">
                  <c:v>3.9477000000000002</c:v>
                </c:pt>
                <c:pt idx="370">
                  <c:v>3.956699999999997</c:v>
                </c:pt>
                <c:pt idx="371">
                  <c:v>3.9603999999999999</c:v>
                </c:pt>
                <c:pt idx="372">
                  <c:v>3.9393999999999987</c:v>
                </c:pt>
                <c:pt idx="373">
                  <c:v>3.9511999999999987</c:v>
                </c:pt>
                <c:pt idx="374">
                  <c:v>3.9434</c:v>
                </c:pt>
                <c:pt idx="375">
                  <c:v>3.9393999999999987</c:v>
                </c:pt>
                <c:pt idx="376">
                  <c:v>3.9317999999999977</c:v>
                </c:pt>
                <c:pt idx="377">
                  <c:v>3.9325999999999977</c:v>
                </c:pt>
                <c:pt idx="378">
                  <c:v>3.9457</c:v>
                </c:pt>
                <c:pt idx="379">
                  <c:v>3.9835000000000012</c:v>
                </c:pt>
                <c:pt idx="380">
                  <c:v>3.9704999999999977</c:v>
                </c:pt>
                <c:pt idx="381">
                  <c:v>3.9872000000000001</c:v>
                </c:pt>
                <c:pt idx="382">
                  <c:v>3.9807000000000001</c:v>
                </c:pt>
                <c:pt idx="383">
                  <c:v>3.9835000000000012</c:v>
                </c:pt>
                <c:pt idx="384">
                  <c:v>3.9927999999999977</c:v>
                </c:pt>
                <c:pt idx="385">
                  <c:v>3.9870000000000001</c:v>
                </c:pt>
                <c:pt idx="386">
                  <c:v>3.9988999999999977</c:v>
                </c:pt>
                <c:pt idx="387">
                  <c:v>4.0102000000000002</c:v>
                </c:pt>
                <c:pt idx="388">
                  <c:v>3.9865999999999997</c:v>
                </c:pt>
                <c:pt idx="389">
                  <c:v>3.9771999999999998</c:v>
                </c:pt>
                <c:pt idx="390">
                  <c:v>3.9413999999999998</c:v>
                </c:pt>
                <c:pt idx="391">
                  <c:v>3.9380999999999977</c:v>
                </c:pt>
                <c:pt idx="392">
                  <c:v>3.9518999999999975</c:v>
                </c:pt>
                <c:pt idx="393">
                  <c:v>3.9522999999999975</c:v>
                </c:pt>
                <c:pt idx="394">
                  <c:v>3.9313999999999987</c:v>
                </c:pt>
                <c:pt idx="395">
                  <c:v>3.9493</c:v>
                </c:pt>
                <c:pt idx="396">
                  <c:v>4.0010000000000003</c:v>
                </c:pt>
                <c:pt idx="397">
                  <c:v>4.0364000000000004</c:v>
                </c:pt>
                <c:pt idx="398">
                  <c:v>4.0126999999999997</c:v>
                </c:pt>
                <c:pt idx="399">
                  <c:v>4.0271999999999943</c:v>
                </c:pt>
                <c:pt idx="400">
                  <c:v>4.0124999999999975</c:v>
                </c:pt>
                <c:pt idx="401">
                  <c:v>4.0335999999999999</c:v>
                </c:pt>
                <c:pt idx="402">
                  <c:v>4.0143999999999975</c:v>
                </c:pt>
                <c:pt idx="403">
                  <c:v>3.9937999999999998</c:v>
                </c:pt>
                <c:pt idx="404">
                  <c:v>3.9794999999999972</c:v>
                </c:pt>
                <c:pt idx="405">
                  <c:v>3.9861</c:v>
                </c:pt>
                <c:pt idx="406">
                  <c:v>4.0114000000000001</c:v>
                </c:pt>
                <c:pt idx="407">
                  <c:v>3.9992999999999972</c:v>
                </c:pt>
                <c:pt idx="408">
                  <c:v>4.0282</c:v>
                </c:pt>
                <c:pt idx="409">
                  <c:v>4.0100999999999996</c:v>
                </c:pt>
                <c:pt idx="410">
                  <c:v>3.9964999999999975</c:v>
                </c:pt>
                <c:pt idx="411">
                  <c:v>3.9971000000000001</c:v>
                </c:pt>
                <c:pt idx="412">
                  <c:v>4.0266999999999999</c:v>
                </c:pt>
                <c:pt idx="413">
                  <c:v>4.0258999999999965</c:v>
                </c:pt>
                <c:pt idx="414">
                  <c:v>4.0434999999999999</c:v>
                </c:pt>
                <c:pt idx="415">
                  <c:v>4.0344999999999995</c:v>
                </c:pt>
                <c:pt idx="416">
                  <c:v>4.0780000000000003</c:v>
                </c:pt>
                <c:pt idx="417">
                  <c:v>4.0813000000000024</c:v>
                </c:pt>
                <c:pt idx="418">
                  <c:v>4.2200999999999995</c:v>
                </c:pt>
                <c:pt idx="419">
                  <c:v>4.1454999999999975</c:v>
                </c:pt>
                <c:pt idx="420">
                  <c:v>4.1624999999999943</c:v>
                </c:pt>
                <c:pt idx="421">
                  <c:v>4.1384999999999996</c:v>
                </c:pt>
                <c:pt idx="422">
                  <c:v>4.1449999999999942</c:v>
                </c:pt>
                <c:pt idx="423">
                  <c:v>4.1377999999999995</c:v>
                </c:pt>
                <c:pt idx="424">
                  <c:v>4.1837</c:v>
                </c:pt>
                <c:pt idx="425">
                  <c:v>4.1779999999999955</c:v>
                </c:pt>
                <c:pt idx="426">
                  <c:v>4.1702000000000004</c:v>
                </c:pt>
                <c:pt idx="427">
                  <c:v>4.1429999999999945</c:v>
                </c:pt>
                <c:pt idx="428">
                  <c:v>4.1670999999999943</c:v>
                </c:pt>
                <c:pt idx="429">
                  <c:v>4.1706000000000003</c:v>
                </c:pt>
                <c:pt idx="430">
                  <c:v>4.1520999999999955</c:v>
                </c:pt>
                <c:pt idx="431">
                  <c:v>4.1429999999999945</c:v>
                </c:pt>
                <c:pt idx="432">
                  <c:v>4.1544999999999943</c:v>
                </c:pt>
                <c:pt idx="433">
                  <c:v>4.1393000000000004</c:v>
                </c:pt>
                <c:pt idx="434">
                  <c:v>4.1471999999999944</c:v>
                </c:pt>
                <c:pt idx="435">
                  <c:v>4.1896000000000004</c:v>
                </c:pt>
                <c:pt idx="436">
                  <c:v>4.2197000000000013</c:v>
                </c:pt>
                <c:pt idx="437">
                  <c:v>4.2366000000000064</c:v>
                </c:pt>
                <c:pt idx="438">
                  <c:v>4.2011000000000003</c:v>
                </c:pt>
                <c:pt idx="439">
                  <c:v>4.2617000000000003</c:v>
                </c:pt>
                <c:pt idx="440">
                  <c:v>4.2972000000000001</c:v>
                </c:pt>
                <c:pt idx="441">
                  <c:v>4.3289999999999944</c:v>
                </c:pt>
                <c:pt idx="442">
                  <c:v>4.3304999999999998</c:v>
                </c:pt>
                <c:pt idx="443">
                  <c:v>4.3853999999999997</c:v>
                </c:pt>
                <c:pt idx="444">
                  <c:v>4.3204999999999965</c:v>
                </c:pt>
                <c:pt idx="445">
                  <c:v>4.2742000000000004</c:v>
                </c:pt>
                <c:pt idx="446">
                  <c:v>4.3690999999999995</c:v>
                </c:pt>
                <c:pt idx="447">
                  <c:v>4.3787000000000003</c:v>
                </c:pt>
                <c:pt idx="448">
                  <c:v>4.4738000000000024</c:v>
                </c:pt>
                <c:pt idx="449">
                  <c:v>4.5170999999999975</c:v>
                </c:pt>
                <c:pt idx="450">
                  <c:v>4.42</c:v>
                </c:pt>
                <c:pt idx="451">
                  <c:v>4.410700000000000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3113088"/>
        <c:axId val="103114624"/>
      </c:lineChart>
      <c:dateAx>
        <c:axId val="103113088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nextTo"/>
        <c:spPr>
          <a:effectLst/>
        </c:spPr>
        <c:txPr>
          <a:bodyPr rot="0"/>
          <a:lstStyle/>
          <a:p>
            <a:pPr rtl="0">
              <a:defRPr sz="1050" b="0" i="0" u="none" strike="noStrike" baseline="0"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3114624"/>
        <c:crosses val="autoZero"/>
        <c:auto val="1"/>
        <c:lblOffset val="100"/>
        <c:baseTimeUnit val="days"/>
      </c:dateAx>
      <c:valAx>
        <c:axId val="103114624"/>
        <c:scaling>
          <c:orientation val="minMax"/>
          <c:max val="4.4000000000000004"/>
          <c:min val="3.8"/>
        </c:scaling>
        <c:delete val="0"/>
        <c:axPos val="l"/>
        <c:majorGridlines>
          <c:spPr>
            <a:ln w="3175">
              <a:solidFill>
                <a:srgbClr val="C0C0C0"/>
              </a:solidFill>
              <a:prstDash val="solid"/>
            </a:ln>
          </c:spPr>
        </c:majorGridlines>
        <c:numFmt formatCode="0.00" sourceLinked="0"/>
        <c:majorTickMark val="out"/>
        <c:minorTickMark val="none"/>
        <c:tickLblPos val="nextTo"/>
        <c:spPr>
          <a:effectLst/>
        </c:spPr>
        <c:txPr>
          <a:bodyPr/>
          <a:lstStyle/>
          <a:p>
            <a:pPr>
              <a:defRPr sz="1050" b="0" i="0" u="none" strike="noStrike" baseline="0">
                <a:solidFill>
                  <a:srgbClr val="000000"/>
                </a:solidFill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3113088"/>
        <c:crosses val="autoZero"/>
        <c:crossBetween val="between"/>
      </c:valAx>
      <c:spPr>
        <a:solidFill>
          <a:srgbClr val="FFFFFF"/>
        </a:solidFill>
        <a:ln w="25400">
          <a:noFill/>
        </a:ln>
      </c:spPr>
    </c:plotArea>
    <c:plotVisOnly val="1"/>
    <c:dispBlanksAs val="gap"/>
    <c:showDLblsOverMax val="0"/>
  </c:chart>
  <c:spPr>
    <a:ln w="25400">
      <a:noFill/>
    </a:ln>
  </c:spPr>
  <c:txPr>
    <a:bodyPr/>
    <a:lstStyle/>
    <a:p>
      <a:pPr>
        <a:defRPr sz="800"/>
      </a:pPr>
      <a:endParaRPr lang="pl-PL"/>
    </a:p>
  </c:txPr>
  <c:externalData r:id="rId1">
    <c:autoUpdate val="0"/>
  </c:externalData>
  <c:userShapes r:id="rId2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606517935258204E-2"/>
          <c:y val="4.8541848935549685E-2"/>
          <c:w val="0.82960651793525808"/>
          <c:h val="0.80625552666692724"/>
        </c:manualLayout>
      </c:layout>
      <c:lineChart>
        <c:grouping val="standard"/>
        <c:varyColors val="0"/>
        <c:ser>
          <c:idx val="0"/>
          <c:order val="0"/>
          <c:tx>
            <c:strRef>
              <c:f>Daily!$C$1</c:f>
              <c:strCache>
                <c:ptCount val="1"/>
                <c:pt idx="0">
                  <c:v>EURPLN (LA)</c:v>
                </c:pt>
              </c:strCache>
            </c:strRef>
          </c:tx>
          <c:spPr>
            <a:ln w="31750">
              <a:solidFill>
                <a:srgbClr val="0096EF"/>
              </a:solidFill>
              <a:prstDash val="solid"/>
            </a:ln>
          </c:spPr>
          <c:marker>
            <c:symbol val="none"/>
          </c:marker>
          <c:cat>
            <c:numRef>
              <c:f>Daily!$E$2763:$E$3100</c:f>
              <c:numCache>
                <c:formatCode>dd/mm/yy</c:formatCode>
                <c:ptCount val="338"/>
                <c:pt idx="0">
                  <c:v>40392</c:v>
                </c:pt>
                <c:pt idx="1">
                  <c:v>40393</c:v>
                </c:pt>
                <c:pt idx="2">
                  <c:v>40394</c:v>
                </c:pt>
                <c:pt idx="3">
                  <c:v>40395</c:v>
                </c:pt>
                <c:pt idx="4">
                  <c:v>40396</c:v>
                </c:pt>
                <c:pt idx="5">
                  <c:v>40399</c:v>
                </c:pt>
                <c:pt idx="6">
                  <c:v>40400</c:v>
                </c:pt>
                <c:pt idx="7">
                  <c:v>40401</c:v>
                </c:pt>
                <c:pt idx="8">
                  <c:v>40402</c:v>
                </c:pt>
                <c:pt idx="9">
                  <c:v>40403</c:v>
                </c:pt>
                <c:pt idx="10">
                  <c:v>40406</c:v>
                </c:pt>
                <c:pt idx="11">
                  <c:v>40407</c:v>
                </c:pt>
                <c:pt idx="12">
                  <c:v>40408</c:v>
                </c:pt>
                <c:pt idx="13">
                  <c:v>40409</c:v>
                </c:pt>
                <c:pt idx="14">
                  <c:v>40410</c:v>
                </c:pt>
                <c:pt idx="15">
                  <c:v>40413</c:v>
                </c:pt>
                <c:pt idx="16">
                  <c:v>40414</c:v>
                </c:pt>
                <c:pt idx="17">
                  <c:v>40415</c:v>
                </c:pt>
                <c:pt idx="18">
                  <c:v>40416</c:v>
                </c:pt>
                <c:pt idx="19">
                  <c:v>40417</c:v>
                </c:pt>
                <c:pt idx="20">
                  <c:v>40420</c:v>
                </c:pt>
                <c:pt idx="21">
                  <c:v>40421</c:v>
                </c:pt>
                <c:pt idx="22">
                  <c:v>40422</c:v>
                </c:pt>
                <c:pt idx="23">
                  <c:v>40423</c:v>
                </c:pt>
                <c:pt idx="24">
                  <c:v>40424</c:v>
                </c:pt>
                <c:pt idx="25">
                  <c:v>40427</c:v>
                </c:pt>
                <c:pt idx="26">
                  <c:v>40428</c:v>
                </c:pt>
                <c:pt idx="27">
                  <c:v>40429</c:v>
                </c:pt>
                <c:pt idx="28">
                  <c:v>40430</c:v>
                </c:pt>
                <c:pt idx="29">
                  <c:v>40431</c:v>
                </c:pt>
                <c:pt idx="30">
                  <c:v>40434</c:v>
                </c:pt>
                <c:pt idx="31">
                  <c:v>40435</c:v>
                </c:pt>
                <c:pt idx="32">
                  <c:v>40436</c:v>
                </c:pt>
                <c:pt idx="33">
                  <c:v>40437</c:v>
                </c:pt>
                <c:pt idx="34">
                  <c:v>40438</c:v>
                </c:pt>
                <c:pt idx="35">
                  <c:v>40441</c:v>
                </c:pt>
                <c:pt idx="36">
                  <c:v>40442</c:v>
                </c:pt>
                <c:pt idx="37">
                  <c:v>40443</c:v>
                </c:pt>
                <c:pt idx="38">
                  <c:v>40444</c:v>
                </c:pt>
                <c:pt idx="39">
                  <c:v>40445</c:v>
                </c:pt>
                <c:pt idx="40">
                  <c:v>40448</c:v>
                </c:pt>
                <c:pt idx="41">
                  <c:v>40449</c:v>
                </c:pt>
                <c:pt idx="42">
                  <c:v>40450</c:v>
                </c:pt>
                <c:pt idx="43">
                  <c:v>40451</c:v>
                </c:pt>
                <c:pt idx="44">
                  <c:v>40452</c:v>
                </c:pt>
                <c:pt idx="45">
                  <c:v>40455</c:v>
                </c:pt>
                <c:pt idx="46">
                  <c:v>40456</c:v>
                </c:pt>
                <c:pt idx="47">
                  <c:v>40457</c:v>
                </c:pt>
                <c:pt idx="48">
                  <c:v>40458</c:v>
                </c:pt>
                <c:pt idx="49">
                  <c:v>40459</c:v>
                </c:pt>
                <c:pt idx="50">
                  <c:v>40462</c:v>
                </c:pt>
                <c:pt idx="51">
                  <c:v>40463</c:v>
                </c:pt>
                <c:pt idx="52">
                  <c:v>40464</c:v>
                </c:pt>
                <c:pt idx="53">
                  <c:v>40465</c:v>
                </c:pt>
                <c:pt idx="54">
                  <c:v>40466</c:v>
                </c:pt>
                <c:pt idx="55">
                  <c:v>40469</c:v>
                </c:pt>
                <c:pt idx="56">
                  <c:v>40470</c:v>
                </c:pt>
                <c:pt idx="57">
                  <c:v>40471</c:v>
                </c:pt>
                <c:pt idx="58">
                  <c:v>40472</c:v>
                </c:pt>
                <c:pt idx="59">
                  <c:v>40473</c:v>
                </c:pt>
                <c:pt idx="60">
                  <c:v>40476</c:v>
                </c:pt>
                <c:pt idx="61">
                  <c:v>40477</c:v>
                </c:pt>
                <c:pt idx="62">
                  <c:v>40478</c:v>
                </c:pt>
                <c:pt idx="63">
                  <c:v>40479</c:v>
                </c:pt>
                <c:pt idx="64">
                  <c:v>40480</c:v>
                </c:pt>
                <c:pt idx="65">
                  <c:v>40483</c:v>
                </c:pt>
                <c:pt idx="66">
                  <c:v>40484</c:v>
                </c:pt>
                <c:pt idx="67">
                  <c:v>40485</c:v>
                </c:pt>
                <c:pt idx="68">
                  <c:v>40486</c:v>
                </c:pt>
                <c:pt idx="69">
                  <c:v>40487</c:v>
                </c:pt>
                <c:pt idx="70">
                  <c:v>40490</c:v>
                </c:pt>
                <c:pt idx="71">
                  <c:v>40491</c:v>
                </c:pt>
                <c:pt idx="72">
                  <c:v>40492</c:v>
                </c:pt>
                <c:pt idx="73">
                  <c:v>40493</c:v>
                </c:pt>
                <c:pt idx="74">
                  <c:v>40494</c:v>
                </c:pt>
                <c:pt idx="75">
                  <c:v>40497</c:v>
                </c:pt>
                <c:pt idx="76">
                  <c:v>40498</c:v>
                </c:pt>
                <c:pt idx="77">
                  <c:v>40499</c:v>
                </c:pt>
                <c:pt idx="78">
                  <c:v>40500</c:v>
                </c:pt>
                <c:pt idx="79">
                  <c:v>40501</c:v>
                </c:pt>
                <c:pt idx="80">
                  <c:v>40504</c:v>
                </c:pt>
                <c:pt idx="81">
                  <c:v>40505</c:v>
                </c:pt>
                <c:pt idx="82">
                  <c:v>40506</c:v>
                </c:pt>
                <c:pt idx="83">
                  <c:v>40507</c:v>
                </c:pt>
                <c:pt idx="84">
                  <c:v>40508</c:v>
                </c:pt>
                <c:pt idx="85">
                  <c:v>40511</c:v>
                </c:pt>
                <c:pt idx="86">
                  <c:v>40512</c:v>
                </c:pt>
                <c:pt idx="87">
                  <c:v>40513</c:v>
                </c:pt>
                <c:pt idx="88">
                  <c:v>40514</c:v>
                </c:pt>
                <c:pt idx="89">
                  <c:v>40515</c:v>
                </c:pt>
                <c:pt idx="90">
                  <c:v>40518</c:v>
                </c:pt>
                <c:pt idx="91">
                  <c:v>40519</c:v>
                </c:pt>
                <c:pt idx="92">
                  <c:v>40520</c:v>
                </c:pt>
                <c:pt idx="93">
                  <c:v>40521</c:v>
                </c:pt>
                <c:pt idx="94">
                  <c:v>40522</c:v>
                </c:pt>
                <c:pt idx="95">
                  <c:v>40525</c:v>
                </c:pt>
                <c:pt idx="96">
                  <c:v>40526</c:v>
                </c:pt>
                <c:pt idx="97">
                  <c:v>40527</c:v>
                </c:pt>
                <c:pt idx="98">
                  <c:v>40528</c:v>
                </c:pt>
                <c:pt idx="99">
                  <c:v>40529</c:v>
                </c:pt>
                <c:pt idx="100">
                  <c:v>40532</c:v>
                </c:pt>
                <c:pt idx="101">
                  <c:v>40533</c:v>
                </c:pt>
                <c:pt idx="102">
                  <c:v>40534</c:v>
                </c:pt>
                <c:pt idx="103">
                  <c:v>40535</c:v>
                </c:pt>
                <c:pt idx="104">
                  <c:v>40536</c:v>
                </c:pt>
                <c:pt idx="105">
                  <c:v>40539</c:v>
                </c:pt>
                <c:pt idx="106">
                  <c:v>40540</c:v>
                </c:pt>
                <c:pt idx="107">
                  <c:v>40541</c:v>
                </c:pt>
                <c:pt idx="108">
                  <c:v>40542</c:v>
                </c:pt>
                <c:pt idx="109">
                  <c:v>40543</c:v>
                </c:pt>
                <c:pt idx="110">
                  <c:v>40546</c:v>
                </c:pt>
                <c:pt idx="111">
                  <c:v>40547</c:v>
                </c:pt>
                <c:pt idx="112">
                  <c:v>40548</c:v>
                </c:pt>
                <c:pt idx="113">
                  <c:v>40549</c:v>
                </c:pt>
                <c:pt idx="114">
                  <c:v>40550</c:v>
                </c:pt>
                <c:pt idx="115">
                  <c:v>40553</c:v>
                </c:pt>
                <c:pt idx="116">
                  <c:v>40554</c:v>
                </c:pt>
                <c:pt idx="117">
                  <c:v>40555</c:v>
                </c:pt>
                <c:pt idx="118">
                  <c:v>40556</c:v>
                </c:pt>
                <c:pt idx="119">
                  <c:v>40557</c:v>
                </c:pt>
                <c:pt idx="120">
                  <c:v>40560</c:v>
                </c:pt>
                <c:pt idx="121">
                  <c:v>40561</c:v>
                </c:pt>
                <c:pt idx="122">
                  <c:v>40562</c:v>
                </c:pt>
                <c:pt idx="123">
                  <c:v>40563</c:v>
                </c:pt>
                <c:pt idx="124">
                  <c:v>40564</c:v>
                </c:pt>
                <c:pt idx="125">
                  <c:v>40567</c:v>
                </c:pt>
                <c:pt idx="126">
                  <c:v>40568</c:v>
                </c:pt>
                <c:pt idx="127">
                  <c:v>40569</c:v>
                </c:pt>
                <c:pt idx="128">
                  <c:v>40570</c:v>
                </c:pt>
                <c:pt idx="129">
                  <c:v>40571</c:v>
                </c:pt>
                <c:pt idx="130">
                  <c:v>40574</c:v>
                </c:pt>
                <c:pt idx="131">
                  <c:v>40575</c:v>
                </c:pt>
                <c:pt idx="132">
                  <c:v>40576</c:v>
                </c:pt>
                <c:pt idx="133">
                  <c:v>40577</c:v>
                </c:pt>
                <c:pt idx="134">
                  <c:v>40578</c:v>
                </c:pt>
                <c:pt idx="135">
                  <c:v>40581</c:v>
                </c:pt>
                <c:pt idx="136">
                  <c:v>40582</c:v>
                </c:pt>
                <c:pt idx="137">
                  <c:v>40583</c:v>
                </c:pt>
                <c:pt idx="138">
                  <c:v>40584</c:v>
                </c:pt>
                <c:pt idx="139">
                  <c:v>40585</c:v>
                </c:pt>
                <c:pt idx="140">
                  <c:v>40588</c:v>
                </c:pt>
                <c:pt idx="141">
                  <c:v>40589</c:v>
                </c:pt>
                <c:pt idx="142">
                  <c:v>40590</c:v>
                </c:pt>
                <c:pt idx="143">
                  <c:v>40591</c:v>
                </c:pt>
                <c:pt idx="144">
                  <c:v>40592</c:v>
                </c:pt>
                <c:pt idx="145">
                  <c:v>40595</c:v>
                </c:pt>
                <c:pt idx="146">
                  <c:v>40596</c:v>
                </c:pt>
                <c:pt idx="147">
                  <c:v>40597</c:v>
                </c:pt>
                <c:pt idx="148">
                  <c:v>40598</c:v>
                </c:pt>
                <c:pt idx="149">
                  <c:v>40599</c:v>
                </c:pt>
                <c:pt idx="150">
                  <c:v>40602</c:v>
                </c:pt>
                <c:pt idx="151">
                  <c:v>40603</c:v>
                </c:pt>
                <c:pt idx="152">
                  <c:v>40604</c:v>
                </c:pt>
                <c:pt idx="153">
                  <c:v>40605</c:v>
                </c:pt>
                <c:pt idx="154">
                  <c:v>40606</c:v>
                </c:pt>
                <c:pt idx="155">
                  <c:v>40609</c:v>
                </c:pt>
                <c:pt idx="156">
                  <c:v>40610</c:v>
                </c:pt>
                <c:pt idx="157">
                  <c:v>40611</c:v>
                </c:pt>
                <c:pt idx="158">
                  <c:v>40612</c:v>
                </c:pt>
                <c:pt idx="159">
                  <c:v>40613</c:v>
                </c:pt>
                <c:pt idx="160">
                  <c:v>40616</c:v>
                </c:pt>
                <c:pt idx="161">
                  <c:v>40617</c:v>
                </c:pt>
                <c:pt idx="162">
                  <c:v>40618</c:v>
                </c:pt>
                <c:pt idx="163">
                  <c:v>40619</c:v>
                </c:pt>
                <c:pt idx="164">
                  <c:v>40620</c:v>
                </c:pt>
                <c:pt idx="165">
                  <c:v>40623</c:v>
                </c:pt>
                <c:pt idx="166">
                  <c:v>40624</c:v>
                </c:pt>
                <c:pt idx="167">
                  <c:v>40625</c:v>
                </c:pt>
                <c:pt idx="168">
                  <c:v>40626</c:v>
                </c:pt>
                <c:pt idx="169">
                  <c:v>40627</c:v>
                </c:pt>
                <c:pt idx="170">
                  <c:v>40630</c:v>
                </c:pt>
                <c:pt idx="171">
                  <c:v>40631</c:v>
                </c:pt>
                <c:pt idx="172">
                  <c:v>40632</c:v>
                </c:pt>
                <c:pt idx="173">
                  <c:v>40633</c:v>
                </c:pt>
                <c:pt idx="174">
                  <c:v>40634</c:v>
                </c:pt>
                <c:pt idx="175">
                  <c:v>40637</c:v>
                </c:pt>
                <c:pt idx="176">
                  <c:v>40638</c:v>
                </c:pt>
                <c:pt idx="177">
                  <c:v>40639</c:v>
                </c:pt>
                <c:pt idx="178">
                  <c:v>40640</c:v>
                </c:pt>
                <c:pt idx="179">
                  <c:v>40641</c:v>
                </c:pt>
                <c:pt idx="180">
                  <c:v>40644</c:v>
                </c:pt>
                <c:pt idx="181">
                  <c:v>40645</c:v>
                </c:pt>
                <c:pt idx="182">
                  <c:v>40646</c:v>
                </c:pt>
                <c:pt idx="183">
                  <c:v>40647</c:v>
                </c:pt>
                <c:pt idx="184">
                  <c:v>40648</c:v>
                </c:pt>
                <c:pt idx="185">
                  <c:v>40651</c:v>
                </c:pt>
                <c:pt idx="186">
                  <c:v>40652</c:v>
                </c:pt>
                <c:pt idx="187">
                  <c:v>40653</c:v>
                </c:pt>
                <c:pt idx="188">
                  <c:v>40654</c:v>
                </c:pt>
                <c:pt idx="189">
                  <c:v>40655</c:v>
                </c:pt>
                <c:pt idx="190">
                  <c:v>40658</c:v>
                </c:pt>
                <c:pt idx="191">
                  <c:v>40659</c:v>
                </c:pt>
                <c:pt idx="192">
                  <c:v>40660</c:v>
                </c:pt>
                <c:pt idx="193">
                  <c:v>40661</c:v>
                </c:pt>
                <c:pt idx="194">
                  <c:v>40662</c:v>
                </c:pt>
                <c:pt idx="195">
                  <c:v>40665</c:v>
                </c:pt>
                <c:pt idx="196">
                  <c:v>40666</c:v>
                </c:pt>
                <c:pt idx="197">
                  <c:v>40667</c:v>
                </c:pt>
                <c:pt idx="198">
                  <c:v>40668</c:v>
                </c:pt>
                <c:pt idx="199">
                  <c:v>40669</c:v>
                </c:pt>
                <c:pt idx="200">
                  <c:v>40672</c:v>
                </c:pt>
                <c:pt idx="201">
                  <c:v>40673</c:v>
                </c:pt>
                <c:pt idx="202">
                  <c:v>40674</c:v>
                </c:pt>
                <c:pt idx="203">
                  <c:v>40675</c:v>
                </c:pt>
                <c:pt idx="204">
                  <c:v>40676</c:v>
                </c:pt>
                <c:pt idx="205">
                  <c:v>40679</c:v>
                </c:pt>
                <c:pt idx="206">
                  <c:v>40680</c:v>
                </c:pt>
                <c:pt idx="207">
                  <c:v>40681</c:v>
                </c:pt>
                <c:pt idx="208">
                  <c:v>40682</c:v>
                </c:pt>
                <c:pt idx="209">
                  <c:v>40683</c:v>
                </c:pt>
                <c:pt idx="210">
                  <c:v>40686</c:v>
                </c:pt>
                <c:pt idx="211">
                  <c:v>40687</c:v>
                </c:pt>
                <c:pt idx="212">
                  <c:v>40688</c:v>
                </c:pt>
                <c:pt idx="213">
                  <c:v>40689</c:v>
                </c:pt>
                <c:pt idx="214">
                  <c:v>40690</c:v>
                </c:pt>
                <c:pt idx="215">
                  <c:v>40693</c:v>
                </c:pt>
                <c:pt idx="216">
                  <c:v>40694</c:v>
                </c:pt>
                <c:pt idx="217">
                  <c:v>40695</c:v>
                </c:pt>
                <c:pt idx="218">
                  <c:v>40696</c:v>
                </c:pt>
                <c:pt idx="219">
                  <c:v>40697</c:v>
                </c:pt>
                <c:pt idx="220">
                  <c:v>40700</c:v>
                </c:pt>
                <c:pt idx="221">
                  <c:v>40701</c:v>
                </c:pt>
                <c:pt idx="222">
                  <c:v>40702</c:v>
                </c:pt>
                <c:pt idx="223">
                  <c:v>40703</c:v>
                </c:pt>
                <c:pt idx="224">
                  <c:v>40704</c:v>
                </c:pt>
                <c:pt idx="225">
                  <c:v>40707</c:v>
                </c:pt>
                <c:pt idx="226">
                  <c:v>40708</c:v>
                </c:pt>
                <c:pt idx="227">
                  <c:v>40709</c:v>
                </c:pt>
                <c:pt idx="228">
                  <c:v>40710</c:v>
                </c:pt>
                <c:pt idx="229">
                  <c:v>40711</c:v>
                </c:pt>
                <c:pt idx="230">
                  <c:v>40714</c:v>
                </c:pt>
                <c:pt idx="231">
                  <c:v>40715</c:v>
                </c:pt>
                <c:pt idx="232">
                  <c:v>40716</c:v>
                </c:pt>
                <c:pt idx="233">
                  <c:v>40717</c:v>
                </c:pt>
                <c:pt idx="234">
                  <c:v>40718</c:v>
                </c:pt>
                <c:pt idx="235">
                  <c:v>40721</c:v>
                </c:pt>
                <c:pt idx="236">
                  <c:v>40722</c:v>
                </c:pt>
                <c:pt idx="237">
                  <c:v>40723</c:v>
                </c:pt>
                <c:pt idx="238">
                  <c:v>40724</c:v>
                </c:pt>
                <c:pt idx="239">
                  <c:v>40725</c:v>
                </c:pt>
                <c:pt idx="240">
                  <c:v>40728</c:v>
                </c:pt>
                <c:pt idx="241">
                  <c:v>40729</c:v>
                </c:pt>
                <c:pt idx="242">
                  <c:v>40730</c:v>
                </c:pt>
                <c:pt idx="243">
                  <c:v>40731</c:v>
                </c:pt>
                <c:pt idx="244">
                  <c:v>40732</c:v>
                </c:pt>
                <c:pt idx="245">
                  <c:v>40735</c:v>
                </c:pt>
                <c:pt idx="246">
                  <c:v>40736</c:v>
                </c:pt>
                <c:pt idx="247">
                  <c:v>40737</c:v>
                </c:pt>
                <c:pt idx="248">
                  <c:v>40738</c:v>
                </c:pt>
                <c:pt idx="249">
                  <c:v>40739</c:v>
                </c:pt>
                <c:pt idx="250">
                  <c:v>40742</c:v>
                </c:pt>
                <c:pt idx="251">
                  <c:v>40743</c:v>
                </c:pt>
                <c:pt idx="252">
                  <c:v>40744</c:v>
                </c:pt>
                <c:pt idx="253">
                  <c:v>40745</c:v>
                </c:pt>
                <c:pt idx="254">
                  <c:v>40746</c:v>
                </c:pt>
                <c:pt idx="255">
                  <c:v>40749</c:v>
                </c:pt>
                <c:pt idx="256">
                  <c:v>40750</c:v>
                </c:pt>
                <c:pt idx="257">
                  <c:v>40751</c:v>
                </c:pt>
                <c:pt idx="258">
                  <c:v>40752</c:v>
                </c:pt>
                <c:pt idx="259">
                  <c:v>40753</c:v>
                </c:pt>
                <c:pt idx="260">
                  <c:v>40756</c:v>
                </c:pt>
                <c:pt idx="261">
                  <c:v>40757</c:v>
                </c:pt>
                <c:pt idx="262">
                  <c:v>40758</c:v>
                </c:pt>
                <c:pt idx="263">
                  <c:v>40759</c:v>
                </c:pt>
                <c:pt idx="264">
                  <c:v>40760</c:v>
                </c:pt>
                <c:pt idx="265">
                  <c:v>40763</c:v>
                </c:pt>
                <c:pt idx="266">
                  <c:v>40764</c:v>
                </c:pt>
                <c:pt idx="267">
                  <c:v>40765</c:v>
                </c:pt>
                <c:pt idx="268">
                  <c:v>40766</c:v>
                </c:pt>
                <c:pt idx="269">
                  <c:v>40767</c:v>
                </c:pt>
                <c:pt idx="270">
                  <c:v>40770</c:v>
                </c:pt>
                <c:pt idx="271">
                  <c:v>40771</c:v>
                </c:pt>
                <c:pt idx="272">
                  <c:v>40772</c:v>
                </c:pt>
                <c:pt idx="273">
                  <c:v>40773</c:v>
                </c:pt>
                <c:pt idx="274">
                  <c:v>40774</c:v>
                </c:pt>
                <c:pt idx="275">
                  <c:v>40777</c:v>
                </c:pt>
                <c:pt idx="276">
                  <c:v>40778</c:v>
                </c:pt>
                <c:pt idx="277">
                  <c:v>40779</c:v>
                </c:pt>
                <c:pt idx="278">
                  <c:v>40780</c:v>
                </c:pt>
                <c:pt idx="279">
                  <c:v>40781</c:v>
                </c:pt>
                <c:pt idx="280">
                  <c:v>40784</c:v>
                </c:pt>
                <c:pt idx="281">
                  <c:v>40785</c:v>
                </c:pt>
                <c:pt idx="282">
                  <c:v>40786</c:v>
                </c:pt>
                <c:pt idx="283">
                  <c:v>40787</c:v>
                </c:pt>
                <c:pt idx="284">
                  <c:v>40788</c:v>
                </c:pt>
                <c:pt idx="285">
                  <c:v>40791</c:v>
                </c:pt>
                <c:pt idx="286">
                  <c:v>40792</c:v>
                </c:pt>
                <c:pt idx="287">
                  <c:v>40793</c:v>
                </c:pt>
                <c:pt idx="288">
                  <c:v>40794</c:v>
                </c:pt>
                <c:pt idx="289">
                  <c:v>40795</c:v>
                </c:pt>
                <c:pt idx="290">
                  <c:v>40798</c:v>
                </c:pt>
                <c:pt idx="291">
                  <c:v>40799</c:v>
                </c:pt>
                <c:pt idx="292">
                  <c:v>40800</c:v>
                </c:pt>
                <c:pt idx="293">
                  <c:v>40801</c:v>
                </c:pt>
                <c:pt idx="294">
                  <c:v>40802</c:v>
                </c:pt>
                <c:pt idx="295">
                  <c:v>40805</c:v>
                </c:pt>
                <c:pt idx="296">
                  <c:v>40806</c:v>
                </c:pt>
                <c:pt idx="297">
                  <c:v>40807</c:v>
                </c:pt>
                <c:pt idx="298">
                  <c:v>40808</c:v>
                </c:pt>
                <c:pt idx="299">
                  <c:v>40809</c:v>
                </c:pt>
                <c:pt idx="300">
                  <c:v>40812</c:v>
                </c:pt>
                <c:pt idx="301">
                  <c:v>40801</c:v>
                </c:pt>
                <c:pt idx="302">
                  <c:v>40802</c:v>
                </c:pt>
                <c:pt idx="303">
                  <c:v>40803</c:v>
                </c:pt>
                <c:pt idx="304">
                  <c:v>40804</c:v>
                </c:pt>
                <c:pt idx="305">
                  <c:v>40805</c:v>
                </c:pt>
                <c:pt idx="306">
                  <c:v>40806</c:v>
                </c:pt>
                <c:pt idx="307">
                  <c:v>40807</c:v>
                </c:pt>
                <c:pt idx="308">
                  <c:v>40808</c:v>
                </c:pt>
                <c:pt idx="309">
                  <c:v>40809</c:v>
                </c:pt>
                <c:pt idx="310">
                  <c:v>40810</c:v>
                </c:pt>
                <c:pt idx="311">
                  <c:v>40811</c:v>
                </c:pt>
                <c:pt idx="312">
                  <c:v>40812</c:v>
                </c:pt>
                <c:pt idx="313">
                  <c:v>40813</c:v>
                </c:pt>
                <c:pt idx="314">
                  <c:v>40814</c:v>
                </c:pt>
                <c:pt idx="315">
                  <c:v>40815</c:v>
                </c:pt>
                <c:pt idx="316">
                  <c:v>40816</c:v>
                </c:pt>
                <c:pt idx="317">
                  <c:v>40817</c:v>
                </c:pt>
                <c:pt idx="318">
                  <c:v>40818</c:v>
                </c:pt>
                <c:pt idx="319">
                  <c:v>40819</c:v>
                </c:pt>
                <c:pt idx="320">
                  <c:v>40820</c:v>
                </c:pt>
                <c:pt idx="321">
                  <c:v>40821</c:v>
                </c:pt>
                <c:pt idx="322">
                  <c:v>40822</c:v>
                </c:pt>
                <c:pt idx="323">
                  <c:v>40823</c:v>
                </c:pt>
                <c:pt idx="324">
                  <c:v>40824</c:v>
                </c:pt>
                <c:pt idx="325">
                  <c:v>40825</c:v>
                </c:pt>
                <c:pt idx="326">
                  <c:v>40826</c:v>
                </c:pt>
                <c:pt idx="327">
                  <c:v>40827</c:v>
                </c:pt>
                <c:pt idx="328">
                  <c:v>40828</c:v>
                </c:pt>
                <c:pt idx="329">
                  <c:v>40829</c:v>
                </c:pt>
                <c:pt idx="330">
                  <c:v>40830</c:v>
                </c:pt>
                <c:pt idx="331">
                  <c:v>40831</c:v>
                </c:pt>
                <c:pt idx="332">
                  <c:v>40832</c:v>
                </c:pt>
                <c:pt idx="333">
                  <c:v>40833</c:v>
                </c:pt>
                <c:pt idx="334">
                  <c:v>40834</c:v>
                </c:pt>
                <c:pt idx="335">
                  <c:v>40835</c:v>
                </c:pt>
                <c:pt idx="336">
                  <c:v>40836</c:v>
                </c:pt>
                <c:pt idx="337">
                  <c:v>40837</c:v>
                </c:pt>
              </c:numCache>
            </c:numRef>
          </c:cat>
          <c:val>
            <c:numRef>
              <c:f>Daily!$C$2763:$C$3100</c:f>
              <c:numCache>
                <c:formatCode>0.0000</c:formatCode>
                <c:ptCount val="338"/>
                <c:pt idx="0">
                  <c:v>3.9811999999999999</c:v>
                </c:pt>
                <c:pt idx="1">
                  <c:v>4.0048999999999975</c:v>
                </c:pt>
                <c:pt idx="2">
                  <c:v>3.9854000000000003</c:v>
                </c:pt>
                <c:pt idx="3">
                  <c:v>3.9913999999999987</c:v>
                </c:pt>
                <c:pt idx="4">
                  <c:v>3.9877000000000002</c:v>
                </c:pt>
                <c:pt idx="5">
                  <c:v>3.9647000000000001</c:v>
                </c:pt>
                <c:pt idx="6">
                  <c:v>3.9710999999999967</c:v>
                </c:pt>
                <c:pt idx="7">
                  <c:v>4.0076999999999998</c:v>
                </c:pt>
                <c:pt idx="8">
                  <c:v>4.0022000000000002</c:v>
                </c:pt>
                <c:pt idx="9">
                  <c:v>4.0030999999999999</c:v>
                </c:pt>
                <c:pt idx="10">
                  <c:v>3.9830000000000001</c:v>
                </c:pt>
                <c:pt idx="11">
                  <c:v>3.9435000000000002</c:v>
                </c:pt>
                <c:pt idx="12">
                  <c:v>3.9385999999999997</c:v>
                </c:pt>
                <c:pt idx="13">
                  <c:v>3.9699</c:v>
                </c:pt>
                <c:pt idx="14">
                  <c:v>3.9773000000000001</c:v>
                </c:pt>
                <c:pt idx="15">
                  <c:v>4.0182000000000002</c:v>
                </c:pt>
                <c:pt idx="16">
                  <c:v>4.0080999999999998</c:v>
                </c:pt>
                <c:pt idx="17">
                  <c:v>3.9977999999999998</c:v>
                </c:pt>
                <c:pt idx="18">
                  <c:v>3.9998999999999967</c:v>
                </c:pt>
                <c:pt idx="19">
                  <c:v>3.9672999999999998</c:v>
                </c:pt>
                <c:pt idx="20">
                  <c:v>3.9973000000000001</c:v>
                </c:pt>
                <c:pt idx="21">
                  <c:v>4.0043999999999995</c:v>
                </c:pt>
                <c:pt idx="22">
                  <c:v>3.9701999999999997</c:v>
                </c:pt>
                <c:pt idx="23">
                  <c:v>3.9548999999999968</c:v>
                </c:pt>
                <c:pt idx="24">
                  <c:v>3.9405000000000001</c:v>
                </c:pt>
                <c:pt idx="25">
                  <c:v>3.9283999999999999</c:v>
                </c:pt>
                <c:pt idx="26">
                  <c:v>3.9463999999999997</c:v>
                </c:pt>
                <c:pt idx="27">
                  <c:v>3.9413999999999998</c:v>
                </c:pt>
                <c:pt idx="28">
                  <c:v>3.9405999999999999</c:v>
                </c:pt>
                <c:pt idx="29">
                  <c:v>3.9407999999999999</c:v>
                </c:pt>
                <c:pt idx="30">
                  <c:v>3.9325999999999977</c:v>
                </c:pt>
                <c:pt idx="31">
                  <c:v>3.9239000000000002</c:v>
                </c:pt>
                <c:pt idx="32">
                  <c:v>3.9417999999999997</c:v>
                </c:pt>
                <c:pt idx="33">
                  <c:v>3.9535</c:v>
                </c:pt>
                <c:pt idx="34">
                  <c:v>3.9577999999999998</c:v>
                </c:pt>
                <c:pt idx="35">
                  <c:v>3.9401000000000002</c:v>
                </c:pt>
                <c:pt idx="36">
                  <c:v>3.9413</c:v>
                </c:pt>
                <c:pt idx="37">
                  <c:v>3.9519999999999977</c:v>
                </c:pt>
                <c:pt idx="38">
                  <c:v>3.9715999999999987</c:v>
                </c:pt>
                <c:pt idx="39">
                  <c:v>3.9531000000000001</c:v>
                </c:pt>
                <c:pt idx="40">
                  <c:v>3.9575</c:v>
                </c:pt>
                <c:pt idx="41">
                  <c:v>3.9668999999999977</c:v>
                </c:pt>
                <c:pt idx="42">
                  <c:v>3.9769999999999968</c:v>
                </c:pt>
                <c:pt idx="43">
                  <c:v>3.9641000000000002</c:v>
                </c:pt>
                <c:pt idx="44">
                  <c:v>3.9419</c:v>
                </c:pt>
                <c:pt idx="45">
                  <c:v>3.9637000000000002</c:v>
                </c:pt>
                <c:pt idx="46">
                  <c:v>3.9462999999999977</c:v>
                </c:pt>
                <c:pt idx="47">
                  <c:v>3.9645999999999999</c:v>
                </c:pt>
                <c:pt idx="48">
                  <c:v>3.9727999999999977</c:v>
                </c:pt>
                <c:pt idx="49">
                  <c:v>3.9626999999999977</c:v>
                </c:pt>
                <c:pt idx="50">
                  <c:v>3.9558999999999962</c:v>
                </c:pt>
                <c:pt idx="51">
                  <c:v>3.9561999999999977</c:v>
                </c:pt>
                <c:pt idx="52">
                  <c:v>3.907</c:v>
                </c:pt>
                <c:pt idx="53">
                  <c:v>3.9028999999999967</c:v>
                </c:pt>
                <c:pt idx="54">
                  <c:v>3.8978999999999977</c:v>
                </c:pt>
                <c:pt idx="55">
                  <c:v>3.9249999999999998</c:v>
                </c:pt>
                <c:pt idx="56">
                  <c:v>3.9708999999999977</c:v>
                </c:pt>
                <c:pt idx="57">
                  <c:v>3.9514999999999967</c:v>
                </c:pt>
                <c:pt idx="58">
                  <c:v>3.9802</c:v>
                </c:pt>
                <c:pt idx="59">
                  <c:v>3.9624999999999977</c:v>
                </c:pt>
                <c:pt idx="60">
                  <c:v>3.9278</c:v>
                </c:pt>
                <c:pt idx="61">
                  <c:v>3.9319999999999977</c:v>
                </c:pt>
                <c:pt idx="62">
                  <c:v>3.9611000000000001</c:v>
                </c:pt>
                <c:pt idx="63">
                  <c:v>3.9741999999999997</c:v>
                </c:pt>
                <c:pt idx="64">
                  <c:v>3.9676999999999998</c:v>
                </c:pt>
                <c:pt idx="65">
                  <c:v>3.9676</c:v>
                </c:pt>
                <c:pt idx="66">
                  <c:v>3.9459999999999997</c:v>
                </c:pt>
                <c:pt idx="67">
                  <c:v>3.9117999999999977</c:v>
                </c:pt>
                <c:pt idx="68">
                  <c:v>3.9003000000000001</c:v>
                </c:pt>
                <c:pt idx="69">
                  <c:v>3.9121999999999977</c:v>
                </c:pt>
                <c:pt idx="70">
                  <c:v>3.9327999999999967</c:v>
                </c:pt>
                <c:pt idx="71">
                  <c:v>3.9039000000000001</c:v>
                </c:pt>
                <c:pt idx="72">
                  <c:v>3.8933</c:v>
                </c:pt>
                <c:pt idx="73">
                  <c:v>3.9304999999999977</c:v>
                </c:pt>
                <c:pt idx="74">
                  <c:v>3.9441000000000002</c:v>
                </c:pt>
                <c:pt idx="75">
                  <c:v>3.927</c:v>
                </c:pt>
                <c:pt idx="76">
                  <c:v>3.9668999999999977</c:v>
                </c:pt>
                <c:pt idx="77">
                  <c:v>3.9531999999999998</c:v>
                </c:pt>
                <c:pt idx="78">
                  <c:v>3.9327999999999967</c:v>
                </c:pt>
                <c:pt idx="79">
                  <c:v>3.9351000000000003</c:v>
                </c:pt>
                <c:pt idx="80">
                  <c:v>3.9457999999999998</c:v>
                </c:pt>
                <c:pt idx="81">
                  <c:v>3.9794999999999967</c:v>
                </c:pt>
                <c:pt idx="82">
                  <c:v>3.9603999999999999</c:v>
                </c:pt>
                <c:pt idx="83">
                  <c:v>3.9798999999999967</c:v>
                </c:pt>
                <c:pt idx="84">
                  <c:v>4.0363000000000024</c:v>
                </c:pt>
                <c:pt idx="85">
                  <c:v>4.0877999999999997</c:v>
                </c:pt>
                <c:pt idx="86">
                  <c:v>4.0230999999999995</c:v>
                </c:pt>
                <c:pt idx="87">
                  <c:v>3.9985999999999997</c:v>
                </c:pt>
                <c:pt idx="88">
                  <c:v>3.9847999999999999</c:v>
                </c:pt>
                <c:pt idx="89">
                  <c:v>3.9773000000000001</c:v>
                </c:pt>
                <c:pt idx="90">
                  <c:v>4.0077999999999996</c:v>
                </c:pt>
                <c:pt idx="91">
                  <c:v>4.0241999999999933</c:v>
                </c:pt>
                <c:pt idx="92">
                  <c:v>4.0288999999999975</c:v>
                </c:pt>
                <c:pt idx="93">
                  <c:v>4.0342000000000002</c:v>
                </c:pt>
                <c:pt idx="94">
                  <c:v>4.0282999999999998</c:v>
                </c:pt>
                <c:pt idx="95">
                  <c:v>3.9947999999999997</c:v>
                </c:pt>
                <c:pt idx="96">
                  <c:v>3.9889999999999999</c:v>
                </c:pt>
                <c:pt idx="97">
                  <c:v>3.9927999999999977</c:v>
                </c:pt>
                <c:pt idx="98">
                  <c:v>3.9864999999999977</c:v>
                </c:pt>
                <c:pt idx="99">
                  <c:v>3.9835000000000012</c:v>
                </c:pt>
                <c:pt idx="100">
                  <c:v>4.0034999999999998</c:v>
                </c:pt>
                <c:pt idx="101">
                  <c:v>4.0040999999999976</c:v>
                </c:pt>
                <c:pt idx="102">
                  <c:v>3.9893000000000001</c:v>
                </c:pt>
                <c:pt idx="103">
                  <c:v>3.964</c:v>
                </c:pt>
                <c:pt idx="104">
                  <c:v>3.9670999999999998</c:v>
                </c:pt>
                <c:pt idx="105">
                  <c:v>3.9811000000000001</c:v>
                </c:pt>
                <c:pt idx="106">
                  <c:v>3.9921999999999978</c:v>
                </c:pt>
                <c:pt idx="107">
                  <c:v>3.9674</c:v>
                </c:pt>
                <c:pt idx="108">
                  <c:v>3.9607999999999999</c:v>
                </c:pt>
                <c:pt idx="109">
                  <c:v>3.964</c:v>
                </c:pt>
                <c:pt idx="110">
                  <c:v>3.9503999999999997</c:v>
                </c:pt>
                <c:pt idx="111">
                  <c:v>3.8875999999999999</c:v>
                </c:pt>
                <c:pt idx="112">
                  <c:v>3.8700999999999977</c:v>
                </c:pt>
                <c:pt idx="113">
                  <c:v>3.8737999999999997</c:v>
                </c:pt>
                <c:pt idx="114">
                  <c:v>3.8867999999999987</c:v>
                </c:pt>
                <c:pt idx="115">
                  <c:v>3.9059999999999997</c:v>
                </c:pt>
                <c:pt idx="116">
                  <c:v>3.8575999999999997</c:v>
                </c:pt>
                <c:pt idx="117">
                  <c:v>3.8411999999999997</c:v>
                </c:pt>
                <c:pt idx="118">
                  <c:v>3.8714999999999966</c:v>
                </c:pt>
                <c:pt idx="119">
                  <c:v>3.8759999999999977</c:v>
                </c:pt>
                <c:pt idx="120">
                  <c:v>3.8695999999999997</c:v>
                </c:pt>
                <c:pt idx="121">
                  <c:v>3.8712999999999962</c:v>
                </c:pt>
                <c:pt idx="122">
                  <c:v>3.8717999999999977</c:v>
                </c:pt>
                <c:pt idx="123">
                  <c:v>3.8935</c:v>
                </c:pt>
                <c:pt idx="124">
                  <c:v>3.8779999999999997</c:v>
                </c:pt>
                <c:pt idx="125">
                  <c:v>3.8761999999999968</c:v>
                </c:pt>
                <c:pt idx="126">
                  <c:v>3.8801000000000001</c:v>
                </c:pt>
                <c:pt idx="127">
                  <c:v>3.8837999999999999</c:v>
                </c:pt>
                <c:pt idx="128">
                  <c:v>3.9063999999999997</c:v>
                </c:pt>
                <c:pt idx="129">
                  <c:v>3.9485000000000001</c:v>
                </c:pt>
                <c:pt idx="130">
                  <c:v>3.9311999999999987</c:v>
                </c:pt>
                <c:pt idx="131">
                  <c:v>3.8984999999999967</c:v>
                </c:pt>
                <c:pt idx="132">
                  <c:v>3.9041999999999999</c:v>
                </c:pt>
                <c:pt idx="133">
                  <c:v>3.9032999999999998</c:v>
                </c:pt>
                <c:pt idx="134">
                  <c:v>3.8903999999999987</c:v>
                </c:pt>
                <c:pt idx="135">
                  <c:v>3.8777999999999997</c:v>
                </c:pt>
                <c:pt idx="136">
                  <c:v>3.8903999999999987</c:v>
                </c:pt>
                <c:pt idx="137">
                  <c:v>3.9066999999999967</c:v>
                </c:pt>
                <c:pt idx="138">
                  <c:v>3.9207000000000001</c:v>
                </c:pt>
                <c:pt idx="139">
                  <c:v>3.9171</c:v>
                </c:pt>
                <c:pt idx="140">
                  <c:v>3.9474999999999998</c:v>
                </c:pt>
                <c:pt idx="141">
                  <c:v>3.9293</c:v>
                </c:pt>
                <c:pt idx="142">
                  <c:v>3.9053999999999998</c:v>
                </c:pt>
                <c:pt idx="143">
                  <c:v>3.9023999999999988</c:v>
                </c:pt>
                <c:pt idx="144">
                  <c:v>3.9166999999999961</c:v>
                </c:pt>
                <c:pt idx="145">
                  <c:v>3.9425999999999997</c:v>
                </c:pt>
                <c:pt idx="146">
                  <c:v>3.9744999999999977</c:v>
                </c:pt>
                <c:pt idx="147">
                  <c:v>3.9775</c:v>
                </c:pt>
                <c:pt idx="148">
                  <c:v>3.9797999999999987</c:v>
                </c:pt>
                <c:pt idx="149">
                  <c:v>3.9798999999999967</c:v>
                </c:pt>
                <c:pt idx="150">
                  <c:v>3.9561999999999977</c:v>
                </c:pt>
                <c:pt idx="151">
                  <c:v>3.9903999999999997</c:v>
                </c:pt>
                <c:pt idx="152">
                  <c:v>3.9746999999999977</c:v>
                </c:pt>
                <c:pt idx="153">
                  <c:v>3.9864999999999977</c:v>
                </c:pt>
                <c:pt idx="154">
                  <c:v>3.9790999999999968</c:v>
                </c:pt>
                <c:pt idx="155">
                  <c:v>3.9697</c:v>
                </c:pt>
                <c:pt idx="156">
                  <c:v>3.9703999999999997</c:v>
                </c:pt>
                <c:pt idx="157">
                  <c:v>3.9816000000000003</c:v>
                </c:pt>
                <c:pt idx="158">
                  <c:v>4.0164999999999997</c:v>
                </c:pt>
                <c:pt idx="159">
                  <c:v>4.0030000000000001</c:v>
                </c:pt>
                <c:pt idx="160">
                  <c:v>4.0270999999999955</c:v>
                </c:pt>
                <c:pt idx="161">
                  <c:v>4.0423</c:v>
                </c:pt>
                <c:pt idx="162">
                  <c:v>4.0995999999999997</c:v>
                </c:pt>
                <c:pt idx="163">
                  <c:v>4.0671999999999926</c:v>
                </c:pt>
                <c:pt idx="164">
                  <c:v>4.0674999999999955</c:v>
                </c:pt>
                <c:pt idx="165">
                  <c:v>4.0278999999999945</c:v>
                </c:pt>
                <c:pt idx="166">
                  <c:v>4.0324</c:v>
                </c:pt>
                <c:pt idx="167">
                  <c:v>4.0318000000000014</c:v>
                </c:pt>
                <c:pt idx="168">
                  <c:v>4.0144999999999955</c:v>
                </c:pt>
                <c:pt idx="169">
                  <c:v>4.0168999999999997</c:v>
                </c:pt>
                <c:pt idx="170">
                  <c:v>3.9996999999999967</c:v>
                </c:pt>
                <c:pt idx="171">
                  <c:v>3.9953999999999987</c:v>
                </c:pt>
                <c:pt idx="172">
                  <c:v>4.0157999999999996</c:v>
                </c:pt>
                <c:pt idx="173">
                  <c:v>4.0245999999999933</c:v>
                </c:pt>
                <c:pt idx="174">
                  <c:v>4.0175999999999945</c:v>
                </c:pt>
                <c:pt idx="175">
                  <c:v>4.0262000000000002</c:v>
                </c:pt>
                <c:pt idx="176">
                  <c:v>3.9937999999999998</c:v>
                </c:pt>
                <c:pt idx="177">
                  <c:v>3.9719999999999978</c:v>
                </c:pt>
                <c:pt idx="178">
                  <c:v>3.9670000000000001</c:v>
                </c:pt>
                <c:pt idx="179">
                  <c:v>3.9611000000000001</c:v>
                </c:pt>
                <c:pt idx="180">
                  <c:v>3.9683000000000002</c:v>
                </c:pt>
                <c:pt idx="181">
                  <c:v>3.9895</c:v>
                </c:pt>
                <c:pt idx="182">
                  <c:v>3.9622999999999977</c:v>
                </c:pt>
                <c:pt idx="183">
                  <c:v>3.9462999999999977</c:v>
                </c:pt>
                <c:pt idx="184">
                  <c:v>3.9503999999999997</c:v>
                </c:pt>
                <c:pt idx="185">
                  <c:v>3.9923999999999977</c:v>
                </c:pt>
                <c:pt idx="186">
                  <c:v>3.9670999999999998</c:v>
                </c:pt>
                <c:pt idx="187">
                  <c:v>3.9706999999999977</c:v>
                </c:pt>
                <c:pt idx="188">
                  <c:v>3.9439000000000002</c:v>
                </c:pt>
                <c:pt idx="189">
                  <c:v>3.9502999999999977</c:v>
                </c:pt>
                <c:pt idx="190">
                  <c:v>3.9466999999999977</c:v>
                </c:pt>
                <c:pt idx="191">
                  <c:v>3.9421999999999997</c:v>
                </c:pt>
                <c:pt idx="192">
                  <c:v>3.9249000000000001</c:v>
                </c:pt>
                <c:pt idx="193">
                  <c:v>3.9377999999999997</c:v>
                </c:pt>
                <c:pt idx="194">
                  <c:v>3.9290000000000003</c:v>
                </c:pt>
                <c:pt idx="195">
                  <c:v>3.9258999999999977</c:v>
                </c:pt>
                <c:pt idx="196">
                  <c:v>3.9409000000000001</c:v>
                </c:pt>
                <c:pt idx="197">
                  <c:v>3.9517999999999978</c:v>
                </c:pt>
                <c:pt idx="198">
                  <c:v>3.9680999999999997</c:v>
                </c:pt>
                <c:pt idx="199">
                  <c:v>3.9445999999999999</c:v>
                </c:pt>
                <c:pt idx="200">
                  <c:v>3.9295999999999998</c:v>
                </c:pt>
                <c:pt idx="201">
                  <c:v>3.9251</c:v>
                </c:pt>
                <c:pt idx="202">
                  <c:v>3.9127999999999967</c:v>
                </c:pt>
                <c:pt idx="203">
                  <c:v>3.9104999999999968</c:v>
                </c:pt>
                <c:pt idx="204">
                  <c:v>3.9390999999999967</c:v>
                </c:pt>
                <c:pt idx="205">
                  <c:v>3.9329999999999967</c:v>
                </c:pt>
                <c:pt idx="206">
                  <c:v>3.927</c:v>
                </c:pt>
                <c:pt idx="207">
                  <c:v>3.9145999999999987</c:v>
                </c:pt>
                <c:pt idx="208">
                  <c:v>3.92</c:v>
                </c:pt>
                <c:pt idx="209">
                  <c:v>3.9219999999999997</c:v>
                </c:pt>
                <c:pt idx="210">
                  <c:v>3.9483000000000001</c:v>
                </c:pt>
                <c:pt idx="211">
                  <c:v>3.9483999999999999</c:v>
                </c:pt>
                <c:pt idx="212">
                  <c:v>3.9649000000000001</c:v>
                </c:pt>
                <c:pt idx="213">
                  <c:v>3.9851000000000001</c:v>
                </c:pt>
                <c:pt idx="214">
                  <c:v>3.9678</c:v>
                </c:pt>
                <c:pt idx="215">
                  <c:v>3.9771999999999998</c:v>
                </c:pt>
                <c:pt idx="216">
                  <c:v>3.9489000000000001</c:v>
                </c:pt>
                <c:pt idx="217">
                  <c:v>3.9695</c:v>
                </c:pt>
                <c:pt idx="218">
                  <c:v>3.9477000000000002</c:v>
                </c:pt>
                <c:pt idx="219">
                  <c:v>3.9566999999999961</c:v>
                </c:pt>
                <c:pt idx="220">
                  <c:v>3.9603999999999999</c:v>
                </c:pt>
                <c:pt idx="221">
                  <c:v>3.9393999999999987</c:v>
                </c:pt>
                <c:pt idx="222">
                  <c:v>3.9511999999999987</c:v>
                </c:pt>
                <c:pt idx="223">
                  <c:v>3.9434</c:v>
                </c:pt>
                <c:pt idx="224">
                  <c:v>3.9393999999999987</c:v>
                </c:pt>
                <c:pt idx="225">
                  <c:v>3.9317999999999977</c:v>
                </c:pt>
                <c:pt idx="226">
                  <c:v>3.9325999999999977</c:v>
                </c:pt>
                <c:pt idx="227">
                  <c:v>3.9457</c:v>
                </c:pt>
                <c:pt idx="228">
                  <c:v>3.9835000000000012</c:v>
                </c:pt>
                <c:pt idx="229">
                  <c:v>3.9704999999999977</c:v>
                </c:pt>
                <c:pt idx="230">
                  <c:v>3.9872000000000001</c:v>
                </c:pt>
                <c:pt idx="231">
                  <c:v>3.9807000000000001</c:v>
                </c:pt>
                <c:pt idx="232">
                  <c:v>3.9835000000000012</c:v>
                </c:pt>
                <c:pt idx="233">
                  <c:v>3.9927999999999977</c:v>
                </c:pt>
                <c:pt idx="234">
                  <c:v>3.9870000000000001</c:v>
                </c:pt>
                <c:pt idx="235">
                  <c:v>3.9988999999999977</c:v>
                </c:pt>
                <c:pt idx="236">
                  <c:v>4.0102000000000002</c:v>
                </c:pt>
                <c:pt idx="237">
                  <c:v>3.9865999999999997</c:v>
                </c:pt>
                <c:pt idx="238">
                  <c:v>3.9771999999999998</c:v>
                </c:pt>
                <c:pt idx="239">
                  <c:v>3.9413999999999998</c:v>
                </c:pt>
                <c:pt idx="240">
                  <c:v>3.9380999999999977</c:v>
                </c:pt>
                <c:pt idx="241">
                  <c:v>3.9518999999999966</c:v>
                </c:pt>
                <c:pt idx="242">
                  <c:v>3.9522999999999966</c:v>
                </c:pt>
                <c:pt idx="243">
                  <c:v>3.9313999999999987</c:v>
                </c:pt>
                <c:pt idx="244">
                  <c:v>3.9493</c:v>
                </c:pt>
                <c:pt idx="245">
                  <c:v>4.0010000000000003</c:v>
                </c:pt>
                <c:pt idx="246">
                  <c:v>4.0364000000000004</c:v>
                </c:pt>
                <c:pt idx="247">
                  <c:v>4.0126999999999997</c:v>
                </c:pt>
                <c:pt idx="248">
                  <c:v>4.0271999999999926</c:v>
                </c:pt>
                <c:pt idx="249">
                  <c:v>4.0124999999999975</c:v>
                </c:pt>
                <c:pt idx="250">
                  <c:v>4.0335999999999999</c:v>
                </c:pt>
                <c:pt idx="251">
                  <c:v>4.0143999999999975</c:v>
                </c:pt>
                <c:pt idx="252">
                  <c:v>3.9937999999999998</c:v>
                </c:pt>
                <c:pt idx="253">
                  <c:v>3.9794999999999967</c:v>
                </c:pt>
                <c:pt idx="254">
                  <c:v>3.9861</c:v>
                </c:pt>
                <c:pt idx="255">
                  <c:v>4.0114000000000001</c:v>
                </c:pt>
                <c:pt idx="256">
                  <c:v>3.9992999999999967</c:v>
                </c:pt>
                <c:pt idx="257">
                  <c:v>4.0282</c:v>
                </c:pt>
                <c:pt idx="258">
                  <c:v>4.0100999999999996</c:v>
                </c:pt>
                <c:pt idx="259">
                  <c:v>3.9964999999999966</c:v>
                </c:pt>
                <c:pt idx="260">
                  <c:v>3.9971000000000001</c:v>
                </c:pt>
                <c:pt idx="261">
                  <c:v>4.0266999999999999</c:v>
                </c:pt>
                <c:pt idx="262">
                  <c:v>4.0258999999999965</c:v>
                </c:pt>
                <c:pt idx="263">
                  <c:v>4.0434999999999999</c:v>
                </c:pt>
                <c:pt idx="264">
                  <c:v>4.0344999999999995</c:v>
                </c:pt>
                <c:pt idx="265">
                  <c:v>4.0780000000000003</c:v>
                </c:pt>
                <c:pt idx="266">
                  <c:v>4.0813000000000024</c:v>
                </c:pt>
                <c:pt idx="267">
                  <c:v>4.2200999999999995</c:v>
                </c:pt>
                <c:pt idx="268">
                  <c:v>4.1454999999999975</c:v>
                </c:pt>
                <c:pt idx="269">
                  <c:v>4.1624999999999917</c:v>
                </c:pt>
                <c:pt idx="270">
                  <c:v>4.1384999999999996</c:v>
                </c:pt>
                <c:pt idx="271">
                  <c:v>4.1449999999999916</c:v>
                </c:pt>
                <c:pt idx="272">
                  <c:v>4.1377999999999995</c:v>
                </c:pt>
                <c:pt idx="273">
                  <c:v>4.1837</c:v>
                </c:pt>
                <c:pt idx="274">
                  <c:v>4.1779999999999955</c:v>
                </c:pt>
                <c:pt idx="275">
                  <c:v>4.1702000000000004</c:v>
                </c:pt>
                <c:pt idx="276">
                  <c:v>4.1429999999999945</c:v>
                </c:pt>
                <c:pt idx="277">
                  <c:v>4.1670999999999916</c:v>
                </c:pt>
                <c:pt idx="278">
                  <c:v>4.1706000000000003</c:v>
                </c:pt>
                <c:pt idx="279">
                  <c:v>4.1520999999999955</c:v>
                </c:pt>
                <c:pt idx="280">
                  <c:v>4.1429999999999945</c:v>
                </c:pt>
                <c:pt idx="281">
                  <c:v>4.1544999999999916</c:v>
                </c:pt>
                <c:pt idx="282">
                  <c:v>4.1393000000000004</c:v>
                </c:pt>
                <c:pt idx="283">
                  <c:v>4.1471999999999927</c:v>
                </c:pt>
                <c:pt idx="284">
                  <c:v>4.1896000000000004</c:v>
                </c:pt>
                <c:pt idx="285">
                  <c:v>4.2197000000000013</c:v>
                </c:pt>
                <c:pt idx="286">
                  <c:v>4.2366000000000081</c:v>
                </c:pt>
                <c:pt idx="287">
                  <c:v>4.2011000000000003</c:v>
                </c:pt>
                <c:pt idx="288">
                  <c:v>4.2617000000000003</c:v>
                </c:pt>
                <c:pt idx="289">
                  <c:v>4.2972000000000001</c:v>
                </c:pt>
                <c:pt idx="290">
                  <c:v>4.3289999999999926</c:v>
                </c:pt>
                <c:pt idx="291">
                  <c:v>4.3304999999999998</c:v>
                </c:pt>
                <c:pt idx="292">
                  <c:v>4.3853999999999997</c:v>
                </c:pt>
                <c:pt idx="293">
                  <c:v>4.3204999999999965</c:v>
                </c:pt>
                <c:pt idx="294">
                  <c:v>4.2742000000000004</c:v>
                </c:pt>
                <c:pt idx="295">
                  <c:v>4.3690999999999995</c:v>
                </c:pt>
                <c:pt idx="296">
                  <c:v>4.3787000000000003</c:v>
                </c:pt>
                <c:pt idx="297">
                  <c:v>4.4738000000000024</c:v>
                </c:pt>
                <c:pt idx="298">
                  <c:v>4.5170999999999975</c:v>
                </c:pt>
                <c:pt idx="299">
                  <c:v>4.42</c:v>
                </c:pt>
                <c:pt idx="300">
                  <c:v>4.410700000000000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3775232"/>
        <c:axId val="103781120"/>
      </c:lineChart>
      <c:lineChart>
        <c:grouping val="standard"/>
        <c:varyColors val="0"/>
        <c:ser>
          <c:idx val="1"/>
          <c:order val="1"/>
          <c:tx>
            <c:strRef>
              <c:f>Daily!$L$1</c:f>
              <c:strCache>
                <c:ptCount val="1"/>
                <c:pt idx="0">
                  <c:v>CHFPLN (RA)</c:v>
                </c:pt>
              </c:strCache>
            </c:strRef>
          </c:tx>
          <c:spPr>
            <a:ln w="31750">
              <a:solidFill>
                <a:srgbClr val="DC1D1D"/>
              </a:solidFill>
              <a:prstDash val="solid"/>
            </a:ln>
          </c:spPr>
          <c:marker>
            <c:symbol val="none"/>
          </c:marker>
          <c:cat>
            <c:numRef>
              <c:f>Daily!$E$2763:$E$3100</c:f>
              <c:numCache>
                <c:formatCode>dd/mm/yy</c:formatCode>
                <c:ptCount val="338"/>
                <c:pt idx="0">
                  <c:v>40392</c:v>
                </c:pt>
                <c:pt idx="1">
                  <c:v>40393</c:v>
                </c:pt>
                <c:pt idx="2">
                  <c:v>40394</c:v>
                </c:pt>
                <c:pt idx="3">
                  <c:v>40395</c:v>
                </c:pt>
                <c:pt idx="4">
                  <c:v>40396</c:v>
                </c:pt>
                <c:pt idx="5">
                  <c:v>40399</c:v>
                </c:pt>
                <c:pt idx="6">
                  <c:v>40400</c:v>
                </c:pt>
                <c:pt idx="7">
                  <c:v>40401</c:v>
                </c:pt>
                <c:pt idx="8">
                  <c:v>40402</c:v>
                </c:pt>
                <c:pt idx="9">
                  <c:v>40403</c:v>
                </c:pt>
                <c:pt idx="10">
                  <c:v>40406</c:v>
                </c:pt>
                <c:pt idx="11">
                  <c:v>40407</c:v>
                </c:pt>
                <c:pt idx="12">
                  <c:v>40408</c:v>
                </c:pt>
                <c:pt idx="13">
                  <c:v>40409</c:v>
                </c:pt>
                <c:pt idx="14">
                  <c:v>40410</c:v>
                </c:pt>
                <c:pt idx="15">
                  <c:v>40413</c:v>
                </c:pt>
                <c:pt idx="16">
                  <c:v>40414</c:v>
                </c:pt>
                <c:pt idx="17">
                  <c:v>40415</c:v>
                </c:pt>
                <c:pt idx="18">
                  <c:v>40416</c:v>
                </c:pt>
                <c:pt idx="19">
                  <c:v>40417</c:v>
                </c:pt>
                <c:pt idx="20">
                  <c:v>40420</c:v>
                </c:pt>
                <c:pt idx="21">
                  <c:v>40421</c:v>
                </c:pt>
                <c:pt idx="22">
                  <c:v>40422</c:v>
                </c:pt>
                <c:pt idx="23">
                  <c:v>40423</c:v>
                </c:pt>
                <c:pt idx="24">
                  <c:v>40424</c:v>
                </c:pt>
                <c:pt idx="25">
                  <c:v>40427</c:v>
                </c:pt>
                <c:pt idx="26">
                  <c:v>40428</c:v>
                </c:pt>
                <c:pt idx="27">
                  <c:v>40429</c:v>
                </c:pt>
                <c:pt idx="28">
                  <c:v>40430</c:v>
                </c:pt>
                <c:pt idx="29">
                  <c:v>40431</c:v>
                </c:pt>
                <c:pt idx="30">
                  <c:v>40434</c:v>
                </c:pt>
                <c:pt idx="31">
                  <c:v>40435</c:v>
                </c:pt>
                <c:pt idx="32">
                  <c:v>40436</c:v>
                </c:pt>
                <c:pt idx="33">
                  <c:v>40437</c:v>
                </c:pt>
                <c:pt idx="34">
                  <c:v>40438</c:v>
                </c:pt>
                <c:pt idx="35">
                  <c:v>40441</c:v>
                </c:pt>
                <c:pt idx="36">
                  <c:v>40442</c:v>
                </c:pt>
                <c:pt idx="37">
                  <c:v>40443</c:v>
                </c:pt>
                <c:pt idx="38">
                  <c:v>40444</c:v>
                </c:pt>
                <c:pt idx="39">
                  <c:v>40445</c:v>
                </c:pt>
                <c:pt idx="40">
                  <c:v>40448</c:v>
                </c:pt>
                <c:pt idx="41">
                  <c:v>40449</c:v>
                </c:pt>
                <c:pt idx="42">
                  <c:v>40450</c:v>
                </c:pt>
                <c:pt idx="43">
                  <c:v>40451</c:v>
                </c:pt>
                <c:pt idx="44">
                  <c:v>40452</c:v>
                </c:pt>
                <c:pt idx="45">
                  <c:v>40455</c:v>
                </c:pt>
                <c:pt idx="46">
                  <c:v>40456</c:v>
                </c:pt>
                <c:pt idx="47">
                  <c:v>40457</c:v>
                </c:pt>
                <c:pt idx="48">
                  <c:v>40458</c:v>
                </c:pt>
                <c:pt idx="49">
                  <c:v>40459</c:v>
                </c:pt>
                <c:pt idx="50">
                  <c:v>40462</c:v>
                </c:pt>
                <c:pt idx="51">
                  <c:v>40463</c:v>
                </c:pt>
                <c:pt idx="52">
                  <c:v>40464</c:v>
                </c:pt>
                <c:pt idx="53">
                  <c:v>40465</c:v>
                </c:pt>
                <c:pt idx="54">
                  <c:v>40466</c:v>
                </c:pt>
                <c:pt idx="55">
                  <c:v>40469</c:v>
                </c:pt>
                <c:pt idx="56">
                  <c:v>40470</c:v>
                </c:pt>
                <c:pt idx="57">
                  <c:v>40471</c:v>
                </c:pt>
                <c:pt idx="58">
                  <c:v>40472</c:v>
                </c:pt>
                <c:pt idx="59">
                  <c:v>40473</c:v>
                </c:pt>
                <c:pt idx="60">
                  <c:v>40476</c:v>
                </c:pt>
                <c:pt idx="61">
                  <c:v>40477</c:v>
                </c:pt>
                <c:pt idx="62">
                  <c:v>40478</c:v>
                </c:pt>
                <c:pt idx="63">
                  <c:v>40479</c:v>
                </c:pt>
                <c:pt idx="64">
                  <c:v>40480</c:v>
                </c:pt>
                <c:pt idx="65">
                  <c:v>40483</c:v>
                </c:pt>
                <c:pt idx="66">
                  <c:v>40484</c:v>
                </c:pt>
                <c:pt idx="67">
                  <c:v>40485</c:v>
                </c:pt>
                <c:pt idx="68">
                  <c:v>40486</c:v>
                </c:pt>
                <c:pt idx="69">
                  <c:v>40487</c:v>
                </c:pt>
                <c:pt idx="70">
                  <c:v>40490</c:v>
                </c:pt>
                <c:pt idx="71">
                  <c:v>40491</c:v>
                </c:pt>
                <c:pt idx="72">
                  <c:v>40492</c:v>
                </c:pt>
                <c:pt idx="73">
                  <c:v>40493</c:v>
                </c:pt>
                <c:pt idx="74">
                  <c:v>40494</c:v>
                </c:pt>
                <c:pt idx="75">
                  <c:v>40497</c:v>
                </c:pt>
                <c:pt idx="76">
                  <c:v>40498</c:v>
                </c:pt>
                <c:pt idx="77">
                  <c:v>40499</c:v>
                </c:pt>
                <c:pt idx="78">
                  <c:v>40500</c:v>
                </c:pt>
                <c:pt idx="79">
                  <c:v>40501</c:v>
                </c:pt>
                <c:pt idx="80">
                  <c:v>40504</c:v>
                </c:pt>
                <c:pt idx="81">
                  <c:v>40505</c:v>
                </c:pt>
                <c:pt idx="82">
                  <c:v>40506</c:v>
                </c:pt>
                <c:pt idx="83">
                  <c:v>40507</c:v>
                </c:pt>
                <c:pt idx="84">
                  <c:v>40508</c:v>
                </c:pt>
                <c:pt idx="85">
                  <c:v>40511</c:v>
                </c:pt>
                <c:pt idx="86">
                  <c:v>40512</c:v>
                </c:pt>
                <c:pt idx="87">
                  <c:v>40513</c:v>
                </c:pt>
                <c:pt idx="88">
                  <c:v>40514</c:v>
                </c:pt>
                <c:pt idx="89">
                  <c:v>40515</c:v>
                </c:pt>
                <c:pt idx="90">
                  <c:v>40518</c:v>
                </c:pt>
                <c:pt idx="91">
                  <c:v>40519</c:v>
                </c:pt>
                <c:pt idx="92">
                  <c:v>40520</c:v>
                </c:pt>
                <c:pt idx="93">
                  <c:v>40521</c:v>
                </c:pt>
                <c:pt idx="94">
                  <c:v>40522</c:v>
                </c:pt>
                <c:pt idx="95">
                  <c:v>40525</c:v>
                </c:pt>
                <c:pt idx="96">
                  <c:v>40526</c:v>
                </c:pt>
                <c:pt idx="97">
                  <c:v>40527</c:v>
                </c:pt>
                <c:pt idx="98">
                  <c:v>40528</c:v>
                </c:pt>
                <c:pt idx="99">
                  <c:v>40529</c:v>
                </c:pt>
                <c:pt idx="100">
                  <c:v>40532</c:v>
                </c:pt>
                <c:pt idx="101">
                  <c:v>40533</c:v>
                </c:pt>
                <c:pt idx="102">
                  <c:v>40534</c:v>
                </c:pt>
                <c:pt idx="103">
                  <c:v>40535</c:v>
                </c:pt>
                <c:pt idx="104">
                  <c:v>40536</c:v>
                </c:pt>
                <c:pt idx="105">
                  <c:v>40539</c:v>
                </c:pt>
                <c:pt idx="106">
                  <c:v>40540</c:v>
                </c:pt>
                <c:pt idx="107">
                  <c:v>40541</c:v>
                </c:pt>
                <c:pt idx="108">
                  <c:v>40542</c:v>
                </c:pt>
                <c:pt idx="109">
                  <c:v>40543</c:v>
                </c:pt>
                <c:pt idx="110">
                  <c:v>40546</c:v>
                </c:pt>
                <c:pt idx="111">
                  <c:v>40547</c:v>
                </c:pt>
                <c:pt idx="112">
                  <c:v>40548</c:v>
                </c:pt>
                <c:pt idx="113">
                  <c:v>40549</c:v>
                </c:pt>
                <c:pt idx="114">
                  <c:v>40550</c:v>
                </c:pt>
                <c:pt idx="115">
                  <c:v>40553</c:v>
                </c:pt>
                <c:pt idx="116">
                  <c:v>40554</c:v>
                </c:pt>
                <c:pt idx="117">
                  <c:v>40555</c:v>
                </c:pt>
                <c:pt idx="118">
                  <c:v>40556</c:v>
                </c:pt>
                <c:pt idx="119">
                  <c:v>40557</c:v>
                </c:pt>
                <c:pt idx="120">
                  <c:v>40560</c:v>
                </c:pt>
                <c:pt idx="121">
                  <c:v>40561</c:v>
                </c:pt>
                <c:pt idx="122">
                  <c:v>40562</c:v>
                </c:pt>
                <c:pt idx="123">
                  <c:v>40563</c:v>
                </c:pt>
                <c:pt idx="124">
                  <c:v>40564</c:v>
                </c:pt>
                <c:pt idx="125">
                  <c:v>40567</c:v>
                </c:pt>
                <c:pt idx="126">
                  <c:v>40568</c:v>
                </c:pt>
                <c:pt idx="127">
                  <c:v>40569</c:v>
                </c:pt>
                <c:pt idx="128">
                  <c:v>40570</c:v>
                </c:pt>
                <c:pt idx="129">
                  <c:v>40571</c:v>
                </c:pt>
                <c:pt idx="130">
                  <c:v>40574</c:v>
                </c:pt>
                <c:pt idx="131">
                  <c:v>40575</c:v>
                </c:pt>
                <c:pt idx="132">
                  <c:v>40576</c:v>
                </c:pt>
                <c:pt idx="133">
                  <c:v>40577</c:v>
                </c:pt>
                <c:pt idx="134">
                  <c:v>40578</c:v>
                </c:pt>
                <c:pt idx="135">
                  <c:v>40581</c:v>
                </c:pt>
                <c:pt idx="136">
                  <c:v>40582</c:v>
                </c:pt>
                <c:pt idx="137">
                  <c:v>40583</c:v>
                </c:pt>
                <c:pt idx="138">
                  <c:v>40584</c:v>
                </c:pt>
                <c:pt idx="139">
                  <c:v>40585</c:v>
                </c:pt>
                <c:pt idx="140">
                  <c:v>40588</c:v>
                </c:pt>
                <c:pt idx="141">
                  <c:v>40589</c:v>
                </c:pt>
                <c:pt idx="142">
                  <c:v>40590</c:v>
                </c:pt>
                <c:pt idx="143">
                  <c:v>40591</c:v>
                </c:pt>
                <c:pt idx="144">
                  <c:v>40592</c:v>
                </c:pt>
                <c:pt idx="145">
                  <c:v>40595</c:v>
                </c:pt>
                <c:pt idx="146">
                  <c:v>40596</c:v>
                </c:pt>
                <c:pt idx="147">
                  <c:v>40597</c:v>
                </c:pt>
                <c:pt idx="148">
                  <c:v>40598</c:v>
                </c:pt>
                <c:pt idx="149">
                  <c:v>40599</c:v>
                </c:pt>
                <c:pt idx="150">
                  <c:v>40602</c:v>
                </c:pt>
                <c:pt idx="151">
                  <c:v>40603</c:v>
                </c:pt>
                <c:pt idx="152">
                  <c:v>40604</c:v>
                </c:pt>
                <c:pt idx="153">
                  <c:v>40605</c:v>
                </c:pt>
                <c:pt idx="154">
                  <c:v>40606</c:v>
                </c:pt>
                <c:pt idx="155">
                  <c:v>40609</c:v>
                </c:pt>
                <c:pt idx="156">
                  <c:v>40610</c:v>
                </c:pt>
                <c:pt idx="157">
                  <c:v>40611</c:v>
                </c:pt>
                <c:pt idx="158">
                  <c:v>40612</c:v>
                </c:pt>
                <c:pt idx="159">
                  <c:v>40613</c:v>
                </c:pt>
                <c:pt idx="160">
                  <c:v>40616</c:v>
                </c:pt>
                <c:pt idx="161">
                  <c:v>40617</c:v>
                </c:pt>
                <c:pt idx="162">
                  <c:v>40618</c:v>
                </c:pt>
                <c:pt idx="163">
                  <c:v>40619</c:v>
                </c:pt>
                <c:pt idx="164">
                  <c:v>40620</c:v>
                </c:pt>
                <c:pt idx="165">
                  <c:v>40623</c:v>
                </c:pt>
                <c:pt idx="166">
                  <c:v>40624</c:v>
                </c:pt>
                <c:pt idx="167">
                  <c:v>40625</c:v>
                </c:pt>
                <c:pt idx="168">
                  <c:v>40626</c:v>
                </c:pt>
                <c:pt idx="169">
                  <c:v>40627</c:v>
                </c:pt>
                <c:pt idx="170">
                  <c:v>40630</c:v>
                </c:pt>
                <c:pt idx="171">
                  <c:v>40631</c:v>
                </c:pt>
                <c:pt idx="172">
                  <c:v>40632</c:v>
                </c:pt>
                <c:pt idx="173">
                  <c:v>40633</c:v>
                </c:pt>
                <c:pt idx="174">
                  <c:v>40634</c:v>
                </c:pt>
                <c:pt idx="175">
                  <c:v>40637</c:v>
                </c:pt>
                <c:pt idx="176">
                  <c:v>40638</c:v>
                </c:pt>
                <c:pt idx="177">
                  <c:v>40639</c:v>
                </c:pt>
                <c:pt idx="178">
                  <c:v>40640</c:v>
                </c:pt>
                <c:pt idx="179">
                  <c:v>40641</c:v>
                </c:pt>
                <c:pt idx="180">
                  <c:v>40644</c:v>
                </c:pt>
                <c:pt idx="181">
                  <c:v>40645</c:v>
                </c:pt>
                <c:pt idx="182">
                  <c:v>40646</c:v>
                </c:pt>
                <c:pt idx="183">
                  <c:v>40647</c:v>
                </c:pt>
                <c:pt idx="184">
                  <c:v>40648</c:v>
                </c:pt>
                <c:pt idx="185">
                  <c:v>40651</c:v>
                </c:pt>
                <c:pt idx="186">
                  <c:v>40652</c:v>
                </c:pt>
                <c:pt idx="187">
                  <c:v>40653</c:v>
                </c:pt>
                <c:pt idx="188">
                  <c:v>40654</c:v>
                </c:pt>
                <c:pt idx="189">
                  <c:v>40655</c:v>
                </c:pt>
                <c:pt idx="190">
                  <c:v>40658</c:v>
                </c:pt>
                <c:pt idx="191">
                  <c:v>40659</c:v>
                </c:pt>
                <c:pt idx="192">
                  <c:v>40660</c:v>
                </c:pt>
                <c:pt idx="193">
                  <c:v>40661</c:v>
                </c:pt>
                <c:pt idx="194">
                  <c:v>40662</c:v>
                </c:pt>
                <c:pt idx="195">
                  <c:v>40665</c:v>
                </c:pt>
                <c:pt idx="196">
                  <c:v>40666</c:v>
                </c:pt>
                <c:pt idx="197">
                  <c:v>40667</c:v>
                </c:pt>
                <c:pt idx="198">
                  <c:v>40668</c:v>
                </c:pt>
                <c:pt idx="199">
                  <c:v>40669</c:v>
                </c:pt>
                <c:pt idx="200">
                  <c:v>40672</c:v>
                </c:pt>
                <c:pt idx="201">
                  <c:v>40673</c:v>
                </c:pt>
                <c:pt idx="202">
                  <c:v>40674</c:v>
                </c:pt>
                <c:pt idx="203">
                  <c:v>40675</c:v>
                </c:pt>
                <c:pt idx="204">
                  <c:v>40676</c:v>
                </c:pt>
                <c:pt idx="205">
                  <c:v>40679</c:v>
                </c:pt>
                <c:pt idx="206">
                  <c:v>40680</c:v>
                </c:pt>
                <c:pt idx="207">
                  <c:v>40681</c:v>
                </c:pt>
                <c:pt idx="208">
                  <c:v>40682</c:v>
                </c:pt>
                <c:pt idx="209">
                  <c:v>40683</c:v>
                </c:pt>
                <c:pt idx="210">
                  <c:v>40686</c:v>
                </c:pt>
                <c:pt idx="211">
                  <c:v>40687</c:v>
                </c:pt>
                <c:pt idx="212">
                  <c:v>40688</c:v>
                </c:pt>
                <c:pt idx="213">
                  <c:v>40689</c:v>
                </c:pt>
                <c:pt idx="214">
                  <c:v>40690</c:v>
                </c:pt>
                <c:pt idx="215">
                  <c:v>40693</c:v>
                </c:pt>
                <c:pt idx="216">
                  <c:v>40694</c:v>
                </c:pt>
                <c:pt idx="217">
                  <c:v>40695</c:v>
                </c:pt>
                <c:pt idx="218">
                  <c:v>40696</c:v>
                </c:pt>
                <c:pt idx="219">
                  <c:v>40697</c:v>
                </c:pt>
                <c:pt idx="220">
                  <c:v>40700</c:v>
                </c:pt>
                <c:pt idx="221">
                  <c:v>40701</c:v>
                </c:pt>
                <c:pt idx="222">
                  <c:v>40702</c:v>
                </c:pt>
                <c:pt idx="223">
                  <c:v>40703</c:v>
                </c:pt>
                <c:pt idx="224">
                  <c:v>40704</c:v>
                </c:pt>
                <c:pt idx="225">
                  <c:v>40707</c:v>
                </c:pt>
                <c:pt idx="226">
                  <c:v>40708</c:v>
                </c:pt>
                <c:pt idx="227">
                  <c:v>40709</c:v>
                </c:pt>
                <c:pt idx="228">
                  <c:v>40710</c:v>
                </c:pt>
                <c:pt idx="229">
                  <c:v>40711</c:v>
                </c:pt>
                <c:pt idx="230">
                  <c:v>40714</c:v>
                </c:pt>
                <c:pt idx="231">
                  <c:v>40715</c:v>
                </c:pt>
                <c:pt idx="232">
                  <c:v>40716</c:v>
                </c:pt>
                <c:pt idx="233">
                  <c:v>40717</c:v>
                </c:pt>
                <c:pt idx="234">
                  <c:v>40718</c:v>
                </c:pt>
                <c:pt idx="235">
                  <c:v>40721</c:v>
                </c:pt>
                <c:pt idx="236">
                  <c:v>40722</c:v>
                </c:pt>
                <c:pt idx="237">
                  <c:v>40723</c:v>
                </c:pt>
                <c:pt idx="238">
                  <c:v>40724</c:v>
                </c:pt>
                <c:pt idx="239">
                  <c:v>40725</c:v>
                </c:pt>
                <c:pt idx="240">
                  <c:v>40728</c:v>
                </c:pt>
                <c:pt idx="241">
                  <c:v>40729</c:v>
                </c:pt>
                <c:pt idx="242">
                  <c:v>40730</c:v>
                </c:pt>
                <c:pt idx="243">
                  <c:v>40731</c:v>
                </c:pt>
                <c:pt idx="244">
                  <c:v>40732</c:v>
                </c:pt>
                <c:pt idx="245">
                  <c:v>40735</c:v>
                </c:pt>
                <c:pt idx="246">
                  <c:v>40736</c:v>
                </c:pt>
                <c:pt idx="247">
                  <c:v>40737</c:v>
                </c:pt>
                <c:pt idx="248">
                  <c:v>40738</c:v>
                </c:pt>
                <c:pt idx="249">
                  <c:v>40739</c:v>
                </c:pt>
                <c:pt idx="250">
                  <c:v>40742</c:v>
                </c:pt>
                <c:pt idx="251">
                  <c:v>40743</c:v>
                </c:pt>
                <c:pt idx="252">
                  <c:v>40744</c:v>
                </c:pt>
                <c:pt idx="253">
                  <c:v>40745</c:v>
                </c:pt>
                <c:pt idx="254">
                  <c:v>40746</c:v>
                </c:pt>
                <c:pt idx="255">
                  <c:v>40749</c:v>
                </c:pt>
                <c:pt idx="256">
                  <c:v>40750</c:v>
                </c:pt>
                <c:pt idx="257">
                  <c:v>40751</c:v>
                </c:pt>
                <c:pt idx="258">
                  <c:v>40752</c:v>
                </c:pt>
                <c:pt idx="259">
                  <c:v>40753</c:v>
                </c:pt>
                <c:pt idx="260">
                  <c:v>40756</c:v>
                </c:pt>
                <c:pt idx="261">
                  <c:v>40757</c:v>
                </c:pt>
                <c:pt idx="262">
                  <c:v>40758</c:v>
                </c:pt>
                <c:pt idx="263">
                  <c:v>40759</c:v>
                </c:pt>
                <c:pt idx="264">
                  <c:v>40760</c:v>
                </c:pt>
                <c:pt idx="265">
                  <c:v>40763</c:v>
                </c:pt>
                <c:pt idx="266">
                  <c:v>40764</c:v>
                </c:pt>
                <c:pt idx="267">
                  <c:v>40765</c:v>
                </c:pt>
                <c:pt idx="268">
                  <c:v>40766</c:v>
                </c:pt>
                <c:pt idx="269">
                  <c:v>40767</c:v>
                </c:pt>
                <c:pt idx="270">
                  <c:v>40770</c:v>
                </c:pt>
                <c:pt idx="271">
                  <c:v>40771</c:v>
                </c:pt>
                <c:pt idx="272">
                  <c:v>40772</c:v>
                </c:pt>
                <c:pt idx="273">
                  <c:v>40773</c:v>
                </c:pt>
                <c:pt idx="274">
                  <c:v>40774</c:v>
                </c:pt>
                <c:pt idx="275">
                  <c:v>40777</c:v>
                </c:pt>
                <c:pt idx="276">
                  <c:v>40778</c:v>
                </c:pt>
                <c:pt idx="277">
                  <c:v>40779</c:v>
                </c:pt>
                <c:pt idx="278">
                  <c:v>40780</c:v>
                </c:pt>
                <c:pt idx="279">
                  <c:v>40781</c:v>
                </c:pt>
                <c:pt idx="280">
                  <c:v>40784</c:v>
                </c:pt>
                <c:pt idx="281">
                  <c:v>40785</c:v>
                </c:pt>
                <c:pt idx="282">
                  <c:v>40786</c:v>
                </c:pt>
                <c:pt idx="283">
                  <c:v>40787</c:v>
                </c:pt>
                <c:pt idx="284">
                  <c:v>40788</c:v>
                </c:pt>
                <c:pt idx="285">
                  <c:v>40791</c:v>
                </c:pt>
                <c:pt idx="286">
                  <c:v>40792</c:v>
                </c:pt>
                <c:pt idx="287">
                  <c:v>40793</c:v>
                </c:pt>
                <c:pt idx="288">
                  <c:v>40794</c:v>
                </c:pt>
                <c:pt idx="289">
                  <c:v>40795</c:v>
                </c:pt>
                <c:pt idx="290">
                  <c:v>40798</c:v>
                </c:pt>
                <c:pt idx="291">
                  <c:v>40799</c:v>
                </c:pt>
                <c:pt idx="292">
                  <c:v>40800</c:v>
                </c:pt>
                <c:pt idx="293">
                  <c:v>40801</c:v>
                </c:pt>
                <c:pt idx="294">
                  <c:v>40802</c:v>
                </c:pt>
                <c:pt idx="295">
                  <c:v>40805</c:v>
                </c:pt>
                <c:pt idx="296">
                  <c:v>40806</c:v>
                </c:pt>
                <c:pt idx="297">
                  <c:v>40807</c:v>
                </c:pt>
                <c:pt idx="298">
                  <c:v>40808</c:v>
                </c:pt>
                <c:pt idx="299">
                  <c:v>40809</c:v>
                </c:pt>
                <c:pt idx="300">
                  <c:v>40812</c:v>
                </c:pt>
                <c:pt idx="301">
                  <c:v>40801</c:v>
                </c:pt>
                <c:pt idx="302">
                  <c:v>40802</c:v>
                </c:pt>
                <c:pt idx="303">
                  <c:v>40803</c:v>
                </c:pt>
                <c:pt idx="304">
                  <c:v>40804</c:v>
                </c:pt>
                <c:pt idx="305">
                  <c:v>40805</c:v>
                </c:pt>
                <c:pt idx="306">
                  <c:v>40806</c:v>
                </c:pt>
                <c:pt idx="307">
                  <c:v>40807</c:v>
                </c:pt>
                <c:pt idx="308">
                  <c:v>40808</c:v>
                </c:pt>
                <c:pt idx="309">
                  <c:v>40809</c:v>
                </c:pt>
                <c:pt idx="310">
                  <c:v>40810</c:v>
                </c:pt>
                <c:pt idx="311">
                  <c:v>40811</c:v>
                </c:pt>
                <c:pt idx="312">
                  <c:v>40812</c:v>
                </c:pt>
                <c:pt idx="313">
                  <c:v>40813</c:v>
                </c:pt>
                <c:pt idx="314">
                  <c:v>40814</c:v>
                </c:pt>
                <c:pt idx="315">
                  <c:v>40815</c:v>
                </c:pt>
                <c:pt idx="316">
                  <c:v>40816</c:v>
                </c:pt>
                <c:pt idx="317">
                  <c:v>40817</c:v>
                </c:pt>
                <c:pt idx="318">
                  <c:v>40818</c:v>
                </c:pt>
                <c:pt idx="319">
                  <c:v>40819</c:v>
                </c:pt>
                <c:pt idx="320">
                  <c:v>40820</c:v>
                </c:pt>
                <c:pt idx="321">
                  <c:v>40821</c:v>
                </c:pt>
                <c:pt idx="322">
                  <c:v>40822</c:v>
                </c:pt>
                <c:pt idx="323">
                  <c:v>40823</c:v>
                </c:pt>
                <c:pt idx="324">
                  <c:v>40824</c:v>
                </c:pt>
                <c:pt idx="325">
                  <c:v>40825</c:v>
                </c:pt>
                <c:pt idx="326">
                  <c:v>40826</c:v>
                </c:pt>
                <c:pt idx="327">
                  <c:v>40827</c:v>
                </c:pt>
                <c:pt idx="328">
                  <c:v>40828</c:v>
                </c:pt>
                <c:pt idx="329">
                  <c:v>40829</c:v>
                </c:pt>
                <c:pt idx="330">
                  <c:v>40830</c:v>
                </c:pt>
                <c:pt idx="331">
                  <c:v>40831</c:v>
                </c:pt>
                <c:pt idx="332">
                  <c:v>40832</c:v>
                </c:pt>
                <c:pt idx="333">
                  <c:v>40833</c:v>
                </c:pt>
                <c:pt idx="334">
                  <c:v>40834</c:v>
                </c:pt>
                <c:pt idx="335">
                  <c:v>40835</c:v>
                </c:pt>
                <c:pt idx="336">
                  <c:v>40836</c:v>
                </c:pt>
                <c:pt idx="337">
                  <c:v>40837</c:v>
                </c:pt>
              </c:numCache>
            </c:numRef>
          </c:cat>
          <c:val>
            <c:numRef>
              <c:f>Daily!$L$2763:$L$3100</c:f>
              <c:numCache>
                <c:formatCode>General</c:formatCode>
                <c:ptCount val="338"/>
                <c:pt idx="0">
                  <c:v>2.9076</c:v>
                </c:pt>
                <c:pt idx="1">
                  <c:v>2.9125999999999967</c:v>
                </c:pt>
                <c:pt idx="2">
                  <c:v>2.8758999999999961</c:v>
                </c:pt>
                <c:pt idx="3">
                  <c:v>2.8931999999999998</c:v>
                </c:pt>
                <c:pt idx="4">
                  <c:v>2.8904999999999967</c:v>
                </c:pt>
                <c:pt idx="5">
                  <c:v>2.8574999999999977</c:v>
                </c:pt>
                <c:pt idx="6">
                  <c:v>2.8740999999999977</c:v>
                </c:pt>
                <c:pt idx="7">
                  <c:v>2.9391999999999987</c:v>
                </c:pt>
                <c:pt idx="8">
                  <c:v>2.9713999999999987</c:v>
                </c:pt>
                <c:pt idx="9">
                  <c:v>2.9857999999999998</c:v>
                </c:pt>
                <c:pt idx="10">
                  <c:v>2.9876</c:v>
                </c:pt>
                <c:pt idx="11">
                  <c:v>2.9333</c:v>
                </c:pt>
                <c:pt idx="12">
                  <c:v>2.9391999999999987</c:v>
                </c:pt>
                <c:pt idx="13">
                  <c:v>3.0001000000000002</c:v>
                </c:pt>
                <c:pt idx="14">
                  <c:v>3.0259</c:v>
                </c:pt>
                <c:pt idx="15">
                  <c:v>3.05</c:v>
                </c:pt>
                <c:pt idx="16">
                  <c:v>3.0701000000000001</c:v>
                </c:pt>
                <c:pt idx="17">
                  <c:v>3.0649999999999999</c:v>
                </c:pt>
                <c:pt idx="18">
                  <c:v>3.0720999999999967</c:v>
                </c:pt>
                <c:pt idx="19">
                  <c:v>3.0236999999999998</c:v>
                </c:pt>
                <c:pt idx="20">
                  <c:v>3.0758999999999967</c:v>
                </c:pt>
                <c:pt idx="21">
                  <c:v>3.1113</c:v>
                </c:pt>
                <c:pt idx="22">
                  <c:v>3.0509999999999997</c:v>
                </c:pt>
                <c:pt idx="23">
                  <c:v>3.0451000000000001</c:v>
                </c:pt>
                <c:pt idx="24">
                  <c:v>3.0051000000000001</c:v>
                </c:pt>
                <c:pt idx="25">
                  <c:v>3.0133999999999999</c:v>
                </c:pt>
                <c:pt idx="26">
                  <c:v>3.0768999999999966</c:v>
                </c:pt>
                <c:pt idx="27">
                  <c:v>3.0638000000000001</c:v>
                </c:pt>
                <c:pt idx="28">
                  <c:v>3.0585999999999998</c:v>
                </c:pt>
                <c:pt idx="29">
                  <c:v>3.0472999999999999</c:v>
                </c:pt>
                <c:pt idx="30">
                  <c:v>3.03</c:v>
                </c:pt>
                <c:pt idx="31">
                  <c:v>3.0303</c:v>
                </c:pt>
                <c:pt idx="32">
                  <c:v>3.0197999999999987</c:v>
                </c:pt>
                <c:pt idx="33">
                  <c:v>2.9757999999999987</c:v>
                </c:pt>
                <c:pt idx="34">
                  <c:v>3.0038999999999998</c:v>
                </c:pt>
                <c:pt idx="35">
                  <c:v>3.0023</c:v>
                </c:pt>
                <c:pt idx="36">
                  <c:v>2.9824999999999977</c:v>
                </c:pt>
                <c:pt idx="37">
                  <c:v>2.9895</c:v>
                </c:pt>
                <c:pt idx="38">
                  <c:v>3.0274000000000001</c:v>
                </c:pt>
                <c:pt idx="39">
                  <c:v>2.9813000000000001</c:v>
                </c:pt>
                <c:pt idx="40">
                  <c:v>2.9853000000000001</c:v>
                </c:pt>
                <c:pt idx="41">
                  <c:v>2.9929999999999977</c:v>
                </c:pt>
                <c:pt idx="42">
                  <c:v>2.9874000000000001</c:v>
                </c:pt>
                <c:pt idx="43">
                  <c:v>2.9593999999999987</c:v>
                </c:pt>
                <c:pt idx="44">
                  <c:v>2.9353999999999987</c:v>
                </c:pt>
                <c:pt idx="45">
                  <c:v>2.9813999999999998</c:v>
                </c:pt>
                <c:pt idx="46">
                  <c:v>2.9514999999999967</c:v>
                </c:pt>
                <c:pt idx="47">
                  <c:v>2.9600999999999997</c:v>
                </c:pt>
                <c:pt idx="48">
                  <c:v>2.9537999999999998</c:v>
                </c:pt>
                <c:pt idx="49">
                  <c:v>2.9531000000000001</c:v>
                </c:pt>
                <c:pt idx="50">
                  <c:v>2.9545999999999997</c:v>
                </c:pt>
                <c:pt idx="51">
                  <c:v>2.9691999999999998</c:v>
                </c:pt>
                <c:pt idx="52">
                  <c:v>2.9203999999999999</c:v>
                </c:pt>
                <c:pt idx="53">
                  <c:v>2.9083999999999999</c:v>
                </c:pt>
                <c:pt idx="54">
                  <c:v>2.9085999999999999</c:v>
                </c:pt>
                <c:pt idx="55">
                  <c:v>2.9358999999999966</c:v>
                </c:pt>
                <c:pt idx="56">
                  <c:v>2.9771000000000001</c:v>
                </c:pt>
                <c:pt idx="57">
                  <c:v>2.9419999999999997</c:v>
                </c:pt>
                <c:pt idx="58">
                  <c:v>2.9543999999999997</c:v>
                </c:pt>
                <c:pt idx="59">
                  <c:v>2.9067999999999987</c:v>
                </c:pt>
                <c:pt idx="60">
                  <c:v>2.8967999999999967</c:v>
                </c:pt>
                <c:pt idx="61">
                  <c:v>2.8835999999999999</c:v>
                </c:pt>
                <c:pt idx="62">
                  <c:v>2.9047000000000001</c:v>
                </c:pt>
                <c:pt idx="63">
                  <c:v>2.9009999999999998</c:v>
                </c:pt>
                <c:pt idx="64">
                  <c:v>2.8826999999999967</c:v>
                </c:pt>
                <c:pt idx="65">
                  <c:v>2.8805000000000001</c:v>
                </c:pt>
                <c:pt idx="66">
                  <c:v>2.8708999999999967</c:v>
                </c:pt>
                <c:pt idx="67">
                  <c:v>2.8500999999999967</c:v>
                </c:pt>
                <c:pt idx="68">
                  <c:v>2.8645</c:v>
                </c:pt>
                <c:pt idx="69">
                  <c:v>2.9025999999999987</c:v>
                </c:pt>
                <c:pt idx="70">
                  <c:v>2.9247000000000001</c:v>
                </c:pt>
                <c:pt idx="71">
                  <c:v>2.927</c:v>
                </c:pt>
                <c:pt idx="72">
                  <c:v>2.9099999999999997</c:v>
                </c:pt>
                <c:pt idx="73">
                  <c:v>2.9489000000000001</c:v>
                </c:pt>
                <c:pt idx="74">
                  <c:v>2.9366999999999961</c:v>
                </c:pt>
                <c:pt idx="75">
                  <c:v>2.9355999999999987</c:v>
                </c:pt>
                <c:pt idx="76">
                  <c:v>2.9528999999999961</c:v>
                </c:pt>
                <c:pt idx="77">
                  <c:v>2.9474</c:v>
                </c:pt>
                <c:pt idx="78">
                  <c:v>2.8951999999999987</c:v>
                </c:pt>
                <c:pt idx="79">
                  <c:v>2.9009999999999998</c:v>
                </c:pt>
                <c:pt idx="80">
                  <c:v>2.9260999999999977</c:v>
                </c:pt>
                <c:pt idx="81">
                  <c:v>2.9855999999999998</c:v>
                </c:pt>
                <c:pt idx="82">
                  <c:v>2.9817</c:v>
                </c:pt>
                <c:pt idx="83">
                  <c:v>2.9766999999999961</c:v>
                </c:pt>
                <c:pt idx="84">
                  <c:v>3.0377999999999998</c:v>
                </c:pt>
                <c:pt idx="85">
                  <c:v>3.1139000000000001</c:v>
                </c:pt>
                <c:pt idx="86">
                  <c:v>3.0876000000000001</c:v>
                </c:pt>
                <c:pt idx="87">
                  <c:v>3.0367999999999977</c:v>
                </c:pt>
                <c:pt idx="88">
                  <c:v>3.0385999999999997</c:v>
                </c:pt>
                <c:pt idx="89">
                  <c:v>3.0455999999999999</c:v>
                </c:pt>
                <c:pt idx="90">
                  <c:v>3.0680999999999998</c:v>
                </c:pt>
                <c:pt idx="91">
                  <c:v>3.0731000000000002</c:v>
                </c:pt>
                <c:pt idx="92">
                  <c:v>3.0802</c:v>
                </c:pt>
                <c:pt idx="93">
                  <c:v>3.0983999999999998</c:v>
                </c:pt>
                <c:pt idx="94">
                  <c:v>3.1034999999999999</c:v>
                </c:pt>
                <c:pt idx="95">
                  <c:v>3.0819999999999999</c:v>
                </c:pt>
                <c:pt idx="96">
                  <c:v>3.1074000000000002</c:v>
                </c:pt>
                <c:pt idx="97">
                  <c:v>3.1219000000000001</c:v>
                </c:pt>
                <c:pt idx="98">
                  <c:v>3.1219000000000001</c:v>
                </c:pt>
                <c:pt idx="99">
                  <c:v>3.1171000000000002</c:v>
                </c:pt>
                <c:pt idx="100">
                  <c:v>3.16</c:v>
                </c:pt>
                <c:pt idx="101">
                  <c:v>3.1901999999999999</c:v>
                </c:pt>
                <c:pt idx="102">
                  <c:v>3.1981000000000002</c:v>
                </c:pt>
                <c:pt idx="103">
                  <c:v>3.1521999999999997</c:v>
                </c:pt>
                <c:pt idx="104">
                  <c:v>3.1427999999999998</c:v>
                </c:pt>
                <c:pt idx="105">
                  <c:v>3.149</c:v>
                </c:pt>
                <c:pt idx="106">
                  <c:v>3.1957</c:v>
                </c:pt>
                <c:pt idx="107">
                  <c:v>3.1725999999999988</c:v>
                </c:pt>
                <c:pt idx="108">
                  <c:v>3.1872000000000011</c:v>
                </c:pt>
                <c:pt idx="109">
                  <c:v>3.1680000000000001</c:v>
                </c:pt>
                <c:pt idx="110">
                  <c:v>3.1675000000000035</c:v>
                </c:pt>
                <c:pt idx="111">
                  <c:v>3.0794999999999977</c:v>
                </c:pt>
                <c:pt idx="112">
                  <c:v>3.0470000000000002</c:v>
                </c:pt>
                <c:pt idx="113">
                  <c:v>3.085</c:v>
                </c:pt>
                <c:pt idx="114">
                  <c:v>3.1137000000000001</c:v>
                </c:pt>
                <c:pt idx="115">
                  <c:v>3.117</c:v>
                </c:pt>
                <c:pt idx="116">
                  <c:v>3.0522999999999967</c:v>
                </c:pt>
                <c:pt idx="117">
                  <c:v>3.0259999999999998</c:v>
                </c:pt>
                <c:pt idx="118">
                  <c:v>3.0053000000000001</c:v>
                </c:pt>
                <c:pt idx="119">
                  <c:v>3.0051999999999999</c:v>
                </c:pt>
                <c:pt idx="120">
                  <c:v>3.0175999999999998</c:v>
                </c:pt>
                <c:pt idx="121">
                  <c:v>3.0013999999999998</c:v>
                </c:pt>
                <c:pt idx="122">
                  <c:v>3.0093000000000001</c:v>
                </c:pt>
                <c:pt idx="123">
                  <c:v>2.9874999999999998</c:v>
                </c:pt>
                <c:pt idx="124">
                  <c:v>2.9707999999999997</c:v>
                </c:pt>
                <c:pt idx="125">
                  <c:v>2.9943</c:v>
                </c:pt>
                <c:pt idx="126">
                  <c:v>3.0093000000000001</c:v>
                </c:pt>
                <c:pt idx="127">
                  <c:v>3.0070999999999999</c:v>
                </c:pt>
                <c:pt idx="128">
                  <c:v>3.0084</c:v>
                </c:pt>
                <c:pt idx="129">
                  <c:v>3.0798999999999968</c:v>
                </c:pt>
                <c:pt idx="130">
                  <c:v>3.0413999999999999</c:v>
                </c:pt>
                <c:pt idx="131">
                  <c:v>3.0141</c:v>
                </c:pt>
                <c:pt idx="132">
                  <c:v>3.0072999999999999</c:v>
                </c:pt>
                <c:pt idx="133">
                  <c:v>3.0272999999999999</c:v>
                </c:pt>
                <c:pt idx="134">
                  <c:v>2.9988999999999977</c:v>
                </c:pt>
                <c:pt idx="135">
                  <c:v>2.988</c:v>
                </c:pt>
                <c:pt idx="136">
                  <c:v>2.9643000000000002</c:v>
                </c:pt>
                <c:pt idx="137">
                  <c:v>2.9699999999999998</c:v>
                </c:pt>
                <c:pt idx="138">
                  <c:v>2.9750999999999967</c:v>
                </c:pt>
                <c:pt idx="139">
                  <c:v>2.9703999999999997</c:v>
                </c:pt>
                <c:pt idx="140">
                  <c:v>3.0171000000000001</c:v>
                </c:pt>
                <c:pt idx="141">
                  <c:v>3.0121999999999987</c:v>
                </c:pt>
                <c:pt idx="142">
                  <c:v>2.9997999999999987</c:v>
                </c:pt>
                <c:pt idx="143">
                  <c:v>3.0193999999999988</c:v>
                </c:pt>
                <c:pt idx="144">
                  <c:v>3.0280999999999998</c:v>
                </c:pt>
                <c:pt idx="145">
                  <c:v>3.0442999999999998</c:v>
                </c:pt>
                <c:pt idx="146">
                  <c:v>3.101</c:v>
                </c:pt>
                <c:pt idx="147">
                  <c:v>3.1008</c:v>
                </c:pt>
                <c:pt idx="148">
                  <c:v>3.1135999999999999</c:v>
                </c:pt>
                <c:pt idx="149">
                  <c:v>3.1171000000000002</c:v>
                </c:pt>
                <c:pt idx="150">
                  <c:v>3.0857999999999999</c:v>
                </c:pt>
                <c:pt idx="151">
                  <c:v>3.1193</c:v>
                </c:pt>
                <c:pt idx="152">
                  <c:v>3.1040000000000001</c:v>
                </c:pt>
                <c:pt idx="153">
                  <c:v>3.0636999999999999</c:v>
                </c:pt>
                <c:pt idx="154">
                  <c:v>3.0765999999999987</c:v>
                </c:pt>
                <c:pt idx="155">
                  <c:v>3.0669</c:v>
                </c:pt>
                <c:pt idx="156">
                  <c:v>3.0533999999999999</c:v>
                </c:pt>
                <c:pt idx="157">
                  <c:v>3.0796999999999977</c:v>
                </c:pt>
                <c:pt idx="158">
                  <c:v>3.1229</c:v>
                </c:pt>
                <c:pt idx="159">
                  <c:v>3.0964999999999967</c:v>
                </c:pt>
                <c:pt idx="160">
                  <c:v>3.1133000000000002</c:v>
                </c:pt>
                <c:pt idx="161">
                  <c:v>3.1511</c:v>
                </c:pt>
                <c:pt idx="162">
                  <c:v>3.247900000000004</c:v>
                </c:pt>
                <c:pt idx="163">
                  <c:v>3.2284000000000002</c:v>
                </c:pt>
                <c:pt idx="164">
                  <c:v>3.1854</c:v>
                </c:pt>
                <c:pt idx="165">
                  <c:v>3.13</c:v>
                </c:pt>
                <c:pt idx="166">
                  <c:v>3.1435000000000035</c:v>
                </c:pt>
                <c:pt idx="167">
                  <c:v>3.1503000000000001</c:v>
                </c:pt>
                <c:pt idx="168">
                  <c:v>3.1165999999999987</c:v>
                </c:pt>
                <c:pt idx="169">
                  <c:v>3.0994999999999977</c:v>
                </c:pt>
                <c:pt idx="170">
                  <c:v>3.097</c:v>
                </c:pt>
                <c:pt idx="171">
                  <c:v>3.0767999999999978</c:v>
                </c:pt>
                <c:pt idx="172">
                  <c:v>3.0951999999999997</c:v>
                </c:pt>
                <c:pt idx="173">
                  <c:v>3.0933000000000002</c:v>
                </c:pt>
                <c:pt idx="174">
                  <c:v>3.0548999999999977</c:v>
                </c:pt>
                <c:pt idx="175">
                  <c:v>3.0672999999999999</c:v>
                </c:pt>
                <c:pt idx="176">
                  <c:v>3.0345999999999997</c:v>
                </c:pt>
                <c:pt idx="177">
                  <c:v>3.0158999999999967</c:v>
                </c:pt>
                <c:pt idx="178">
                  <c:v>3.0253999999999999</c:v>
                </c:pt>
                <c:pt idx="179">
                  <c:v>3.0164999999999966</c:v>
                </c:pt>
                <c:pt idx="180">
                  <c:v>3.0320999999999967</c:v>
                </c:pt>
                <c:pt idx="181">
                  <c:v>3.0715999999999997</c:v>
                </c:pt>
                <c:pt idx="182">
                  <c:v>3.0608</c:v>
                </c:pt>
                <c:pt idx="183">
                  <c:v>3.0520999999999967</c:v>
                </c:pt>
                <c:pt idx="184">
                  <c:v>3.0688</c:v>
                </c:pt>
                <c:pt idx="185">
                  <c:v>3.1280000000000001</c:v>
                </c:pt>
                <c:pt idx="186">
                  <c:v>3.0757999999999988</c:v>
                </c:pt>
                <c:pt idx="187">
                  <c:v>3.0791999999999997</c:v>
                </c:pt>
                <c:pt idx="188">
                  <c:v>3.0583999999999998</c:v>
                </c:pt>
                <c:pt idx="189">
                  <c:v>3.0617999999999999</c:v>
                </c:pt>
                <c:pt idx="190">
                  <c:v>3.0711999999999997</c:v>
                </c:pt>
                <c:pt idx="191">
                  <c:v>3.0759999999999987</c:v>
                </c:pt>
                <c:pt idx="192">
                  <c:v>3.0345999999999997</c:v>
                </c:pt>
                <c:pt idx="193">
                  <c:v>3.0411000000000001</c:v>
                </c:pt>
                <c:pt idx="194">
                  <c:v>3.0691999999999999</c:v>
                </c:pt>
                <c:pt idx="195">
                  <c:v>3.0600999999999998</c:v>
                </c:pt>
                <c:pt idx="196">
                  <c:v>3.0848</c:v>
                </c:pt>
                <c:pt idx="197">
                  <c:v>3.0928999999999967</c:v>
                </c:pt>
                <c:pt idx="198">
                  <c:v>3.1353999999999997</c:v>
                </c:pt>
                <c:pt idx="199">
                  <c:v>3.1343000000000001</c:v>
                </c:pt>
                <c:pt idx="200">
                  <c:v>3.1379000000000001</c:v>
                </c:pt>
                <c:pt idx="201">
                  <c:v>3.0959999999999988</c:v>
                </c:pt>
                <c:pt idx="202">
                  <c:v>3.1055000000000001</c:v>
                </c:pt>
                <c:pt idx="203">
                  <c:v>3.1048999999999998</c:v>
                </c:pt>
                <c:pt idx="204">
                  <c:v>3.1248</c:v>
                </c:pt>
                <c:pt idx="205">
                  <c:v>3.1412</c:v>
                </c:pt>
                <c:pt idx="206">
                  <c:v>3.1337999999999999</c:v>
                </c:pt>
                <c:pt idx="207">
                  <c:v>3.1187999999999998</c:v>
                </c:pt>
                <c:pt idx="208">
                  <c:v>3.1101000000000001</c:v>
                </c:pt>
                <c:pt idx="209">
                  <c:v>3.1568999999999967</c:v>
                </c:pt>
                <c:pt idx="210">
                  <c:v>3.1800999999999999</c:v>
                </c:pt>
                <c:pt idx="211">
                  <c:v>3.1817000000000002</c:v>
                </c:pt>
                <c:pt idx="212">
                  <c:v>3.2252999999999998</c:v>
                </c:pt>
                <c:pt idx="213">
                  <c:v>3.2544</c:v>
                </c:pt>
                <c:pt idx="214">
                  <c:v>3.2627999999999999</c:v>
                </c:pt>
                <c:pt idx="215">
                  <c:v>3.2675000000000041</c:v>
                </c:pt>
                <c:pt idx="216">
                  <c:v>3.2119</c:v>
                </c:pt>
                <c:pt idx="217">
                  <c:v>3.2909000000000002</c:v>
                </c:pt>
                <c:pt idx="218">
                  <c:v>3.2336999999999998</c:v>
                </c:pt>
                <c:pt idx="219">
                  <c:v>3.2410999999999999</c:v>
                </c:pt>
                <c:pt idx="220">
                  <c:v>3.2542</c:v>
                </c:pt>
                <c:pt idx="221">
                  <c:v>3.206</c:v>
                </c:pt>
                <c:pt idx="222">
                  <c:v>3.2410999999999999</c:v>
                </c:pt>
                <c:pt idx="223">
                  <c:v>3.2296999999999998</c:v>
                </c:pt>
                <c:pt idx="224">
                  <c:v>3.2561999999999998</c:v>
                </c:pt>
                <c:pt idx="225">
                  <c:v>3.2589000000000001</c:v>
                </c:pt>
                <c:pt idx="226">
                  <c:v>3.2206999999999999</c:v>
                </c:pt>
                <c:pt idx="227">
                  <c:v>3.2629000000000001</c:v>
                </c:pt>
                <c:pt idx="228">
                  <c:v>3.3081999999999998</c:v>
                </c:pt>
                <c:pt idx="229">
                  <c:v>3.2751000000000001</c:v>
                </c:pt>
                <c:pt idx="230">
                  <c:v>3.2942</c:v>
                </c:pt>
                <c:pt idx="231">
                  <c:v>3.2862</c:v>
                </c:pt>
                <c:pt idx="232">
                  <c:v>3.3068999999999966</c:v>
                </c:pt>
                <c:pt idx="233">
                  <c:v>3.3391999999999977</c:v>
                </c:pt>
                <c:pt idx="234">
                  <c:v>3.3728999999999956</c:v>
                </c:pt>
                <c:pt idx="235">
                  <c:v>3.3506999999999967</c:v>
                </c:pt>
                <c:pt idx="236">
                  <c:v>3.3541999999999987</c:v>
                </c:pt>
                <c:pt idx="237">
                  <c:v>3.3096999999999968</c:v>
                </c:pt>
                <c:pt idx="238">
                  <c:v>3.2631000000000046</c:v>
                </c:pt>
                <c:pt idx="239">
                  <c:v>3.1997999999999998</c:v>
                </c:pt>
                <c:pt idx="240">
                  <c:v>3.1938</c:v>
                </c:pt>
                <c:pt idx="241">
                  <c:v>3.258</c:v>
                </c:pt>
                <c:pt idx="242">
                  <c:v>3.2886000000000002</c:v>
                </c:pt>
                <c:pt idx="243">
                  <c:v>3.2419000000000002</c:v>
                </c:pt>
                <c:pt idx="244">
                  <c:v>3.3092999999999977</c:v>
                </c:pt>
                <c:pt idx="245">
                  <c:v>3.4116999999999966</c:v>
                </c:pt>
                <c:pt idx="246">
                  <c:v>3.4779999999999998</c:v>
                </c:pt>
                <c:pt idx="247">
                  <c:v>3.4647999999999999</c:v>
                </c:pt>
                <c:pt idx="248">
                  <c:v>3.4891999999999999</c:v>
                </c:pt>
                <c:pt idx="249">
                  <c:v>3.4823999999999997</c:v>
                </c:pt>
                <c:pt idx="250">
                  <c:v>3.4967999999999977</c:v>
                </c:pt>
                <c:pt idx="251">
                  <c:v>3.4409999999999998</c:v>
                </c:pt>
                <c:pt idx="252">
                  <c:v>3.4270999999999998</c:v>
                </c:pt>
                <c:pt idx="253">
                  <c:v>3.3855</c:v>
                </c:pt>
                <c:pt idx="254">
                  <c:v>3.3900999999999977</c:v>
                </c:pt>
                <c:pt idx="255">
                  <c:v>3.4607000000000001</c:v>
                </c:pt>
                <c:pt idx="256">
                  <c:v>3.4401000000000002</c:v>
                </c:pt>
                <c:pt idx="257">
                  <c:v>3.4979</c:v>
                </c:pt>
                <c:pt idx="258">
                  <c:v>3.4926999999999961</c:v>
                </c:pt>
                <c:pt idx="259">
                  <c:v>3.5333000000000001</c:v>
                </c:pt>
                <c:pt idx="260">
                  <c:v>3.5798999999999968</c:v>
                </c:pt>
                <c:pt idx="261">
                  <c:v>3.7191999999999998</c:v>
                </c:pt>
                <c:pt idx="262">
                  <c:v>3.6489000000000011</c:v>
                </c:pt>
                <c:pt idx="263">
                  <c:v>3.7574000000000001</c:v>
                </c:pt>
                <c:pt idx="264">
                  <c:v>3.6846000000000001</c:v>
                </c:pt>
                <c:pt idx="265">
                  <c:v>3.8101000000000003</c:v>
                </c:pt>
                <c:pt idx="266">
                  <c:v>3.9380999999999977</c:v>
                </c:pt>
                <c:pt idx="267">
                  <c:v>4.1025999999999945</c:v>
                </c:pt>
                <c:pt idx="268">
                  <c:v>3.8214999999999977</c:v>
                </c:pt>
                <c:pt idx="269">
                  <c:v>3.7545999999999999</c:v>
                </c:pt>
                <c:pt idx="270">
                  <c:v>3.6522999999999977</c:v>
                </c:pt>
                <c:pt idx="271">
                  <c:v>3.6149</c:v>
                </c:pt>
                <c:pt idx="272">
                  <c:v>3.6305000000000001</c:v>
                </c:pt>
                <c:pt idx="273">
                  <c:v>3.6759999999999997</c:v>
                </c:pt>
                <c:pt idx="274">
                  <c:v>3.6962999999999977</c:v>
                </c:pt>
                <c:pt idx="275">
                  <c:v>3.6753999999999998</c:v>
                </c:pt>
                <c:pt idx="276">
                  <c:v>3.6206</c:v>
                </c:pt>
                <c:pt idx="277">
                  <c:v>3.6321999999999997</c:v>
                </c:pt>
                <c:pt idx="278">
                  <c:v>3.6577999999999999</c:v>
                </c:pt>
                <c:pt idx="279">
                  <c:v>3.5507</c:v>
                </c:pt>
                <c:pt idx="280">
                  <c:v>3.4992999999999967</c:v>
                </c:pt>
                <c:pt idx="281">
                  <c:v>3.5074999999999998</c:v>
                </c:pt>
                <c:pt idx="282">
                  <c:v>3.5726999999999967</c:v>
                </c:pt>
                <c:pt idx="283">
                  <c:v>3.6564999999999968</c:v>
                </c:pt>
                <c:pt idx="284">
                  <c:v>3.7414000000000001</c:v>
                </c:pt>
                <c:pt idx="285">
                  <c:v>3.8025999999999978</c:v>
                </c:pt>
                <c:pt idx="286">
                  <c:v>3.5098000000000003</c:v>
                </c:pt>
                <c:pt idx="287">
                  <c:v>3.4752999999999967</c:v>
                </c:pt>
                <c:pt idx="288">
                  <c:v>3.5072000000000001</c:v>
                </c:pt>
                <c:pt idx="289">
                  <c:v>3.5602999999999998</c:v>
                </c:pt>
                <c:pt idx="290">
                  <c:v>3.5945999999999998</c:v>
                </c:pt>
                <c:pt idx="291">
                  <c:v>3.5961999999999987</c:v>
                </c:pt>
                <c:pt idx="292">
                  <c:v>3.6387999999999998</c:v>
                </c:pt>
                <c:pt idx="293">
                  <c:v>3.581</c:v>
                </c:pt>
                <c:pt idx="294">
                  <c:v>3.5596999999999968</c:v>
                </c:pt>
                <c:pt idx="295">
                  <c:v>3.6193</c:v>
                </c:pt>
                <c:pt idx="296">
                  <c:v>3.6012</c:v>
                </c:pt>
                <c:pt idx="297">
                  <c:v>3.6625999999999999</c:v>
                </c:pt>
                <c:pt idx="298">
                  <c:v>3.6930000000000001</c:v>
                </c:pt>
                <c:pt idx="299">
                  <c:v>3.6002000000000001</c:v>
                </c:pt>
                <c:pt idx="300">
                  <c:v>3.608699999999999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3788544"/>
        <c:axId val="103782656"/>
      </c:lineChart>
      <c:dateAx>
        <c:axId val="103775232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nextTo"/>
        <c:spPr>
          <a:effectLst/>
        </c:spPr>
        <c:txPr>
          <a:bodyPr rot="0"/>
          <a:lstStyle/>
          <a:p>
            <a:pPr rtl="0">
              <a:defRPr sz="1050" b="0" i="0" u="none" strike="noStrike" baseline="0"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3781120"/>
        <c:crosses val="autoZero"/>
        <c:auto val="1"/>
        <c:lblOffset val="100"/>
        <c:baseTimeUnit val="days"/>
      </c:dateAx>
      <c:valAx>
        <c:axId val="103781120"/>
        <c:scaling>
          <c:orientation val="minMax"/>
        </c:scaling>
        <c:delete val="0"/>
        <c:axPos val="l"/>
        <c:majorGridlines>
          <c:spPr>
            <a:ln w="3175">
              <a:solidFill>
                <a:srgbClr val="C0C0C0"/>
              </a:solidFill>
              <a:prstDash val="solid"/>
            </a:ln>
          </c:spPr>
        </c:majorGridlines>
        <c:numFmt formatCode="0.0" sourceLinked="0"/>
        <c:majorTickMark val="out"/>
        <c:minorTickMark val="none"/>
        <c:tickLblPos val="nextTo"/>
        <c:spPr>
          <a:effectLst/>
        </c:spPr>
        <c:txPr>
          <a:bodyPr/>
          <a:lstStyle/>
          <a:p>
            <a:pPr>
              <a:defRPr sz="1050" b="1" i="0" u="none" strike="noStrike" baseline="0">
                <a:solidFill>
                  <a:srgbClr val="0096EF"/>
                </a:solidFill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3775232"/>
        <c:crosses val="autoZero"/>
        <c:crossBetween val="between"/>
      </c:valAx>
      <c:valAx>
        <c:axId val="103782656"/>
        <c:scaling>
          <c:orientation val="minMax"/>
          <c:min val="2.5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effectLst/>
        </c:spPr>
        <c:txPr>
          <a:bodyPr/>
          <a:lstStyle/>
          <a:p>
            <a:pPr>
              <a:defRPr sz="1050" b="1" i="0" u="none" strike="noStrike" baseline="0">
                <a:solidFill>
                  <a:srgbClr val="FF0000"/>
                </a:solidFill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3788544"/>
        <c:crosses val="max"/>
        <c:crossBetween val="between"/>
      </c:valAx>
      <c:dateAx>
        <c:axId val="103788544"/>
        <c:scaling>
          <c:orientation val="minMax"/>
        </c:scaling>
        <c:delete val="1"/>
        <c:axPos val="b"/>
        <c:numFmt formatCode="dd/mm/yy" sourceLinked="1"/>
        <c:majorTickMark val="out"/>
        <c:minorTickMark val="none"/>
        <c:tickLblPos val="none"/>
        <c:crossAx val="103782656"/>
        <c:crosses val="autoZero"/>
        <c:auto val="1"/>
        <c:lblOffset val="100"/>
        <c:baseTimeUnit val="days"/>
      </c:dateAx>
      <c:spPr>
        <a:solidFill>
          <a:srgbClr val="FFFFFF"/>
        </a:solidFill>
        <a:ln w="25400">
          <a:noFill/>
        </a:ln>
      </c:spPr>
    </c:plotArea>
    <c:plotVisOnly val="1"/>
    <c:dispBlanksAs val="gap"/>
    <c:showDLblsOverMax val="0"/>
  </c:chart>
  <c:spPr>
    <a:ln w="25400">
      <a:noFill/>
    </a:ln>
  </c:spPr>
  <c:txPr>
    <a:bodyPr/>
    <a:lstStyle/>
    <a:p>
      <a:pPr>
        <a:defRPr sz="800"/>
      </a:pPr>
      <a:endParaRPr lang="pl-PL"/>
    </a:p>
  </c:txPr>
  <c:externalData r:id="rId1">
    <c:autoUpdate val="0"/>
  </c:externalData>
  <c:userShapes r:id="rId2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v>PKB r/r (lewa oś)</c:v>
          </c:tx>
          <c:spPr>
            <a:ln w="38100">
              <a:solidFill>
                <a:srgbClr val="0096EF"/>
              </a:solidFill>
              <a:prstDash val="solid"/>
            </a:ln>
          </c:spPr>
          <c:marker>
            <c:symbol val="none"/>
          </c:marker>
          <c:cat>
            <c:numRef>
              <c:f>POLAND!$V$23:$V$48</c:f>
              <c:numCache>
                <c:formatCode>dd/mm/yy</c:formatCode>
                <c:ptCount val="26"/>
                <c:pt idx="0">
                  <c:v>38442</c:v>
                </c:pt>
                <c:pt idx="1">
                  <c:v>38533</c:v>
                </c:pt>
                <c:pt idx="2">
                  <c:v>38625</c:v>
                </c:pt>
                <c:pt idx="3">
                  <c:v>38716</c:v>
                </c:pt>
                <c:pt idx="4">
                  <c:v>38807</c:v>
                </c:pt>
                <c:pt idx="5">
                  <c:v>38898</c:v>
                </c:pt>
                <c:pt idx="6">
                  <c:v>38989</c:v>
                </c:pt>
                <c:pt idx="7">
                  <c:v>39080</c:v>
                </c:pt>
                <c:pt idx="8">
                  <c:v>39171</c:v>
                </c:pt>
                <c:pt idx="9">
                  <c:v>39262</c:v>
                </c:pt>
                <c:pt idx="10">
                  <c:v>39353</c:v>
                </c:pt>
                <c:pt idx="11">
                  <c:v>39447</c:v>
                </c:pt>
                <c:pt idx="12">
                  <c:v>39538</c:v>
                </c:pt>
                <c:pt idx="13">
                  <c:v>39629</c:v>
                </c:pt>
                <c:pt idx="14">
                  <c:v>39721</c:v>
                </c:pt>
                <c:pt idx="15">
                  <c:v>39813</c:v>
                </c:pt>
                <c:pt idx="16">
                  <c:v>39903</c:v>
                </c:pt>
                <c:pt idx="17">
                  <c:v>39994</c:v>
                </c:pt>
                <c:pt idx="18">
                  <c:v>40086</c:v>
                </c:pt>
                <c:pt idx="19">
                  <c:v>40178</c:v>
                </c:pt>
                <c:pt idx="20">
                  <c:v>40268</c:v>
                </c:pt>
                <c:pt idx="21">
                  <c:v>40359</c:v>
                </c:pt>
                <c:pt idx="22">
                  <c:v>40451</c:v>
                </c:pt>
                <c:pt idx="23">
                  <c:v>40543</c:v>
                </c:pt>
                <c:pt idx="24">
                  <c:v>40633</c:v>
                </c:pt>
                <c:pt idx="25">
                  <c:v>40724</c:v>
                </c:pt>
              </c:numCache>
            </c:numRef>
          </c:cat>
          <c:val>
            <c:numRef>
              <c:f>POLAND!$W$23:$W$48</c:f>
              <c:numCache>
                <c:formatCode>General</c:formatCode>
                <c:ptCount val="26"/>
                <c:pt idx="0">
                  <c:v>2.4</c:v>
                </c:pt>
                <c:pt idx="1">
                  <c:v>3</c:v>
                </c:pt>
                <c:pt idx="2">
                  <c:v>4.0999999999999996</c:v>
                </c:pt>
                <c:pt idx="3">
                  <c:v>4.4000000000000004</c:v>
                </c:pt>
                <c:pt idx="4">
                  <c:v>6.3</c:v>
                </c:pt>
                <c:pt idx="5">
                  <c:v>6.3</c:v>
                </c:pt>
                <c:pt idx="6">
                  <c:v>6.6</c:v>
                </c:pt>
                <c:pt idx="7">
                  <c:v>6.6</c:v>
                </c:pt>
                <c:pt idx="8">
                  <c:v>7.5</c:v>
                </c:pt>
                <c:pt idx="9">
                  <c:v>6.6</c:v>
                </c:pt>
                <c:pt idx="10">
                  <c:v>6.6</c:v>
                </c:pt>
                <c:pt idx="11">
                  <c:v>6.6</c:v>
                </c:pt>
                <c:pt idx="12">
                  <c:v>6.3</c:v>
                </c:pt>
                <c:pt idx="13">
                  <c:v>6.1</c:v>
                </c:pt>
                <c:pt idx="14">
                  <c:v>5.2</c:v>
                </c:pt>
                <c:pt idx="15">
                  <c:v>3.2</c:v>
                </c:pt>
                <c:pt idx="16">
                  <c:v>0.5</c:v>
                </c:pt>
                <c:pt idx="17">
                  <c:v>1</c:v>
                </c:pt>
                <c:pt idx="18">
                  <c:v>1.7</c:v>
                </c:pt>
                <c:pt idx="19">
                  <c:v>3.2</c:v>
                </c:pt>
                <c:pt idx="20">
                  <c:v>3</c:v>
                </c:pt>
                <c:pt idx="21">
                  <c:v>3.5</c:v>
                </c:pt>
                <c:pt idx="22">
                  <c:v>4.2</c:v>
                </c:pt>
                <c:pt idx="23">
                  <c:v>4.4000000000000004</c:v>
                </c:pt>
                <c:pt idx="24">
                  <c:v>4.4000000000000004</c:v>
                </c:pt>
                <c:pt idx="25">
                  <c:v>4.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3835520"/>
        <c:axId val="103837056"/>
      </c:lineChart>
      <c:lineChart>
        <c:grouping val="standard"/>
        <c:varyColors val="0"/>
        <c:ser>
          <c:idx val="1"/>
          <c:order val="1"/>
          <c:tx>
            <c:v>EURPLN (prawa oś)</c:v>
          </c:tx>
          <c:spPr>
            <a:ln w="38100">
              <a:solidFill>
                <a:srgbClr val="DC1D1D"/>
              </a:solidFill>
              <a:prstDash val="solid"/>
            </a:ln>
          </c:spPr>
          <c:marker>
            <c:symbol val="none"/>
          </c:marker>
          <c:cat>
            <c:numRef>
              <c:f>POLAND!$V$23:$V$48</c:f>
              <c:numCache>
                <c:formatCode>dd/mm/yy</c:formatCode>
                <c:ptCount val="26"/>
                <c:pt idx="0">
                  <c:v>38442</c:v>
                </c:pt>
                <c:pt idx="1">
                  <c:v>38533</c:v>
                </c:pt>
                <c:pt idx="2">
                  <c:v>38625</c:v>
                </c:pt>
                <c:pt idx="3">
                  <c:v>38716</c:v>
                </c:pt>
                <c:pt idx="4">
                  <c:v>38807</c:v>
                </c:pt>
                <c:pt idx="5">
                  <c:v>38898</c:v>
                </c:pt>
                <c:pt idx="6">
                  <c:v>38989</c:v>
                </c:pt>
                <c:pt idx="7">
                  <c:v>39080</c:v>
                </c:pt>
                <c:pt idx="8">
                  <c:v>39171</c:v>
                </c:pt>
                <c:pt idx="9">
                  <c:v>39262</c:v>
                </c:pt>
                <c:pt idx="10">
                  <c:v>39353</c:v>
                </c:pt>
                <c:pt idx="11">
                  <c:v>39447</c:v>
                </c:pt>
                <c:pt idx="12">
                  <c:v>39538</c:v>
                </c:pt>
                <c:pt idx="13">
                  <c:v>39629</c:v>
                </c:pt>
                <c:pt idx="14">
                  <c:v>39721</c:v>
                </c:pt>
                <c:pt idx="15">
                  <c:v>39813</c:v>
                </c:pt>
                <c:pt idx="16">
                  <c:v>39903</c:v>
                </c:pt>
                <c:pt idx="17">
                  <c:v>39994</c:v>
                </c:pt>
                <c:pt idx="18">
                  <c:v>40086</c:v>
                </c:pt>
                <c:pt idx="19">
                  <c:v>40178</c:v>
                </c:pt>
                <c:pt idx="20">
                  <c:v>40268</c:v>
                </c:pt>
                <c:pt idx="21">
                  <c:v>40359</c:v>
                </c:pt>
                <c:pt idx="22">
                  <c:v>40451</c:v>
                </c:pt>
                <c:pt idx="23">
                  <c:v>40543</c:v>
                </c:pt>
                <c:pt idx="24">
                  <c:v>40633</c:v>
                </c:pt>
                <c:pt idx="25">
                  <c:v>40724</c:v>
                </c:pt>
              </c:numCache>
            </c:numRef>
          </c:cat>
          <c:val>
            <c:numRef>
              <c:f>POLAND!$X$23:$X$48</c:f>
              <c:numCache>
                <c:formatCode>General</c:formatCode>
                <c:ptCount val="26"/>
                <c:pt idx="0">
                  <c:v>4.0976999999999997</c:v>
                </c:pt>
                <c:pt idx="1">
                  <c:v>4.0422000000000002</c:v>
                </c:pt>
                <c:pt idx="2">
                  <c:v>3.9243999999999999</c:v>
                </c:pt>
                <c:pt idx="3">
                  <c:v>3.8456999999999977</c:v>
                </c:pt>
                <c:pt idx="4">
                  <c:v>3.9217</c:v>
                </c:pt>
                <c:pt idx="5">
                  <c:v>4.0667999999999997</c:v>
                </c:pt>
                <c:pt idx="6">
                  <c:v>3.9708999999999977</c:v>
                </c:pt>
                <c:pt idx="7">
                  <c:v>3.8294999999999977</c:v>
                </c:pt>
                <c:pt idx="8">
                  <c:v>3.8601999999999999</c:v>
                </c:pt>
                <c:pt idx="9">
                  <c:v>3.7600000000000002</c:v>
                </c:pt>
                <c:pt idx="10">
                  <c:v>3.7694000000000001</c:v>
                </c:pt>
                <c:pt idx="11">
                  <c:v>3.5954999999999977</c:v>
                </c:pt>
                <c:pt idx="12">
                  <c:v>3.5159999999999987</c:v>
                </c:pt>
                <c:pt idx="13">
                  <c:v>3.3509999999999978</c:v>
                </c:pt>
                <c:pt idx="14">
                  <c:v>3.3961999999999977</c:v>
                </c:pt>
                <c:pt idx="15">
                  <c:v>4.149</c:v>
                </c:pt>
                <c:pt idx="16">
                  <c:v>4.6367000000000003</c:v>
                </c:pt>
                <c:pt idx="17">
                  <c:v>4.4489999999999998</c:v>
                </c:pt>
                <c:pt idx="18">
                  <c:v>4.2068000000000003</c:v>
                </c:pt>
                <c:pt idx="19">
                  <c:v>4.1006</c:v>
                </c:pt>
                <c:pt idx="20">
                  <c:v>3.8605999999999998</c:v>
                </c:pt>
                <c:pt idx="21">
                  <c:v>4.1469999999999985</c:v>
                </c:pt>
                <c:pt idx="22">
                  <c:v>3.9641000000000002</c:v>
                </c:pt>
                <c:pt idx="23">
                  <c:v>3.964</c:v>
                </c:pt>
                <c:pt idx="24">
                  <c:v>4.0245999999999951</c:v>
                </c:pt>
                <c:pt idx="25">
                  <c:v>3.977199999999999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3848576"/>
        <c:axId val="103847040"/>
      </c:lineChart>
      <c:dateAx>
        <c:axId val="103835520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nextTo"/>
        <c:spPr>
          <a:effectLst/>
        </c:spPr>
        <c:txPr>
          <a:bodyPr rot="0"/>
          <a:lstStyle/>
          <a:p>
            <a:pPr rtl="0">
              <a:defRPr sz="1100" b="0" i="0" u="none" strike="noStrike" baseline="0"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3837056"/>
        <c:crosses val="autoZero"/>
        <c:auto val="1"/>
        <c:lblOffset val="100"/>
        <c:baseTimeUnit val="months"/>
      </c:dateAx>
      <c:valAx>
        <c:axId val="103837056"/>
        <c:scaling>
          <c:orientation val="minMax"/>
        </c:scaling>
        <c:delete val="0"/>
        <c:axPos val="l"/>
        <c:majorGridlines>
          <c:spPr>
            <a:ln w="3175">
              <a:solidFill>
                <a:srgbClr val="C0C0C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effectLst/>
        </c:spPr>
        <c:txPr>
          <a:bodyPr/>
          <a:lstStyle/>
          <a:p>
            <a:pPr>
              <a:defRPr sz="1100" b="1" i="0" u="none" strike="noStrike" baseline="0">
                <a:solidFill>
                  <a:srgbClr val="009CDD"/>
                </a:solidFill>
                <a:latin typeface="Tahoma"/>
                <a:ea typeface="Tahoma"/>
                <a:cs typeface="Tahoma"/>
              </a:defRPr>
            </a:pPr>
            <a:endParaRPr lang="pl-PL"/>
          </a:p>
        </c:txPr>
        <c:crossAx val="103835520"/>
        <c:crosses val="autoZero"/>
        <c:crossBetween val="between"/>
      </c:valAx>
      <c:valAx>
        <c:axId val="103847040"/>
        <c:scaling>
          <c:orientation val="maxMin"/>
          <c:min val="3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 b="1">
                <a:solidFill>
                  <a:srgbClr val="FF0000"/>
                </a:solidFill>
              </a:defRPr>
            </a:pPr>
            <a:endParaRPr lang="pl-PL"/>
          </a:p>
        </c:txPr>
        <c:crossAx val="103848576"/>
        <c:crosses val="max"/>
        <c:crossBetween val="between"/>
      </c:valAx>
      <c:dateAx>
        <c:axId val="103848576"/>
        <c:scaling>
          <c:orientation val="minMax"/>
        </c:scaling>
        <c:delete val="1"/>
        <c:axPos val="t"/>
        <c:numFmt formatCode="dd/mm/yy" sourceLinked="1"/>
        <c:majorTickMark val="out"/>
        <c:minorTickMark val="none"/>
        <c:tickLblPos val="none"/>
        <c:crossAx val="103847040"/>
        <c:crosses val="autoZero"/>
        <c:auto val="1"/>
        <c:lblOffset val="100"/>
        <c:baseTimeUnit val="months"/>
      </c:dateAx>
      <c:spPr>
        <a:solidFill>
          <a:srgbClr val="FFFFFF"/>
        </a:solidFill>
        <a:ln w="25400">
          <a:noFill/>
        </a:ln>
      </c:spPr>
    </c:plotArea>
    <c:plotVisOnly val="1"/>
    <c:dispBlanksAs val="gap"/>
    <c:showDLblsOverMax val="0"/>
  </c:chart>
  <c:spPr>
    <a:ln w="25400">
      <a:noFill/>
    </a:ln>
  </c:spPr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/>
              <a:t>Senior loan of</a:t>
            </a:r>
            <a:r>
              <a:rPr lang="pl-PL" sz="1400"/>
              <a:t>f</a:t>
            </a:r>
            <a:r>
              <a:rPr lang="en-US" sz="1400"/>
              <a:t>icer survey</a:t>
            </a:r>
          </a:p>
        </c:rich>
      </c:tx>
      <c:layout>
        <c:manualLayout>
          <c:xMode val="edge"/>
          <c:yMode val="edge"/>
          <c:x val="0.2454532586651775"/>
          <c:y val="6.0385960705653087E-2"/>
        </c:manualLayout>
      </c:layout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5400">
              <a:solidFill>
                <a:srgbClr val="0096EF"/>
              </a:solidFill>
              <a:prstDash val="solid"/>
            </a:ln>
          </c:spPr>
          <c:marker>
            <c:symbol val="none"/>
          </c:marker>
          <c:cat>
            <c:strRef>
              <c:f>Arkusz1!$H$4:$H$89</c:f>
              <c:strCache>
                <c:ptCount val="86"/>
                <c:pt idx="0">
                  <c:v>Q2'90</c:v>
                </c:pt>
                <c:pt idx="1">
                  <c:v>Q3'90</c:v>
                </c:pt>
                <c:pt idx="2">
                  <c:v>Q4'90</c:v>
                </c:pt>
                <c:pt idx="3">
                  <c:v>Q1'91</c:v>
                </c:pt>
                <c:pt idx="4">
                  <c:v>Q2'91</c:v>
                </c:pt>
                <c:pt idx="5">
                  <c:v>Q3'91</c:v>
                </c:pt>
                <c:pt idx="6">
                  <c:v>Q4'91</c:v>
                </c:pt>
                <c:pt idx="7">
                  <c:v>Q1'92</c:v>
                </c:pt>
                <c:pt idx="8">
                  <c:v>Q2'92</c:v>
                </c:pt>
                <c:pt idx="9">
                  <c:v>Q3'92</c:v>
                </c:pt>
                <c:pt idx="10">
                  <c:v>Q4'92</c:v>
                </c:pt>
                <c:pt idx="11">
                  <c:v>Q1'93</c:v>
                </c:pt>
                <c:pt idx="12">
                  <c:v>Q2'93</c:v>
                </c:pt>
                <c:pt idx="13">
                  <c:v>Q3'93</c:v>
                </c:pt>
                <c:pt idx="14">
                  <c:v>Q4'93</c:v>
                </c:pt>
                <c:pt idx="15">
                  <c:v>Q1'94</c:v>
                </c:pt>
                <c:pt idx="16">
                  <c:v>Q2'94</c:v>
                </c:pt>
                <c:pt idx="17">
                  <c:v>Q3'94</c:v>
                </c:pt>
                <c:pt idx="18">
                  <c:v>Q4'94</c:v>
                </c:pt>
                <c:pt idx="19">
                  <c:v>Q1'95</c:v>
                </c:pt>
                <c:pt idx="20">
                  <c:v>Q2'95</c:v>
                </c:pt>
                <c:pt idx="21">
                  <c:v>Q3'95</c:v>
                </c:pt>
                <c:pt idx="22">
                  <c:v>Q4'95</c:v>
                </c:pt>
                <c:pt idx="23">
                  <c:v>Q1'96</c:v>
                </c:pt>
                <c:pt idx="24">
                  <c:v>Q2'96</c:v>
                </c:pt>
                <c:pt idx="25">
                  <c:v>Q3'96</c:v>
                </c:pt>
                <c:pt idx="26">
                  <c:v>Q4'96</c:v>
                </c:pt>
                <c:pt idx="27">
                  <c:v>Q1'97</c:v>
                </c:pt>
                <c:pt idx="28">
                  <c:v>Q2'97</c:v>
                </c:pt>
                <c:pt idx="29">
                  <c:v>Q3'97</c:v>
                </c:pt>
                <c:pt idx="30">
                  <c:v>Q4'97</c:v>
                </c:pt>
                <c:pt idx="31">
                  <c:v>Q1'98</c:v>
                </c:pt>
                <c:pt idx="32">
                  <c:v>Q2'98</c:v>
                </c:pt>
                <c:pt idx="33">
                  <c:v>Q3'98</c:v>
                </c:pt>
                <c:pt idx="34">
                  <c:v>Q4'98</c:v>
                </c:pt>
                <c:pt idx="35">
                  <c:v>Q1'99</c:v>
                </c:pt>
                <c:pt idx="36">
                  <c:v>Q2'99</c:v>
                </c:pt>
                <c:pt idx="37">
                  <c:v>Q3'99</c:v>
                </c:pt>
                <c:pt idx="38">
                  <c:v>Q4'99</c:v>
                </c:pt>
                <c:pt idx="39">
                  <c:v>Q1'00</c:v>
                </c:pt>
                <c:pt idx="40">
                  <c:v>Q2'00</c:v>
                </c:pt>
                <c:pt idx="41">
                  <c:v>Q3'00</c:v>
                </c:pt>
                <c:pt idx="42">
                  <c:v>Q4'00</c:v>
                </c:pt>
                <c:pt idx="43">
                  <c:v>Q1'01</c:v>
                </c:pt>
                <c:pt idx="44">
                  <c:v>Q2'01</c:v>
                </c:pt>
                <c:pt idx="45">
                  <c:v>Q3'01</c:v>
                </c:pt>
                <c:pt idx="46">
                  <c:v>Q4'01</c:v>
                </c:pt>
                <c:pt idx="47">
                  <c:v>Q1'02</c:v>
                </c:pt>
                <c:pt idx="48">
                  <c:v>Q2'02</c:v>
                </c:pt>
                <c:pt idx="49">
                  <c:v>Q3'02</c:v>
                </c:pt>
                <c:pt idx="50">
                  <c:v>Q4'02</c:v>
                </c:pt>
                <c:pt idx="51">
                  <c:v>Q1'03</c:v>
                </c:pt>
                <c:pt idx="52">
                  <c:v>Q2'03</c:v>
                </c:pt>
                <c:pt idx="53">
                  <c:v>Q3'03</c:v>
                </c:pt>
                <c:pt idx="54">
                  <c:v>Q4'03</c:v>
                </c:pt>
                <c:pt idx="55">
                  <c:v>Q1'04</c:v>
                </c:pt>
                <c:pt idx="56">
                  <c:v>Q2'04</c:v>
                </c:pt>
                <c:pt idx="57">
                  <c:v>Q3'04</c:v>
                </c:pt>
                <c:pt idx="58">
                  <c:v>Q4'04</c:v>
                </c:pt>
                <c:pt idx="59">
                  <c:v>Q1'05</c:v>
                </c:pt>
                <c:pt idx="60">
                  <c:v>Q2'05</c:v>
                </c:pt>
                <c:pt idx="61">
                  <c:v>Q3'05</c:v>
                </c:pt>
                <c:pt idx="62">
                  <c:v>Q4'05</c:v>
                </c:pt>
                <c:pt idx="63">
                  <c:v>Q1'06</c:v>
                </c:pt>
                <c:pt idx="64">
                  <c:v>Q2'06</c:v>
                </c:pt>
                <c:pt idx="65">
                  <c:v>Q3'06</c:v>
                </c:pt>
                <c:pt idx="66">
                  <c:v>Q4'06</c:v>
                </c:pt>
                <c:pt idx="67">
                  <c:v>Q1'07</c:v>
                </c:pt>
                <c:pt idx="68">
                  <c:v>Q2'07</c:v>
                </c:pt>
                <c:pt idx="69">
                  <c:v>Q3'07</c:v>
                </c:pt>
                <c:pt idx="70">
                  <c:v>Q4'07</c:v>
                </c:pt>
                <c:pt idx="71">
                  <c:v>Q1'08</c:v>
                </c:pt>
                <c:pt idx="72">
                  <c:v>Q2'08</c:v>
                </c:pt>
                <c:pt idx="73">
                  <c:v>Q3'08</c:v>
                </c:pt>
                <c:pt idx="74">
                  <c:v>Q4'08</c:v>
                </c:pt>
                <c:pt idx="75">
                  <c:v>Q1'09</c:v>
                </c:pt>
                <c:pt idx="76">
                  <c:v>Q2'09</c:v>
                </c:pt>
                <c:pt idx="77">
                  <c:v>Q3'09</c:v>
                </c:pt>
                <c:pt idx="78">
                  <c:v>Q4'09</c:v>
                </c:pt>
                <c:pt idx="79">
                  <c:v>Q1'10</c:v>
                </c:pt>
                <c:pt idx="80">
                  <c:v>Q2'10</c:v>
                </c:pt>
                <c:pt idx="81">
                  <c:v>Q3'10</c:v>
                </c:pt>
                <c:pt idx="82">
                  <c:v>Q4'10</c:v>
                </c:pt>
                <c:pt idx="83">
                  <c:v>Q1'11</c:v>
                </c:pt>
                <c:pt idx="84">
                  <c:v>Q2'11</c:v>
                </c:pt>
                <c:pt idx="85">
                  <c:v>Q3'11</c:v>
                </c:pt>
              </c:strCache>
            </c:strRef>
          </c:cat>
          <c:val>
            <c:numRef>
              <c:f>Arkusz1!$B$4:$B$89</c:f>
              <c:numCache>
                <c:formatCode>0.0</c:formatCode>
                <c:ptCount val="86"/>
                <c:pt idx="0">
                  <c:v>56.9</c:v>
                </c:pt>
                <c:pt idx="1">
                  <c:v>39.5</c:v>
                </c:pt>
                <c:pt idx="2">
                  <c:v>48.9</c:v>
                </c:pt>
                <c:pt idx="3">
                  <c:v>36</c:v>
                </c:pt>
                <c:pt idx="4">
                  <c:v>15.5</c:v>
                </c:pt>
                <c:pt idx="5">
                  <c:v>12.3</c:v>
                </c:pt>
                <c:pt idx="6">
                  <c:v>9</c:v>
                </c:pt>
                <c:pt idx="7">
                  <c:v>5.3</c:v>
                </c:pt>
                <c:pt idx="8">
                  <c:v>0.9</c:v>
                </c:pt>
                <c:pt idx="9">
                  <c:v>-1.7</c:v>
                </c:pt>
                <c:pt idx="10">
                  <c:v>4.4000000000000004</c:v>
                </c:pt>
                <c:pt idx="11">
                  <c:v>2.7</c:v>
                </c:pt>
                <c:pt idx="12">
                  <c:v>-7.9</c:v>
                </c:pt>
                <c:pt idx="13">
                  <c:v>-19.5</c:v>
                </c:pt>
                <c:pt idx="14">
                  <c:v>-17.8</c:v>
                </c:pt>
                <c:pt idx="15">
                  <c:v>-13</c:v>
                </c:pt>
                <c:pt idx="16">
                  <c:v>-12.2</c:v>
                </c:pt>
                <c:pt idx="17">
                  <c:v>-7</c:v>
                </c:pt>
                <c:pt idx="18">
                  <c:v>-17.399999999999999</c:v>
                </c:pt>
                <c:pt idx="19">
                  <c:v>-6.9</c:v>
                </c:pt>
                <c:pt idx="20">
                  <c:v>-5.9</c:v>
                </c:pt>
                <c:pt idx="21">
                  <c:v>-6.1</c:v>
                </c:pt>
                <c:pt idx="22">
                  <c:v>-3.5</c:v>
                </c:pt>
                <c:pt idx="23">
                  <c:v>7</c:v>
                </c:pt>
                <c:pt idx="24">
                  <c:v>-0.9</c:v>
                </c:pt>
                <c:pt idx="25">
                  <c:v>-3.7</c:v>
                </c:pt>
                <c:pt idx="26">
                  <c:v>-7.8</c:v>
                </c:pt>
                <c:pt idx="27">
                  <c:v>-5.5</c:v>
                </c:pt>
                <c:pt idx="28">
                  <c:v>-7</c:v>
                </c:pt>
                <c:pt idx="29">
                  <c:v>-5.7</c:v>
                </c:pt>
                <c:pt idx="30">
                  <c:v>-7</c:v>
                </c:pt>
                <c:pt idx="31">
                  <c:v>1.8</c:v>
                </c:pt>
                <c:pt idx="32">
                  <c:v>-7.1</c:v>
                </c:pt>
                <c:pt idx="33">
                  <c:v>0</c:v>
                </c:pt>
                <c:pt idx="34">
                  <c:v>36.4</c:v>
                </c:pt>
                <c:pt idx="35">
                  <c:v>7.4</c:v>
                </c:pt>
                <c:pt idx="36">
                  <c:v>10</c:v>
                </c:pt>
                <c:pt idx="37">
                  <c:v>5.4</c:v>
                </c:pt>
                <c:pt idx="38">
                  <c:v>9.1</c:v>
                </c:pt>
                <c:pt idx="39">
                  <c:v>10.9</c:v>
                </c:pt>
                <c:pt idx="40">
                  <c:v>24.6</c:v>
                </c:pt>
                <c:pt idx="41">
                  <c:v>33.9</c:v>
                </c:pt>
                <c:pt idx="42">
                  <c:v>43.8</c:v>
                </c:pt>
                <c:pt idx="43">
                  <c:v>59.7</c:v>
                </c:pt>
                <c:pt idx="44">
                  <c:v>50.9</c:v>
                </c:pt>
                <c:pt idx="45">
                  <c:v>40.4</c:v>
                </c:pt>
                <c:pt idx="46">
                  <c:v>50.9</c:v>
                </c:pt>
                <c:pt idx="47">
                  <c:v>45.4</c:v>
                </c:pt>
                <c:pt idx="48">
                  <c:v>25</c:v>
                </c:pt>
                <c:pt idx="49">
                  <c:v>21.4</c:v>
                </c:pt>
                <c:pt idx="50">
                  <c:v>20</c:v>
                </c:pt>
                <c:pt idx="51">
                  <c:v>22</c:v>
                </c:pt>
                <c:pt idx="52">
                  <c:v>8.9</c:v>
                </c:pt>
                <c:pt idx="53">
                  <c:v>3.5</c:v>
                </c:pt>
                <c:pt idx="54">
                  <c:v>0</c:v>
                </c:pt>
                <c:pt idx="55">
                  <c:v>-17.899999999999999</c:v>
                </c:pt>
                <c:pt idx="56">
                  <c:v>-23.2</c:v>
                </c:pt>
                <c:pt idx="57">
                  <c:v>-20</c:v>
                </c:pt>
                <c:pt idx="58">
                  <c:v>-21.1</c:v>
                </c:pt>
                <c:pt idx="59">
                  <c:v>-23.6</c:v>
                </c:pt>
                <c:pt idx="60">
                  <c:v>-24.1</c:v>
                </c:pt>
                <c:pt idx="61">
                  <c:v>-16.7</c:v>
                </c:pt>
                <c:pt idx="62">
                  <c:v>-8.8000000000000007</c:v>
                </c:pt>
                <c:pt idx="63">
                  <c:v>-10.7</c:v>
                </c:pt>
                <c:pt idx="64">
                  <c:v>-12.3</c:v>
                </c:pt>
                <c:pt idx="65">
                  <c:v>-8.9</c:v>
                </c:pt>
                <c:pt idx="66">
                  <c:v>0</c:v>
                </c:pt>
                <c:pt idx="67">
                  <c:v>0</c:v>
                </c:pt>
                <c:pt idx="68">
                  <c:v>-3.7</c:v>
                </c:pt>
                <c:pt idx="69">
                  <c:v>7.5</c:v>
                </c:pt>
                <c:pt idx="70">
                  <c:v>19.2</c:v>
                </c:pt>
                <c:pt idx="71">
                  <c:v>32.200000000000003</c:v>
                </c:pt>
                <c:pt idx="72">
                  <c:v>55.4</c:v>
                </c:pt>
                <c:pt idx="73">
                  <c:v>57.6</c:v>
                </c:pt>
                <c:pt idx="74">
                  <c:v>83.6</c:v>
                </c:pt>
                <c:pt idx="75">
                  <c:v>64.2</c:v>
                </c:pt>
                <c:pt idx="76">
                  <c:v>39.6</c:v>
                </c:pt>
                <c:pt idx="77">
                  <c:v>31.5</c:v>
                </c:pt>
                <c:pt idx="78">
                  <c:v>14</c:v>
                </c:pt>
                <c:pt idx="79">
                  <c:v>-5.5</c:v>
                </c:pt>
                <c:pt idx="80">
                  <c:v>-7.1</c:v>
                </c:pt>
                <c:pt idx="81">
                  <c:v>-8.8000000000000007</c:v>
                </c:pt>
                <c:pt idx="82">
                  <c:v>-10.5</c:v>
                </c:pt>
                <c:pt idx="83">
                  <c:v>-10.5</c:v>
                </c:pt>
                <c:pt idx="84">
                  <c:v>-16.399999999999999</c:v>
                </c:pt>
                <c:pt idx="85">
                  <c:v>-21.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0220928"/>
        <c:axId val="80222464"/>
      </c:lineChart>
      <c:catAx>
        <c:axId val="80220928"/>
        <c:scaling>
          <c:orientation val="minMax"/>
        </c:scaling>
        <c:delete val="0"/>
        <c:axPos val="b"/>
        <c:majorTickMark val="out"/>
        <c:minorTickMark val="none"/>
        <c:tickLblPos val="low"/>
        <c:spPr>
          <a:effectLst/>
        </c:spPr>
        <c:txPr>
          <a:bodyPr rot="0"/>
          <a:lstStyle/>
          <a:p>
            <a:pPr rtl="0">
              <a:defRPr sz="1050" b="0" i="0" u="none" strike="noStrike" baseline="0">
                <a:latin typeface="Tahoma"/>
                <a:ea typeface="Tahoma"/>
                <a:cs typeface="Tahoma"/>
              </a:defRPr>
            </a:pPr>
            <a:endParaRPr lang="pl-PL"/>
          </a:p>
        </c:txPr>
        <c:crossAx val="80222464"/>
        <c:crosses val="autoZero"/>
        <c:auto val="1"/>
        <c:lblAlgn val="ctr"/>
        <c:lblOffset val="100"/>
        <c:tickLblSkip val="12"/>
        <c:noMultiLvlLbl val="0"/>
      </c:catAx>
      <c:valAx>
        <c:axId val="80222464"/>
        <c:scaling>
          <c:orientation val="minMax"/>
        </c:scaling>
        <c:delete val="0"/>
        <c:axPos val="l"/>
        <c:majorGridlines>
          <c:spPr>
            <a:ln w="3175">
              <a:solidFill>
                <a:srgbClr val="C0C0C0"/>
              </a:solidFill>
              <a:prstDash val="solid"/>
            </a:ln>
          </c:spPr>
        </c:majorGridlines>
        <c:numFmt formatCode="0" sourceLinked="0"/>
        <c:majorTickMark val="out"/>
        <c:minorTickMark val="none"/>
        <c:tickLblPos val="nextTo"/>
        <c:spPr>
          <a:effectLst/>
        </c:spPr>
        <c:txPr>
          <a:bodyPr/>
          <a:lstStyle/>
          <a:p>
            <a:pPr>
              <a:defRPr sz="1050" b="0" i="0" u="none" strike="noStrike" baseline="0">
                <a:solidFill>
                  <a:srgbClr val="000000"/>
                </a:solidFill>
                <a:latin typeface="Tahoma"/>
                <a:ea typeface="Tahoma"/>
                <a:cs typeface="Tahoma"/>
              </a:defRPr>
            </a:pPr>
            <a:endParaRPr lang="pl-PL"/>
          </a:p>
        </c:txPr>
        <c:crossAx val="80220928"/>
        <c:crosses val="autoZero"/>
        <c:crossBetween val="between"/>
      </c:valAx>
      <c:spPr>
        <a:solidFill>
          <a:srgbClr val="FFFFFF"/>
        </a:solidFill>
        <a:ln w="25400">
          <a:noFill/>
        </a:ln>
      </c:spPr>
    </c:plotArea>
    <c:plotVisOnly val="1"/>
    <c:dispBlanksAs val="gap"/>
    <c:showDLblsOverMax val="0"/>
  </c:chart>
  <c:spPr>
    <a:ln w="25400"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391936602055192E-2"/>
          <c:y val="9.9542965979723924E-2"/>
          <c:w val="0.89827019654039464"/>
          <c:h val="0.70621723865513764"/>
        </c:manualLayout>
      </c:layout>
      <c:lineChart>
        <c:grouping val="standard"/>
        <c:varyColors val="0"/>
        <c:ser>
          <c:idx val="0"/>
          <c:order val="0"/>
          <c:tx>
            <c:v>US Surprise Index</c:v>
          </c:tx>
          <c:spPr>
            <a:ln w="38100">
              <a:solidFill>
                <a:srgbClr val="0096EF"/>
              </a:solidFill>
              <a:prstDash val="solid"/>
            </a:ln>
          </c:spPr>
          <c:marker>
            <c:symbol val="none"/>
          </c:marker>
          <c:cat>
            <c:numRef>
              <c:f>INDEKSY_ZASKOCZEN!$A$1568:$A$1750</c:f>
              <c:numCache>
                <c:formatCode>yyyy/mm/dd;@</c:formatCode>
                <c:ptCount val="183"/>
                <c:pt idx="0">
                  <c:v>40543</c:v>
                </c:pt>
                <c:pt idx="1">
                  <c:v>40546</c:v>
                </c:pt>
                <c:pt idx="2">
                  <c:v>40547</c:v>
                </c:pt>
                <c:pt idx="3">
                  <c:v>40548</c:v>
                </c:pt>
                <c:pt idx="4">
                  <c:v>40549</c:v>
                </c:pt>
                <c:pt idx="5">
                  <c:v>40550</c:v>
                </c:pt>
                <c:pt idx="6">
                  <c:v>40553</c:v>
                </c:pt>
                <c:pt idx="7">
                  <c:v>40554</c:v>
                </c:pt>
                <c:pt idx="8">
                  <c:v>40555</c:v>
                </c:pt>
                <c:pt idx="9">
                  <c:v>40556</c:v>
                </c:pt>
                <c:pt idx="10">
                  <c:v>40557</c:v>
                </c:pt>
                <c:pt idx="11">
                  <c:v>40560</c:v>
                </c:pt>
                <c:pt idx="12">
                  <c:v>40561</c:v>
                </c:pt>
                <c:pt idx="13">
                  <c:v>40562</c:v>
                </c:pt>
                <c:pt idx="14">
                  <c:v>40563</c:v>
                </c:pt>
                <c:pt idx="15">
                  <c:v>40564</c:v>
                </c:pt>
                <c:pt idx="16">
                  <c:v>40567</c:v>
                </c:pt>
                <c:pt idx="17">
                  <c:v>40568</c:v>
                </c:pt>
                <c:pt idx="18">
                  <c:v>40569</c:v>
                </c:pt>
                <c:pt idx="19">
                  <c:v>40570</c:v>
                </c:pt>
                <c:pt idx="20">
                  <c:v>40571</c:v>
                </c:pt>
                <c:pt idx="21">
                  <c:v>40574</c:v>
                </c:pt>
                <c:pt idx="22">
                  <c:v>40575</c:v>
                </c:pt>
                <c:pt idx="23">
                  <c:v>40576</c:v>
                </c:pt>
                <c:pt idx="24">
                  <c:v>40577</c:v>
                </c:pt>
                <c:pt idx="25">
                  <c:v>40578</c:v>
                </c:pt>
                <c:pt idx="26">
                  <c:v>40581</c:v>
                </c:pt>
                <c:pt idx="27">
                  <c:v>40582</c:v>
                </c:pt>
                <c:pt idx="28">
                  <c:v>40583</c:v>
                </c:pt>
                <c:pt idx="29">
                  <c:v>40584</c:v>
                </c:pt>
                <c:pt idx="30">
                  <c:v>40585</c:v>
                </c:pt>
                <c:pt idx="31">
                  <c:v>40588</c:v>
                </c:pt>
                <c:pt idx="32">
                  <c:v>40589</c:v>
                </c:pt>
                <c:pt idx="33">
                  <c:v>40590</c:v>
                </c:pt>
                <c:pt idx="34">
                  <c:v>40591</c:v>
                </c:pt>
                <c:pt idx="35">
                  <c:v>40592</c:v>
                </c:pt>
                <c:pt idx="36">
                  <c:v>40595</c:v>
                </c:pt>
                <c:pt idx="37">
                  <c:v>40596</c:v>
                </c:pt>
                <c:pt idx="38">
                  <c:v>40597</c:v>
                </c:pt>
                <c:pt idx="39">
                  <c:v>40598</c:v>
                </c:pt>
                <c:pt idx="40">
                  <c:v>40599</c:v>
                </c:pt>
                <c:pt idx="41">
                  <c:v>40602</c:v>
                </c:pt>
                <c:pt idx="42">
                  <c:v>40603</c:v>
                </c:pt>
                <c:pt idx="43">
                  <c:v>40604</c:v>
                </c:pt>
                <c:pt idx="44">
                  <c:v>40605</c:v>
                </c:pt>
                <c:pt idx="45">
                  <c:v>40606</c:v>
                </c:pt>
                <c:pt idx="46">
                  <c:v>40609</c:v>
                </c:pt>
                <c:pt idx="47">
                  <c:v>40610</c:v>
                </c:pt>
                <c:pt idx="48">
                  <c:v>40611</c:v>
                </c:pt>
                <c:pt idx="49">
                  <c:v>40612</c:v>
                </c:pt>
                <c:pt idx="50">
                  <c:v>40613</c:v>
                </c:pt>
                <c:pt idx="51">
                  <c:v>40616</c:v>
                </c:pt>
                <c:pt idx="52">
                  <c:v>40617</c:v>
                </c:pt>
                <c:pt idx="53">
                  <c:v>40618</c:v>
                </c:pt>
                <c:pt idx="54">
                  <c:v>40619</c:v>
                </c:pt>
                <c:pt idx="55">
                  <c:v>40620</c:v>
                </c:pt>
                <c:pt idx="56">
                  <c:v>40623</c:v>
                </c:pt>
                <c:pt idx="57">
                  <c:v>40624</c:v>
                </c:pt>
                <c:pt idx="58">
                  <c:v>40625</c:v>
                </c:pt>
                <c:pt idx="59">
                  <c:v>40626</c:v>
                </c:pt>
                <c:pt idx="60">
                  <c:v>40627</c:v>
                </c:pt>
                <c:pt idx="61">
                  <c:v>40630</c:v>
                </c:pt>
                <c:pt idx="62">
                  <c:v>40631</c:v>
                </c:pt>
                <c:pt idx="63">
                  <c:v>40632</c:v>
                </c:pt>
                <c:pt idx="64">
                  <c:v>40633</c:v>
                </c:pt>
                <c:pt idx="65">
                  <c:v>40634</c:v>
                </c:pt>
                <c:pt idx="66">
                  <c:v>40637</c:v>
                </c:pt>
                <c:pt idx="67">
                  <c:v>40638</c:v>
                </c:pt>
                <c:pt idx="68">
                  <c:v>40639</c:v>
                </c:pt>
                <c:pt idx="69">
                  <c:v>40640</c:v>
                </c:pt>
                <c:pt idx="70">
                  <c:v>40641</c:v>
                </c:pt>
                <c:pt idx="71">
                  <c:v>40644</c:v>
                </c:pt>
                <c:pt idx="72">
                  <c:v>40645</c:v>
                </c:pt>
                <c:pt idx="73">
                  <c:v>40646</c:v>
                </c:pt>
                <c:pt idx="74">
                  <c:v>40647</c:v>
                </c:pt>
                <c:pt idx="75">
                  <c:v>40648</c:v>
                </c:pt>
                <c:pt idx="76">
                  <c:v>40651</c:v>
                </c:pt>
                <c:pt idx="77">
                  <c:v>40652</c:v>
                </c:pt>
                <c:pt idx="78">
                  <c:v>40653</c:v>
                </c:pt>
                <c:pt idx="79">
                  <c:v>40654</c:v>
                </c:pt>
                <c:pt idx="80">
                  <c:v>40655</c:v>
                </c:pt>
                <c:pt idx="81">
                  <c:v>40658</c:v>
                </c:pt>
                <c:pt idx="82">
                  <c:v>40659</c:v>
                </c:pt>
                <c:pt idx="83">
                  <c:v>40660</c:v>
                </c:pt>
                <c:pt idx="84">
                  <c:v>40661</c:v>
                </c:pt>
                <c:pt idx="85">
                  <c:v>40662</c:v>
                </c:pt>
                <c:pt idx="86">
                  <c:v>40665</c:v>
                </c:pt>
                <c:pt idx="87">
                  <c:v>40666</c:v>
                </c:pt>
                <c:pt idx="88">
                  <c:v>40667</c:v>
                </c:pt>
                <c:pt idx="89">
                  <c:v>40668</c:v>
                </c:pt>
                <c:pt idx="90">
                  <c:v>40669</c:v>
                </c:pt>
                <c:pt idx="91">
                  <c:v>40672</c:v>
                </c:pt>
                <c:pt idx="92">
                  <c:v>40673</c:v>
                </c:pt>
                <c:pt idx="93">
                  <c:v>40674</c:v>
                </c:pt>
                <c:pt idx="94">
                  <c:v>40675</c:v>
                </c:pt>
                <c:pt idx="95">
                  <c:v>40676</c:v>
                </c:pt>
                <c:pt idx="96">
                  <c:v>40679</c:v>
                </c:pt>
                <c:pt idx="97">
                  <c:v>40680</c:v>
                </c:pt>
                <c:pt idx="98">
                  <c:v>40681</c:v>
                </c:pt>
                <c:pt idx="99">
                  <c:v>40682</c:v>
                </c:pt>
                <c:pt idx="100">
                  <c:v>40683</c:v>
                </c:pt>
                <c:pt idx="101">
                  <c:v>40686</c:v>
                </c:pt>
                <c:pt idx="102">
                  <c:v>40687</c:v>
                </c:pt>
                <c:pt idx="103">
                  <c:v>40688</c:v>
                </c:pt>
                <c:pt idx="104">
                  <c:v>40689</c:v>
                </c:pt>
                <c:pt idx="105">
                  <c:v>40690</c:v>
                </c:pt>
                <c:pt idx="106">
                  <c:v>40693</c:v>
                </c:pt>
                <c:pt idx="107">
                  <c:v>40694</c:v>
                </c:pt>
                <c:pt idx="108">
                  <c:v>40695</c:v>
                </c:pt>
                <c:pt idx="109">
                  <c:v>40696</c:v>
                </c:pt>
                <c:pt idx="110">
                  <c:v>40697</c:v>
                </c:pt>
                <c:pt idx="111">
                  <c:v>40700</c:v>
                </c:pt>
                <c:pt idx="112">
                  <c:v>40701</c:v>
                </c:pt>
                <c:pt idx="113">
                  <c:v>40702</c:v>
                </c:pt>
                <c:pt idx="114">
                  <c:v>40703</c:v>
                </c:pt>
                <c:pt idx="115">
                  <c:v>40704</c:v>
                </c:pt>
                <c:pt idx="116">
                  <c:v>40707</c:v>
                </c:pt>
                <c:pt idx="117">
                  <c:v>40708</c:v>
                </c:pt>
                <c:pt idx="118">
                  <c:v>40709</c:v>
                </c:pt>
                <c:pt idx="119">
                  <c:v>40710</c:v>
                </c:pt>
                <c:pt idx="120">
                  <c:v>40711</c:v>
                </c:pt>
                <c:pt idx="121">
                  <c:v>40714</c:v>
                </c:pt>
                <c:pt idx="122">
                  <c:v>40715</c:v>
                </c:pt>
                <c:pt idx="123">
                  <c:v>40716</c:v>
                </c:pt>
                <c:pt idx="124">
                  <c:v>40717</c:v>
                </c:pt>
                <c:pt idx="125">
                  <c:v>40718</c:v>
                </c:pt>
                <c:pt idx="126">
                  <c:v>40721</c:v>
                </c:pt>
                <c:pt idx="127">
                  <c:v>40722</c:v>
                </c:pt>
                <c:pt idx="128">
                  <c:v>40723</c:v>
                </c:pt>
                <c:pt idx="129">
                  <c:v>40724</c:v>
                </c:pt>
                <c:pt idx="130">
                  <c:v>40725</c:v>
                </c:pt>
                <c:pt idx="131">
                  <c:v>40728</c:v>
                </c:pt>
                <c:pt idx="132">
                  <c:v>40729</c:v>
                </c:pt>
                <c:pt idx="133">
                  <c:v>40730</c:v>
                </c:pt>
                <c:pt idx="134">
                  <c:v>40731</c:v>
                </c:pt>
                <c:pt idx="135">
                  <c:v>40732</c:v>
                </c:pt>
                <c:pt idx="136">
                  <c:v>40735</c:v>
                </c:pt>
                <c:pt idx="137">
                  <c:v>40736</c:v>
                </c:pt>
                <c:pt idx="138">
                  <c:v>40737</c:v>
                </c:pt>
                <c:pt idx="139">
                  <c:v>40738</c:v>
                </c:pt>
                <c:pt idx="140">
                  <c:v>40739</c:v>
                </c:pt>
                <c:pt idx="141">
                  <c:v>40742</c:v>
                </c:pt>
                <c:pt idx="142">
                  <c:v>40743</c:v>
                </c:pt>
                <c:pt idx="143">
                  <c:v>40744</c:v>
                </c:pt>
                <c:pt idx="144">
                  <c:v>40745</c:v>
                </c:pt>
                <c:pt idx="145">
                  <c:v>40746</c:v>
                </c:pt>
                <c:pt idx="146">
                  <c:v>40749</c:v>
                </c:pt>
                <c:pt idx="147">
                  <c:v>40750</c:v>
                </c:pt>
                <c:pt idx="148">
                  <c:v>40751</c:v>
                </c:pt>
                <c:pt idx="149">
                  <c:v>40752</c:v>
                </c:pt>
                <c:pt idx="150">
                  <c:v>40753</c:v>
                </c:pt>
                <c:pt idx="151">
                  <c:v>40756</c:v>
                </c:pt>
                <c:pt idx="152">
                  <c:v>40757</c:v>
                </c:pt>
                <c:pt idx="153">
                  <c:v>40758</c:v>
                </c:pt>
                <c:pt idx="154">
                  <c:v>40759</c:v>
                </c:pt>
                <c:pt idx="155">
                  <c:v>40760</c:v>
                </c:pt>
                <c:pt idx="156">
                  <c:v>40763</c:v>
                </c:pt>
                <c:pt idx="157">
                  <c:v>40764</c:v>
                </c:pt>
                <c:pt idx="158">
                  <c:v>40765</c:v>
                </c:pt>
                <c:pt idx="159">
                  <c:v>40766</c:v>
                </c:pt>
                <c:pt idx="160">
                  <c:v>40767</c:v>
                </c:pt>
                <c:pt idx="161">
                  <c:v>40770</c:v>
                </c:pt>
                <c:pt idx="162">
                  <c:v>40771</c:v>
                </c:pt>
                <c:pt idx="163">
                  <c:v>40772</c:v>
                </c:pt>
                <c:pt idx="164">
                  <c:v>40773</c:v>
                </c:pt>
                <c:pt idx="165">
                  <c:v>40774</c:v>
                </c:pt>
                <c:pt idx="166">
                  <c:v>40777</c:v>
                </c:pt>
                <c:pt idx="167">
                  <c:v>40778</c:v>
                </c:pt>
                <c:pt idx="168">
                  <c:v>40779</c:v>
                </c:pt>
                <c:pt idx="169">
                  <c:v>40780</c:v>
                </c:pt>
                <c:pt idx="170">
                  <c:v>40781</c:v>
                </c:pt>
                <c:pt idx="171">
                  <c:v>40784</c:v>
                </c:pt>
                <c:pt idx="172">
                  <c:v>40785</c:v>
                </c:pt>
                <c:pt idx="173">
                  <c:v>40786</c:v>
                </c:pt>
                <c:pt idx="174">
                  <c:v>40787</c:v>
                </c:pt>
                <c:pt idx="175">
                  <c:v>40788</c:v>
                </c:pt>
                <c:pt idx="176">
                  <c:v>40791</c:v>
                </c:pt>
                <c:pt idx="177">
                  <c:v>40792</c:v>
                </c:pt>
                <c:pt idx="178">
                  <c:v>40793</c:v>
                </c:pt>
                <c:pt idx="179">
                  <c:v>40794</c:v>
                </c:pt>
                <c:pt idx="180">
                  <c:v>40795</c:v>
                </c:pt>
                <c:pt idx="181">
                  <c:v>40798</c:v>
                </c:pt>
                <c:pt idx="182">
                  <c:v>40799</c:v>
                </c:pt>
              </c:numCache>
            </c:numRef>
          </c:cat>
          <c:val>
            <c:numRef>
              <c:f>INDEKSY_ZASKOCZEN!$B$1568:$B$1769</c:f>
              <c:numCache>
                <c:formatCode>0</c:formatCode>
                <c:ptCount val="202"/>
                <c:pt idx="0">
                  <c:v>-6</c:v>
                </c:pt>
                <c:pt idx="1">
                  <c:v>-6</c:v>
                </c:pt>
                <c:pt idx="2">
                  <c:v>0</c:v>
                </c:pt>
                <c:pt idx="3">
                  <c:v>0</c:v>
                </c:pt>
                <c:pt idx="4">
                  <c:v>-1</c:v>
                </c:pt>
                <c:pt idx="5">
                  <c:v>-1</c:v>
                </c:pt>
                <c:pt idx="6">
                  <c:v>-1</c:v>
                </c:pt>
                <c:pt idx="7">
                  <c:v>-1</c:v>
                </c:pt>
                <c:pt idx="8">
                  <c:v>-3</c:v>
                </c:pt>
                <c:pt idx="9">
                  <c:v>-3</c:v>
                </c:pt>
                <c:pt idx="10">
                  <c:v>-3</c:v>
                </c:pt>
                <c:pt idx="11">
                  <c:v>-3</c:v>
                </c:pt>
                <c:pt idx="12">
                  <c:v>-3</c:v>
                </c:pt>
                <c:pt idx="13">
                  <c:v>-2</c:v>
                </c:pt>
                <c:pt idx="14">
                  <c:v>-2</c:v>
                </c:pt>
                <c:pt idx="15">
                  <c:v>-2</c:v>
                </c:pt>
                <c:pt idx="16">
                  <c:v>-2</c:v>
                </c:pt>
                <c:pt idx="17">
                  <c:v>-2</c:v>
                </c:pt>
                <c:pt idx="18">
                  <c:v>-9</c:v>
                </c:pt>
                <c:pt idx="19">
                  <c:v>-8</c:v>
                </c:pt>
                <c:pt idx="20">
                  <c:v>-5</c:v>
                </c:pt>
                <c:pt idx="21">
                  <c:v>-7</c:v>
                </c:pt>
                <c:pt idx="22">
                  <c:v>-6</c:v>
                </c:pt>
                <c:pt idx="23">
                  <c:v>-5</c:v>
                </c:pt>
                <c:pt idx="24">
                  <c:v>-8</c:v>
                </c:pt>
                <c:pt idx="25">
                  <c:v>-8</c:v>
                </c:pt>
                <c:pt idx="26">
                  <c:v>-8</c:v>
                </c:pt>
                <c:pt idx="27">
                  <c:v>-8</c:v>
                </c:pt>
                <c:pt idx="28">
                  <c:v>-6</c:v>
                </c:pt>
                <c:pt idx="29">
                  <c:v>-6</c:v>
                </c:pt>
                <c:pt idx="30">
                  <c:v>-6</c:v>
                </c:pt>
                <c:pt idx="31">
                  <c:v>-7</c:v>
                </c:pt>
                <c:pt idx="32">
                  <c:v>-5</c:v>
                </c:pt>
                <c:pt idx="33">
                  <c:v>-3</c:v>
                </c:pt>
                <c:pt idx="34">
                  <c:v>-3</c:v>
                </c:pt>
                <c:pt idx="35">
                  <c:v>-3</c:v>
                </c:pt>
                <c:pt idx="36">
                  <c:v>-3</c:v>
                </c:pt>
                <c:pt idx="37">
                  <c:v>-3</c:v>
                </c:pt>
                <c:pt idx="38">
                  <c:v>-7</c:v>
                </c:pt>
                <c:pt idx="39">
                  <c:v>-5</c:v>
                </c:pt>
                <c:pt idx="40">
                  <c:v>-6</c:v>
                </c:pt>
                <c:pt idx="41">
                  <c:v>-6</c:v>
                </c:pt>
                <c:pt idx="42">
                  <c:v>-5</c:v>
                </c:pt>
                <c:pt idx="43">
                  <c:v>-3</c:v>
                </c:pt>
                <c:pt idx="44">
                  <c:v>-3</c:v>
                </c:pt>
                <c:pt idx="45">
                  <c:v>-3</c:v>
                </c:pt>
                <c:pt idx="46">
                  <c:v>-3</c:v>
                </c:pt>
                <c:pt idx="47">
                  <c:v>-3</c:v>
                </c:pt>
                <c:pt idx="48">
                  <c:v>-5</c:v>
                </c:pt>
                <c:pt idx="49">
                  <c:v>-5</c:v>
                </c:pt>
                <c:pt idx="50">
                  <c:v>-5</c:v>
                </c:pt>
                <c:pt idx="51">
                  <c:v>-5</c:v>
                </c:pt>
                <c:pt idx="52">
                  <c:v>-2</c:v>
                </c:pt>
                <c:pt idx="53">
                  <c:v>1</c:v>
                </c:pt>
                <c:pt idx="54">
                  <c:v>1</c:v>
                </c:pt>
                <c:pt idx="55">
                  <c:v>2</c:v>
                </c:pt>
                <c:pt idx="56">
                  <c:v>2</c:v>
                </c:pt>
                <c:pt idx="57">
                  <c:v>2</c:v>
                </c:pt>
                <c:pt idx="58">
                  <c:v>-1</c:v>
                </c:pt>
                <c:pt idx="59">
                  <c:v>0</c:v>
                </c:pt>
                <c:pt idx="60">
                  <c:v>2</c:v>
                </c:pt>
                <c:pt idx="61">
                  <c:v>2</c:v>
                </c:pt>
                <c:pt idx="62">
                  <c:v>2</c:v>
                </c:pt>
                <c:pt idx="63">
                  <c:v>2</c:v>
                </c:pt>
                <c:pt idx="64">
                  <c:v>0</c:v>
                </c:pt>
                <c:pt idx="65">
                  <c:v>0</c:v>
                </c:pt>
                <c:pt idx="66">
                  <c:v>-1</c:v>
                </c:pt>
                <c:pt idx="67">
                  <c:v>-1</c:v>
                </c:pt>
                <c:pt idx="68">
                  <c:v>-1</c:v>
                </c:pt>
                <c:pt idx="69">
                  <c:v>-1</c:v>
                </c:pt>
                <c:pt idx="70">
                  <c:v>-1</c:v>
                </c:pt>
                <c:pt idx="71">
                  <c:v>-1</c:v>
                </c:pt>
                <c:pt idx="72">
                  <c:v>-1</c:v>
                </c:pt>
                <c:pt idx="73">
                  <c:v>-5</c:v>
                </c:pt>
                <c:pt idx="74">
                  <c:v>-5</c:v>
                </c:pt>
                <c:pt idx="75">
                  <c:v>-5</c:v>
                </c:pt>
                <c:pt idx="76">
                  <c:v>-5</c:v>
                </c:pt>
                <c:pt idx="77">
                  <c:v>-5</c:v>
                </c:pt>
                <c:pt idx="78">
                  <c:v>-10</c:v>
                </c:pt>
                <c:pt idx="79">
                  <c:v>-10</c:v>
                </c:pt>
                <c:pt idx="80">
                  <c:v>-10</c:v>
                </c:pt>
                <c:pt idx="81">
                  <c:v>-10</c:v>
                </c:pt>
                <c:pt idx="82">
                  <c:v>-10</c:v>
                </c:pt>
                <c:pt idx="83">
                  <c:v>-13</c:v>
                </c:pt>
                <c:pt idx="84">
                  <c:v>-12</c:v>
                </c:pt>
                <c:pt idx="85">
                  <c:v>-10</c:v>
                </c:pt>
                <c:pt idx="86">
                  <c:v>-10</c:v>
                </c:pt>
                <c:pt idx="87">
                  <c:v>-14</c:v>
                </c:pt>
                <c:pt idx="88">
                  <c:v>-20</c:v>
                </c:pt>
                <c:pt idx="89">
                  <c:v>-19</c:v>
                </c:pt>
                <c:pt idx="90">
                  <c:v>-19</c:v>
                </c:pt>
                <c:pt idx="91">
                  <c:v>-19</c:v>
                </c:pt>
                <c:pt idx="92">
                  <c:v>-19</c:v>
                </c:pt>
                <c:pt idx="93">
                  <c:v>-20</c:v>
                </c:pt>
                <c:pt idx="94">
                  <c:v>-20</c:v>
                </c:pt>
                <c:pt idx="95">
                  <c:v>-21</c:v>
                </c:pt>
                <c:pt idx="96">
                  <c:v>-21</c:v>
                </c:pt>
                <c:pt idx="97">
                  <c:v>-21</c:v>
                </c:pt>
                <c:pt idx="98">
                  <c:v>-23</c:v>
                </c:pt>
                <c:pt idx="99">
                  <c:v>-23</c:v>
                </c:pt>
                <c:pt idx="100">
                  <c:v>-28</c:v>
                </c:pt>
                <c:pt idx="101">
                  <c:v>-28</c:v>
                </c:pt>
                <c:pt idx="102">
                  <c:v>-30</c:v>
                </c:pt>
                <c:pt idx="103">
                  <c:v>-32</c:v>
                </c:pt>
                <c:pt idx="104">
                  <c:v>-35</c:v>
                </c:pt>
                <c:pt idx="105">
                  <c:v>-35</c:v>
                </c:pt>
                <c:pt idx="106">
                  <c:v>-37</c:v>
                </c:pt>
                <c:pt idx="107">
                  <c:v>-45</c:v>
                </c:pt>
                <c:pt idx="108">
                  <c:v>-45</c:v>
                </c:pt>
                <c:pt idx="109">
                  <c:v>-48</c:v>
                </c:pt>
                <c:pt idx="110">
                  <c:v>-48</c:v>
                </c:pt>
                <c:pt idx="111">
                  <c:v>-48</c:v>
                </c:pt>
                <c:pt idx="112">
                  <c:v>-48</c:v>
                </c:pt>
                <c:pt idx="113">
                  <c:v>-48</c:v>
                </c:pt>
                <c:pt idx="114">
                  <c:v>-48</c:v>
                </c:pt>
                <c:pt idx="115">
                  <c:v>-48</c:v>
                </c:pt>
                <c:pt idx="116">
                  <c:v>-47</c:v>
                </c:pt>
                <c:pt idx="117">
                  <c:v>-50</c:v>
                </c:pt>
                <c:pt idx="118">
                  <c:v>-53</c:v>
                </c:pt>
                <c:pt idx="119">
                  <c:v>-53</c:v>
                </c:pt>
                <c:pt idx="120">
                  <c:v>-53</c:v>
                </c:pt>
                <c:pt idx="121">
                  <c:v>-53</c:v>
                </c:pt>
                <c:pt idx="122">
                  <c:v>-53</c:v>
                </c:pt>
                <c:pt idx="123">
                  <c:v>-56</c:v>
                </c:pt>
                <c:pt idx="124">
                  <c:v>-58</c:v>
                </c:pt>
                <c:pt idx="125">
                  <c:v>-59</c:v>
                </c:pt>
                <c:pt idx="126">
                  <c:v>-59</c:v>
                </c:pt>
                <c:pt idx="127">
                  <c:v>-59</c:v>
                </c:pt>
                <c:pt idx="128">
                  <c:v>-59</c:v>
                </c:pt>
                <c:pt idx="129">
                  <c:v>-59</c:v>
                </c:pt>
                <c:pt idx="130">
                  <c:v>-57</c:v>
                </c:pt>
                <c:pt idx="131">
                  <c:v>-57</c:v>
                </c:pt>
                <c:pt idx="132">
                  <c:v>-57</c:v>
                </c:pt>
                <c:pt idx="133">
                  <c:v>-57</c:v>
                </c:pt>
                <c:pt idx="134">
                  <c:v>-55</c:v>
                </c:pt>
                <c:pt idx="135">
                  <c:v>-57</c:v>
                </c:pt>
                <c:pt idx="136">
                  <c:v>-57</c:v>
                </c:pt>
                <c:pt idx="137">
                  <c:v>-57</c:v>
                </c:pt>
                <c:pt idx="138">
                  <c:v>-57</c:v>
                </c:pt>
                <c:pt idx="139">
                  <c:v>-57</c:v>
                </c:pt>
                <c:pt idx="140">
                  <c:v>-58</c:v>
                </c:pt>
                <c:pt idx="141">
                  <c:v>-58</c:v>
                </c:pt>
                <c:pt idx="142">
                  <c:v>-58</c:v>
                </c:pt>
                <c:pt idx="143">
                  <c:v>-58</c:v>
                </c:pt>
                <c:pt idx="144">
                  <c:v>-58</c:v>
                </c:pt>
                <c:pt idx="145">
                  <c:v>-58</c:v>
                </c:pt>
                <c:pt idx="146">
                  <c:v>-58</c:v>
                </c:pt>
                <c:pt idx="147">
                  <c:v>-58</c:v>
                </c:pt>
                <c:pt idx="148">
                  <c:v>-59</c:v>
                </c:pt>
                <c:pt idx="149">
                  <c:v>-57</c:v>
                </c:pt>
                <c:pt idx="150">
                  <c:v>-55</c:v>
                </c:pt>
                <c:pt idx="151">
                  <c:v>-59</c:v>
                </c:pt>
                <c:pt idx="152">
                  <c:v>-63</c:v>
                </c:pt>
                <c:pt idx="153">
                  <c:v>-63</c:v>
                </c:pt>
                <c:pt idx="154">
                  <c:v>-63</c:v>
                </c:pt>
                <c:pt idx="155">
                  <c:v>-63</c:v>
                </c:pt>
                <c:pt idx="156">
                  <c:v>-63</c:v>
                </c:pt>
                <c:pt idx="157">
                  <c:v>-63</c:v>
                </c:pt>
                <c:pt idx="158">
                  <c:v>-63</c:v>
                </c:pt>
                <c:pt idx="159">
                  <c:v>-62</c:v>
                </c:pt>
                <c:pt idx="160">
                  <c:v>-62</c:v>
                </c:pt>
                <c:pt idx="161">
                  <c:v>-63</c:v>
                </c:pt>
                <c:pt idx="162">
                  <c:v>-63</c:v>
                </c:pt>
                <c:pt idx="163">
                  <c:v>-62</c:v>
                </c:pt>
                <c:pt idx="164">
                  <c:v>-69</c:v>
                </c:pt>
                <c:pt idx="165">
                  <c:v>-69</c:v>
                </c:pt>
                <c:pt idx="166">
                  <c:v>-69</c:v>
                </c:pt>
                <c:pt idx="167">
                  <c:v>-69</c:v>
                </c:pt>
                <c:pt idx="168">
                  <c:v>-67</c:v>
                </c:pt>
                <c:pt idx="169">
                  <c:v>-67</c:v>
                </c:pt>
                <c:pt idx="170">
                  <c:v>-67</c:v>
                </c:pt>
                <c:pt idx="171">
                  <c:v>-63</c:v>
                </c:pt>
                <c:pt idx="172">
                  <c:v>-63</c:v>
                </c:pt>
                <c:pt idx="173">
                  <c:v>-62</c:v>
                </c:pt>
                <c:pt idx="174">
                  <c:v>-64</c:v>
                </c:pt>
                <c:pt idx="175">
                  <c:v>-66</c:v>
                </c:pt>
                <c:pt idx="176">
                  <c:v>-66</c:v>
                </c:pt>
                <c:pt idx="177">
                  <c:v>-65</c:v>
                </c:pt>
                <c:pt idx="178">
                  <c:v>-65</c:v>
                </c:pt>
                <c:pt idx="179">
                  <c:v>-65</c:v>
                </c:pt>
                <c:pt idx="180">
                  <c:v>-65</c:v>
                </c:pt>
                <c:pt idx="181">
                  <c:v>-65</c:v>
                </c:pt>
                <c:pt idx="182">
                  <c:v>-65</c:v>
                </c:pt>
                <c:pt idx="183">
                  <c:v>-66</c:v>
                </c:pt>
                <c:pt idx="184">
                  <c:v>-66</c:v>
                </c:pt>
                <c:pt idx="185">
                  <c:v>-66</c:v>
                </c:pt>
                <c:pt idx="186">
                  <c:v>-66</c:v>
                </c:pt>
                <c:pt idx="187">
                  <c:v>-66</c:v>
                </c:pt>
                <c:pt idx="188">
                  <c:v>-66</c:v>
                </c:pt>
                <c:pt idx="189">
                  <c:v>-66</c:v>
                </c:pt>
                <c:pt idx="190">
                  <c:v>-66</c:v>
                </c:pt>
                <c:pt idx="191">
                  <c:v>-66</c:v>
                </c:pt>
                <c:pt idx="201">
                  <c:v>-11.88921282798836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0267136"/>
        <c:axId val="80268672"/>
      </c:lineChart>
      <c:dateAx>
        <c:axId val="80267136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low"/>
        <c:spPr>
          <a:effectLst/>
        </c:spPr>
        <c:txPr>
          <a:bodyPr rot="0" vert="horz"/>
          <a:lstStyle/>
          <a:p>
            <a:pPr rtl="0">
              <a:defRPr sz="1050" b="0" i="0" u="none" strike="noStrike" baseline="0">
                <a:latin typeface="Tahoma"/>
                <a:ea typeface="Tahoma"/>
                <a:cs typeface="Tahoma"/>
              </a:defRPr>
            </a:pPr>
            <a:endParaRPr lang="pl-PL"/>
          </a:p>
        </c:txPr>
        <c:crossAx val="80268672"/>
        <c:crosses val="autoZero"/>
        <c:auto val="1"/>
        <c:lblOffset val="100"/>
        <c:baseTimeUnit val="days"/>
      </c:dateAx>
      <c:valAx>
        <c:axId val="80268672"/>
        <c:scaling>
          <c:orientation val="minMax"/>
        </c:scaling>
        <c:delete val="0"/>
        <c:axPos val="l"/>
        <c:majorGridlines>
          <c:spPr>
            <a:ln w="3175">
              <a:solidFill>
                <a:srgbClr val="C0C0C0"/>
              </a:solidFill>
              <a:prstDash val="solid"/>
            </a:ln>
          </c:spPr>
        </c:majorGridlines>
        <c:numFmt formatCode="0" sourceLinked="1"/>
        <c:majorTickMark val="out"/>
        <c:minorTickMark val="none"/>
        <c:tickLblPos val="nextTo"/>
        <c:spPr>
          <a:effectLst/>
        </c:spPr>
        <c:txPr>
          <a:bodyPr/>
          <a:lstStyle/>
          <a:p>
            <a:pPr>
              <a:defRPr sz="1050" b="0" i="0" u="none" strike="noStrike" baseline="0">
                <a:solidFill>
                  <a:srgbClr val="000000"/>
                </a:solidFill>
                <a:latin typeface="Tahoma"/>
                <a:ea typeface="Tahoma"/>
                <a:cs typeface="Tahoma"/>
              </a:defRPr>
            </a:pPr>
            <a:endParaRPr lang="pl-PL"/>
          </a:p>
        </c:txPr>
        <c:crossAx val="80267136"/>
        <c:crosses val="autoZero"/>
        <c:crossBetween val="between"/>
      </c:valAx>
      <c:spPr>
        <a:solidFill>
          <a:srgbClr val="FFFFFF"/>
        </a:solidFill>
        <a:ln w="25400">
          <a:noFill/>
        </a:ln>
      </c:spPr>
    </c:plotArea>
    <c:plotVisOnly val="1"/>
    <c:dispBlanksAs val="gap"/>
    <c:showDLblsOverMax val="0"/>
  </c:chart>
  <c:spPr>
    <a:ln w="25400">
      <a:noFill/>
    </a:ln>
  </c:sp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043963254593226E-2"/>
          <c:y val="0.11076115485564322"/>
          <c:w val="0.87765048118986855"/>
          <c:h val="0.74134289720634261"/>
        </c:manualLayout>
      </c:layout>
      <c:lineChart>
        <c:grouping val="standard"/>
        <c:varyColors val="0"/>
        <c:ser>
          <c:idx val="0"/>
          <c:order val="0"/>
          <c:tx>
            <c:v>ISM manufacturing</c:v>
          </c:tx>
          <c:spPr>
            <a:ln>
              <a:solidFill>
                <a:srgbClr val="009CDD"/>
              </a:solidFill>
            </a:ln>
          </c:spPr>
          <c:marker>
            <c:symbol val="none"/>
          </c:marker>
          <c:cat>
            <c:numRef>
              <c:f>USA!$AI$207:$AI$270</c:f>
              <c:numCache>
                <c:formatCode>dd/mm/yy</c:formatCode>
                <c:ptCount val="64"/>
                <c:pt idx="0">
                  <c:v>39113</c:v>
                </c:pt>
                <c:pt idx="1">
                  <c:v>39141</c:v>
                </c:pt>
                <c:pt idx="2">
                  <c:v>39172</c:v>
                </c:pt>
                <c:pt idx="3">
                  <c:v>39202</c:v>
                </c:pt>
                <c:pt idx="4">
                  <c:v>39233</c:v>
                </c:pt>
                <c:pt idx="5">
                  <c:v>39263</c:v>
                </c:pt>
                <c:pt idx="6">
                  <c:v>39294</c:v>
                </c:pt>
                <c:pt idx="7">
                  <c:v>39325</c:v>
                </c:pt>
                <c:pt idx="8">
                  <c:v>39355</c:v>
                </c:pt>
                <c:pt idx="9">
                  <c:v>39386</c:v>
                </c:pt>
                <c:pt idx="10">
                  <c:v>39416</c:v>
                </c:pt>
                <c:pt idx="11">
                  <c:v>39447</c:v>
                </c:pt>
                <c:pt idx="12">
                  <c:v>39478</c:v>
                </c:pt>
                <c:pt idx="13">
                  <c:v>39507</c:v>
                </c:pt>
                <c:pt idx="14">
                  <c:v>39538</c:v>
                </c:pt>
                <c:pt idx="15">
                  <c:v>39568</c:v>
                </c:pt>
                <c:pt idx="16">
                  <c:v>39599</c:v>
                </c:pt>
                <c:pt idx="17">
                  <c:v>39629</c:v>
                </c:pt>
                <c:pt idx="18">
                  <c:v>39660</c:v>
                </c:pt>
                <c:pt idx="19">
                  <c:v>39691</c:v>
                </c:pt>
                <c:pt idx="20">
                  <c:v>39721</c:v>
                </c:pt>
                <c:pt idx="21">
                  <c:v>39752</c:v>
                </c:pt>
                <c:pt idx="22">
                  <c:v>39782</c:v>
                </c:pt>
                <c:pt idx="23">
                  <c:v>39813</c:v>
                </c:pt>
                <c:pt idx="24">
                  <c:v>39844</c:v>
                </c:pt>
                <c:pt idx="25">
                  <c:v>39872</c:v>
                </c:pt>
                <c:pt idx="26">
                  <c:v>39903</c:v>
                </c:pt>
                <c:pt idx="27">
                  <c:v>39933</c:v>
                </c:pt>
                <c:pt idx="28">
                  <c:v>39964</c:v>
                </c:pt>
                <c:pt idx="29">
                  <c:v>39994</c:v>
                </c:pt>
                <c:pt idx="30">
                  <c:v>40025</c:v>
                </c:pt>
                <c:pt idx="31">
                  <c:v>40056</c:v>
                </c:pt>
                <c:pt idx="32">
                  <c:v>40086</c:v>
                </c:pt>
                <c:pt idx="33">
                  <c:v>40117</c:v>
                </c:pt>
                <c:pt idx="34">
                  <c:v>40147</c:v>
                </c:pt>
                <c:pt idx="35">
                  <c:v>40178</c:v>
                </c:pt>
                <c:pt idx="36">
                  <c:v>40209</c:v>
                </c:pt>
                <c:pt idx="37">
                  <c:v>40237</c:v>
                </c:pt>
                <c:pt idx="38">
                  <c:v>40268</c:v>
                </c:pt>
                <c:pt idx="39">
                  <c:v>40298</c:v>
                </c:pt>
                <c:pt idx="40">
                  <c:v>40329</c:v>
                </c:pt>
                <c:pt idx="41">
                  <c:v>40359</c:v>
                </c:pt>
                <c:pt idx="42">
                  <c:v>40390</c:v>
                </c:pt>
                <c:pt idx="43">
                  <c:v>40421</c:v>
                </c:pt>
                <c:pt idx="44">
                  <c:v>40451</c:v>
                </c:pt>
                <c:pt idx="45">
                  <c:v>40482</c:v>
                </c:pt>
                <c:pt idx="46">
                  <c:v>40512</c:v>
                </c:pt>
                <c:pt idx="47">
                  <c:v>40543</c:v>
                </c:pt>
                <c:pt idx="48">
                  <c:v>40574</c:v>
                </c:pt>
                <c:pt idx="49">
                  <c:v>40602</c:v>
                </c:pt>
                <c:pt idx="50">
                  <c:v>40633</c:v>
                </c:pt>
                <c:pt idx="51">
                  <c:v>40663</c:v>
                </c:pt>
                <c:pt idx="52">
                  <c:v>40694</c:v>
                </c:pt>
                <c:pt idx="53">
                  <c:v>40724</c:v>
                </c:pt>
                <c:pt idx="54">
                  <c:v>40755</c:v>
                </c:pt>
                <c:pt idx="55">
                  <c:v>40786</c:v>
                </c:pt>
              </c:numCache>
            </c:numRef>
          </c:cat>
          <c:val>
            <c:numRef>
              <c:f>USA!$AJ$207:$AJ$270</c:f>
              <c:numCache>
                <c:formatCode>General</c:formatCode>
                <c:ptCount val="64"/>
                <c:pt idx="0">
                  <c:v>49.9</c:v>
                </c:pt>
                <c:pt idx="1">
                  <c:v>52</c:v>
                </c:pt>
                <c:pt idx="2">
                  <c:v>51.3</c:v>
                </c:pt>
                <c:pt idx="3">
                  <c:v>52.6</c:v>
                </c:pt>
                <c:pt idx="4">
                  <c:v>52.3</c:v>
                </c:pt>
                <c:pt idx="5">
                  <c:v>52.4</c:v>
                </c:pt>
                <c:pt idx="6">
                  <c:v>51.7</c:v>
                </c:pt>
                <c:pt idx="7">
                  <c:v>50.2</c:v>
                </c:pt>
                <c:pt idx="8">
                  <c:v>50</c:v>
                </c:pt>
                <c:pt idx="9">
                  <c:v>50.9</c:v>
                </c:pt>
                <c:pt idx="10">
                  <c:v>51.5</c:v>
                </c:pt>
                <c:pt idx="11">
                  <c:v>49</c:v>
                </c:pt>
                <c:pt idx="12">
                  <c:v>51.1</c:v>
                </c:pt>
                <c:pt idx="13">
                  <c:v>48.9</c:v>
                </c:pt>
                <c:pt idx="14">
                  <c:v>49</c:v>
                </c:pt>
                <c:pt idx="15">
                  <c:v>48.8</c:v>
                </c:pt>
                <c:pt idx="16">
                  <c:v>48.8</c:v>
                </c:pt>
                <c:pt idx="17">
                  <c:v>49</c:v>
                </c:pt>
                <c:pt idx="18">
                  <c:v>49.6</c:v>
                </c:pt>
                <c:pt idx="19">
                  <c:v>48</c:v>
                </c:pt>
                <c:pt idx="20">
                  <c:v>43.8</c:v>
                </c:pt>
                <c:pt idx="21">
                  <c:v>39</c:v>
                </c:pt>
                <c:pt idx="22">
                  <c:v>36.9</c:v>
                </c:pt>
                <c:pt idx="23">
                  <c:v>33.300000000000004</c:v>
                </c:pt>
                <c:pt idx="24">
                  <c:v>35.700000000000003</c:v>
                </c:pt>
                <c:pt idx="25">
                  <c:v>36</c:v>
                </c:pt>
                <c:pt idx="26">
                  <c:v>36.6</c:v>
                </c:pt>
                <c:pt idx="27">
                  <c:v>39.9</c:v>
                </c:pt>
                <c:pt idx="28">
                  <c:v>41.9</c:v>
                </c:pt>
                <c:pt idx="29">
                  <c:v>44.7</c:v>
                </c:pt>
                <c:pt idx="30">
                  <c:v>49</c:v>
                </c:pt>
                <c:pt idx="31">
                  <c:v>51.4</c:v>
                </c:pt>
                <c:pt idx="32">
                  <c:v>53.2</c:v>
                </c:pt>
                <c:pt idx="33">
                  <c:v>55.8</c:v>
                </c:pt>
                <c:pt idx="34">
                  <c:v>54.7</c:v>
                </c:pt>
                <c:pt idx="35">
                  <c:v>56.4</c:v>
                </c:pt>
                <c:pt idx="36">
                  <c:v>58.3</c:v>
                </c:pt>
                <c:pt idx="37">
                  <c:v>57.1</c:v>
                </c:pt>
                <c:pt idx="38">
                  <c:v>60.4</c:v>
                </c:pt>
                <c:pt idx="39">
                  <c:v>59.6</c:v>
                </c:pt>
                <c:pt idx="40">
                  <c:v>57.8</c:v>
                </c:pt>
                <c:pt idx="41">
                  <c:v>55.3</c:v>
                </c:pt>
                <c:pt idx="42">
                  <c:v>55.1</c:v>
                </c:pt>
                <c:pt idx="43">
                  <c:v>55.2</c:v>
                </c:pt>
                <c:pt idx="44">
                  <c:v>55.3</c:v>
                </c:pt>
                <c:pt idx="45">
                  <c:v>56.9</c:v>
                </c:pt>
                <c:pt idx="46">
                  <c:v>58.2</c:v>
                </c:pt>
                <c:pt idx="47">
                  <c:v>58.5</c:v>
                </c:pt>
                <c:pt idx="48">
                  <c:v>60.8</c:v>
                </c:pt>
                <c:pt idx="49">
                  <c:v>61.4</c:v>
                </c:pt>
                <c:pt idx="50">
                  <c:v>61.2</c:v>
                </c:pt>
                <c:pt idx="51">
                  <c:v>60.4</c:v>
                </c:pt>
                <c:pt idx="52">
                  <c:v>53.5</c:v>
                </c:pt>
                <c:pt idx="53">
                  <c:v>55.3</c:v>
                </c:pt>
                <c:pt idx="54">
                  <c:v>50.9</c:v>
                </c:pt>
                <c:pt idx="55">
                  <c:v>50.6</c:v>
                </c:pt>
              </c:numCache>
            </c:numRef>
          </c:val>
          <c:smooth val="0"/>
        </c:ser>
        <c:ser>
          <c:idx val="1"/>
          <c:order val="1"/>
          <c:tx>
            <c:v>ISM non-manufacturing</c:v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USA!$AI$207:$AI$2270</c:f>
              <c:numCache>
                <c:formatCode>dd/mm/yy</c:formatCode>
                <c:ptCount val="2064"/>
                <c:pt idx="0">
                  <c:v>39113</c:v>
                </c:pt>
                <c:pt idx="1">
                  <c:v>39141</c:v>
                </c:pt>
                <c:pt idx="2">
                  <c:v>39172</c:v>
                </c:pt>
                <c:pt idx="3">
                  <c:v>39202</c:v>
                </c:pt>
                <c:pt idx="4">
                  <c:v>39233</c:v>
                </c:pt>
                <c:pt idx="5">
                  <c:v>39263</c:v>
                </c:pt>
                <c:pt idx="6">
                  <c:v>39294</c:v>
                </c:pt>
                <c:pt idx="7">
                  <c:v>39325</c:v>
                </c:pt>
                <c:pt idx="8">
                  <c:v>39355</c:v>
                </c:pt>
                <c:pt idx="9">
                  <c:v>39386</c:v>
                </c:pt>
                <c:pt idx="10">
                  <c:v>39416</c:v>
                </c:pt>
                <c:pt idx="11">
                  <c:v>39447</c:v>
                </c:pt>
                <c:pt idx="12">
                  <c:v>39478</c:v>
                </c:pt>
                <c:pt idx="13">
                  <c:v>39507</c:v>
                </c:pt>
                <c:pt idx="14">
                  <c:v>39538</c:v>
                </c:pt>
                <c:pt idx="15">
                  <c:v>39568</c:v>
                </c:pt>
                <c:pt idx="16">
                  <c:v>39599</c:v>
                </c:pt>
                <c:pt idx="17">
                  <c:v>39629</c:v>
                </c:pt>
                <c:pt idx="18">
                  <c:v>39660</c:v>
                </c:pt>
                <c:pt idx="19">
                  <c:v>39691</c:v>
                </c:pt>
                <c:pt idx="20">
                  <c:v>39721</c:v>
                </c:pt>
                <c:pt idx="21">
                  <c:v>39752</c:v>
                </c:pt>
                <c:pt idx="22">
                  <c:v>39782</c:v>
                </c:pt>
                <c:pt idx="23">
                  <c:v>39813</c:v>
                </c:pt>
                <c:pt idx="24">
                  <c:v>39844</c:v>
                </c:pt>
                <c:pt idx="25">
                  <c:v>39872</c:v>
                </c:pt>
                <c:pt idx="26">
                  <c:v>39903</c:v>
                </c:pt>
                <c:pt idx="27">
                  <c:v>39933</c:v>
                </c:pt>
                <c:pt idx="28">
                  <c:v>39964</c:v>
                </c:pt>
                <c:pt idx="29">
                  <c:v>39994</c:v>
                </c:pt>
                <c:pt idx="30">
                  <c:v>40025</c:v>
                </c:pt>
                <c:pt idx="31">
                  <c:v>40056</c:v>
                </c:pt>
                <c:pt idx="32">
                  <c:v>40086</c:v>
                </c:pt>
                <c:pt idx="33">
                  <c:v>40117</c:v>
                </c:pt>
                <c:pt idx="34">
                  <c:v>40147</c:v>
                </c:pt>
                <c:pt idx="35">
                  <c:v>40178</c:v>
                </c:pt>
                <c:pt idx="36">
                  <c:v>40209</c:v>
                </c:pt>
                <c:pt idx="37">
                  <c:v>40237</c:v>
                </c:pt>
                <c:pt idx="38">
                  <c:v>40268</c:v>
                </c:pt>
                <c:pt idx="39">
                  <c:v>40298</c:v>
                </c:pt>
                <c:pt idx="40">
                  <c:v>40329</c:v>
                </c:pt>
                <c:pt idx="41">
                  <c:v>40359</c:v>
                </c:pt>
                <c:pt idx="42">
                  <c:v>40390</c:v>
                </c:pt>
                <c:pt idx="43">
                  <c:v>40421</c:v>
                </c:pt>
                <c:pt idx="44">
                  <c:v>40451</c:v>
                </c:pt>
                <c:pt idx="45">
                  <c:v>40482</c:v>
                </c:pt>
                <c:pt idx="46">
                  <c:v>40512</c:v>
                </c:pt>
                <c:pt idx="47">
                  <c:v>40543</c:v>
                </c:pt>
                <c:pt idx="48">
                  <c:v>40574</c:v>
                </c:pt>
                <c:pt idx="49">
                  <c:v>40602</c:v>
                </c:pt>
                <c:pt idx="50">
                  <c:v>40633</c:v>
                </c:pt>
                <c:pt idx="51">
                  <c:v>40663</c:v>
                </c:pt>
                <c:pt idx="52">
                  <c:v>40694</c:v>
                </c:pt>
                <c:pt idx="53">
                  <c:v>40724</c:v>
                </c:pt>
                <c:pt idx="54">
                  <c:v>40755</c:v>
                </c:pt>
                <c:pt idx="55">
                  <c:v>40786</c:v>
                </c:pt>
              </c:numCache>
            </c:numRef>
          </c:cat>
          <c:val>
            <c:numRef>
              <c:f>USA!$AV$117:$AV$270</c:f>
              <c:numCache>
                <c:formatCode>General</c:formatCode>
                <c:ptCount val="154"/>
                <c:pt idx="0">
                  <c:v>55.3</c:v>
                </c:pt>
                <c:pt idx="1">
                  <c:v>54.4</c:v>
                </c:pt>
                <c:pt idx="2">
                  <c:v>52.7</c:v>
                </c:pt>
                <c:pt idx="3">
                  <c:v>53.4</c:v>
                </c:pt>
                <c:pt idx="4">
                  <c:v>54.4</c:v>
                </c:pt>
                <c:pt idx="5">
                  <c:v>55.3</c:v>
                </c:pt>
                <c:pt idx="6">
                  <c:v>53.3</c:v>
                </c:pt>
                <c:pt idx="7">
                  <c:v>52.5</c:v>
                </c:pt>
                <c:pt idx="8">
                  <c:v>52.6</c:v>
                </c:pt>
                <c:pt idx="9">
                  <c:v>53.1</c:v>
                </c:pt>
                <c:pt idx="10">
                  <c:v>52.2</c:v>
                </c:pt>
                <c:pt idx="11">
                  <c:v>52.3</c:v>
                </c:pt>
                <c:pt idx="12">
                  <c:v>45.3</c:v>
                </c:pt>
                <c:pt idx="13">
                  <c:v>50.2</c:v>
                </c:pt>
                <c:pt idx="14">
                  <c:v>49.6</c:v>
                </c:pt>
                <c:pt idx="15">
                  <c:v>51.3</c:v>
                </c:pt>
                <c:pt idx="16">
                  <c:v>50.7</c:v>
                </c:pt>
                <c:pt idx="17">
                  <c:v>49.1</c:v>
                </c:pt>
                <c:pt idx="18">
                  <c:v>49.8</c:v>
                </c:pt>
                <c:pt idx="19">
                  <c:v>50.1</c:v>
                </c:pt>
                <c:pt idx="20">
                  <c:v>49.8</c:v>
                </c:pt>
                <c:pt idx="21">
                  <c:v>44.5</c:v>
                </c:pt>
                <c:pt idx="22">
                  <c:v>37.6</c:v>
                </c:pt>
                <c:pt idx="23">
                  <c:v>40</c:v>
                </c:pt>
                <c:pt idx="24">
                  <c:v>43.3</c:v>
                </c:pt>
                <c:pt idx="25">
                  <c:v>42</c:v>
                </c:pt>
                <c:pt idx="26">
                  <c:v>41.2</c:v>
                </c:pt>
                <c:pt idx="27">
                  <c:v>43.2</c:v>
                </c:pt>
                <c:pt idx="28">
                  <c:v>43.5</c:v>
                </c:pt>
                <c:pt idx="29">
                  <c:v>46.7</c:v>
                </c:pt>
                <c:pt idx="30">
                  <c:v>46.4</c:v>
                </c:pt>
                <c:pt idx="31">
                  <c:v>48.9</c:v>
                </c:pt>
                <c:pt idx="32">
                  <c:v>50.1</c:v>
                </c:pt>
                <c:pt idx="33">
                  <c:v>50.2</c:v>
                </c:pt>
                <c:pt idx="34">
                  <c:v>49.9</c:v>
                </c:pt>
                <c:pt idx="35">
                  <c:v>50.1</c:v>
                </c:pt>
                <c:pt idx="36">
                  <c:v>50.7</c:v>
                </c:pt>
                <c:pt idx="37">
                  <c:v>52.7</c:v>
                </c:pt>
                <c:pt idx="38">
                  <c:v>54.1</c:v>
                </c:pt>
                <c:pt idx="39">
                  <c:v>54.6</c:v>
                </c:pt>
                <c:pt idx="40">
                  <c:v>54.8</c:v>
                </c:pt>
                <c:pt idx="41">
                  <c:v>53.5</c:v>
                </c:pt>
                <c:pt idx="42">
                  <c:v>53.7</c:v>
                </c:pt>
                <c:pt idx="43">
                  <c:v>52.8</c:v>
                </c:pt>
                <c:pt idx="44">
                  <c:v>53.9</c:v>
                </c:pt>
                <c:pt idx="45">
                  <c:v>54.6</c:v>
                </c:pt>
                <c:pt idx="46">
                  <c:v>56</c:v>
                </c:pt>
                <c:pt idx="47">
                  <c:v>57.1</c:v>
                </c:pt>
                <c:pt idx="48">
                  <c:v>59.4</c:v>
                </c:pt>
                <c:pt idx="49">
                  <c:v>59.7</c:v>
                </c:pt>
                <c:pt idx="50">
                  <c:v>57.3</c:v>
                </c:pt>
                <c:pt idx="51">
                  <c:v>52.8</c:v>
                </c:pt>
                <c:pt idx="52">
                  <c:v>54.6</c:v>
                </c:pt>
                <c:pt idx="53">
                  <c:v>53.3</c:v>
                </c:pt>
                <c:pt idx="54">
                  <c:v>52.7</c:v>
                </c:pt>
                <c:pt idx="55">
                  <c:v>53.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8671872"/>
        <c:axId val="78673408"/>
      </c:lineChart>
      <c:dateAx>
        <c:axId val="78671872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pl-PL"/>
          </a:p>
        </c:txPr>
        <c:crossAx val="78673408"/>
        <c:crosses val="autoZero"/>
        <c:auto val="1"/>
        <c:lblOffset val="100"/>
        <c:baseTimeUnit val="months"/>
      </c:dateAx>
      <c:valAx>
        <c:axId val="78673408"/>
        <c:scaling>
          <c:orientation val="minMax"/>
          <c:max val="65"/>
          <c:min val="30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78671872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944851964724195"/>
          <c:y val="5.4478609379273527E-2"/>
          <c:w val="0.82945036968467667"/>
          <c:h val="0.74719656104607668"/>
        </c:manualLayout>
      </c:layout>
      <c:lineChart>
        <c:grouping val="standard"/>
        <c:varyColors val="0"/>
        <c:ser>
          <c:idx val="0"/>
          <c:order val="0"/>
          <c:tx>
            <c:strRef>
              <c:f>USA!$C$1</c:f>
              <c:strCache>
                <c:ptCount val="1"/>
                <c:pt idx="0">
                  <c:v>nonfarm payrolls [tys]</c:v>
                </c:pt>
              </c:strCache>
            </c:strRef>
          </c:tx>
          <c:spPr>
            <a:ln w="38100">
              <a:solidFill>
                <a:srgbClr val="0096EF"/>
              </a:solidFill>
              <a:prstDash val="solid"/>
            </a:ln>
          </c:spPr>
          <c:marker>
            <c:symbol val="none"/>
          </c:marker>
          <c:cat>
            <c:numRef>
              <c:f>USA!$B$207:$B$262</c:f>
              <c:numCache>
                <c:formatCode>dd/mm/yy</c:formatCode>
                <c:ptCount val="56"/>
                <c:pt idx="0">
                  <c:v>39113</c:v>
                </c:pt>
                <c:pt idx="1">
                  <c:v>39141</c:v>
                </c:pt>
                <c:pt idx="2">
                  <c:v>39172</c:v>
                </c:pt>
                <c:pt idx="3">
                  <c:v>39202</c:v>
                </c:pt>
                <c:pt idx="4">
                  <c:v>39233</c:v>
                </c:pt>
                <c:pt idx="5">
                  <c:v>39263</c:v>
                </c:pt>
                <c:pt idx="6">
                  <c:v>39294</c:v>
                </c:pt>
                <c:pt idx="7">
                  <c:v>39325</c:v>
                </c:pt>
                <c:pt idx="8">
                  <c:v>39355</c:v>
                </c:pt>
                <c:pt idx="9">
                  <c:v>39386</c:v>
                </c:pt>
                <c:pt idx="10">
                  <c:v>39416</c:v>
                </c:pt>
                <c:pt idx="11">
                  <c:v>39447</c:v>
                </c:pt>
                <c:pt idx="12">
                  <c:v>39478</c:v>
                </c:pt>
                <c:pt idx="13">
                  <c:v>39507</c:v>
                </c:pt>
                <c:pt idx="14">
                  <c:v>39538</c:v>
                </c:pt>
                <c:pt idx="15">
                  <c:v>39568</c:v>
                </c:pt>
                <c:pt idx="16">
                  <c:v>39599</c:v>
                </c:pt>
                <c:pt idx="17">
                  <c:v>39629</c:v>
                </c:pt>
                <c:pt idx="18">
                  <c:v>39660</c:v>
                </c:pt>
                <c:pt idx="19">
                  <c:v>39691</c:v>
                </c:pt>
                <c:pt idx="20">
                  <c:v>39721</c:v>
                </c:pt>
                <c:pt idx="21">
                  <c:v>39752</c:v>
                </c:pt>
                <c:pt idx="22">
                  <c:v>39782</c:v>
                </c:pt>
                <c:pt idx="23">
                  <c:v>39813</c:v>
                </c:pt>
                <c:pt idx="24">
                  <c:v>39844</c:v>
                </c:pt>
                <c:pt idx="25">
                  <c:v>39872</c:v>
                </c:pt>
                <c:pt idx="26">
                  <c:v>39903</c:v>
                </c:pt>
                <c:pt idx="27">
                  <c:v>39933</c:v>
                </c:pt>
                <c:pt idx="28">
                  <c:v>39964</c:v>
                </c:pt>
                <c:pt idx="29">
                  <c:v>39994</c:v>
                </c:pt>
                <c:pt idx="30">
                  <c:v>40025</c:v>
                </c:pt>
                <c:pt idx="31">
                  <c:v>40056</c:v>
                </c:pt>
                <c:pt idx="32">
                  <c:v>40086</c:v>
                </c:pt>
                <c:pt idx="33">
                  <c:v>40117</c:v>
                </c:pt>
                <c:pt idx="34">
                  <c:v>40147</c:v>
                </c:pt>
                <c:pt idx="35">
                  <c:v>40178</c:v>
                </c:pt>
                <c:pt idx="36">
                  <c:v>40209</c:v>
                </c:pt>
                <c:pt idx="37">
                  <c:v>40237</c:v>
                </c:pt>
                <c:pt idx="38">
                  <c:v>40268</c:v>
                </c:pt>
                <c:pt idx="39">
                  <c:v>40298</c:v>
                </c:pt>
                <c:pt idx="40">
                  <c:v>40329</c:v>
                </c:pt>
                <c:pt idx="41">
                  <c:v>40359</c:v>
                </c:pt>
                <c:pt idx="42">
                  <c:v>40390</c:v>
                </c:pt>
                <c:pt idx="43">
                  <c:v>40421</c:v>
                </c:pt>
                <c:pt idx="44">
                  <c:v>40451</c:v>
                </c:pt>
                <c:pt idx="45">
                  <c:v>40482</c:v>
                </c:pt>
                <c:pt idx="46">
                  <c:v>40512</c:v>
                </c:pt>
                <c:pt idx="47">
                  <c:v>40543</c:v>
                </c:pt>
                <c:pt idx="48">
                  <c:v>40574</c:v>
                </c:pt>
                <c:pt idx="49">
                  <c:v>40602</c:v>
                </c:pt>
                <c:pt idx="50">
                  <c:v>40633</c:v>
                </c:pt>
                <c:pt idx="51">
                  <c:v>40663</c:v>
                </c:pt>
                <c:pt idx="52">
                  <c:v>40694</c:v>
                </c:pt>
                <c:pt idx="53">
                  <c:v>40724</c:v>
                </c:pt>
                <c:pt idx="54">
                  <c:v>40755</c:v>
                </c:pt>
                <c:pt idx="55">
                  <c:v>40786</c:v>
                </c:pt>
              </c:numCache>
            </c:numRef>
          </c:cat>
          <c:val>
            <c:numRef>
              <c:f>USA!$C$207:$C$262</c:f>
              <c:numCache>
                <c:formatCode>General</c:formatCode>
                <c:ptCount val="56"/>
                <c:pt idx="0">
                  <c:v>203</c:v>
                </c:pt>
                <c:pt idx="1">
                  <c:v>88</c:v>
                </c:pt>
                <c:pt idx="2">
                  <c:v>218</c:v>
                </c:pt>
                <c:pt idx="3">
                  <c:v>79</c:v>
                </c:pt>
                <c:pt idx="4">
                  <c:v>141</c:v>
                </c:pt>
                <c:pt idx="5">
                  <c:v>67</c:v>
                </c:pt>
                <c:pt idx="6">
                  <c:v>-49</c:v>
                </c:pt>
                <c:pt idx="7">
                  <c:v>-26</c:v>
                </c:pt>
                <c:pt idx="8">
                  <c:v>69</c:v>
                </c:pt>
                <c:pt idx="9">
                  <c:v>91</c:v>
                </c:pt>
                <c:pt idx="10">
                  <c:v>127</c:v>
                </c:pt>
                <c:pt idx="11">
                  <c:v>84</c:v>
                </c:pt>
                <c:pt idx="12">
                  <c:v>13</c:v>
                </c:pt>
                <c:pt idx="13">
                  <c:v>-83</c:v>
                </c:pt>
                <c:pt idx="14">
                  <c:v>-72</c:v>
                </c:pt>
                <c:pt idx="15">
                  <c:v>-185</c:v>
                </c:pt>
                <c:pt idx="16">
                  <c:v>-233</c:v>
                </c:pt>
                <c:pt idx="17">
                  <c:v>-178</c:v>
                </c:pt>
                <c:pt idx="18">
                  <c:v>-231</c:v>
                </c:pt>
                <c:pt idx="19">
                  <c:v>-267</c:v>
                </c:pt>
                <c:pt idx="20">
                  <c:v>-434</c:v>
                </c:pt>
                <c:pt idx="21">
                  <c:v>-509</c:v>
                </c:pt>
                <c:pt idx="22">
                  <c:v>-802</c:v>
                </c:pt>
                <c:pt idx="23">
                  <c:v>-619</c:v>
                </c:pt>
                <c:pt idx="24">
                  <c:v>-820</c:v>
                </c:pt>
                <c:pt idx="25">
                  <c:v>-726</c:v>
                </c:pt>
                <c:pt idx="26">
                  <c:v>-796</c:v>
                </c:pt>
                <c:pt idx="27">
                  <c:v>-660</c:v>
                </c:pt>
                <c:pt idx="28">
                  <c:v>-386</c:v>
                </c:pt>
                <c:pt idx="29">
                  <c:v>-502</c:v>
                </c:pt>
                <c:pt idx="30">
                  <c:v>-300</c:v>
                </c:pt>
                <c:pt idx="31">
                  <c:v>-231</c:v>
                </c:pt>
                <c:pt idx="32">
                  <c:v>-236</c:v>
                </c:pt>
                <c:pt idx="33">
                  <c:v>-221</c:v>
                </c:pt>
                <c:pt idx="34">
                  <c:v>-55</c:v>
                </c:pt>
                <c:pt idx="35">
                  <c:v>-130</c:v>
                </c:pt>
                <c:pt idx="36">
                  <c:v>-39</c:v>
                </c:pt>
                <c:pt idx="37">
                  <c:v>-35</c:v>
                </c:pt>
                <c:pt idx="38">
                  <c:v>192</c:v>
                </c:pt>
                <c:pt idx="39">
                  <c:v>277</c:v>
                </c:pt>
                <c:pt idx="40">
                  <c:v>458</c:v>
                </c:pt>
                <c:pt idx="41">
                  <c:v>-192</c:v>
                </c:pt>
                <c:pt idx="42">
                  <c:v>-49</c:v>
                </c:pt>
                <c:pt idx="43">
                  <c:v>-59</c:v>
                </c:pt>
                <c:pt idx="44">
                  <c:v>-29</c:v>
                </c:pt>
                <c:pt idx="45">
                  <c:v>171</c:v>
                </c:pt>
                <c:pt idx="46">
                  <c:v>93</c:v>
                </c:pt>
                <c:pt idx="47">
                  <c:v>152</c:v>
                </c:pt>
                <c:pt idx="48">
                  <c:v>68</c:v>
                </c:pt>
                <c:pt idx="49">
                  <c:v>235</c:v>
                </c:pt>
                <c:pt idx="50">
                  <c:v>194</c:v>
                </c:pt>
                <c:pt idx="51">
                  <c:v>217</c:v>
                </c:pt>
                <c:pt idx="52">
                  <c:v>53</c:v>
                </c:pt>
                <c:pt idx="53">
                  <c:v>20</c:v>
                </c:pt>
                <c:pt idx="54">
                  <c:v>85</c:v>
                </c:pt>
                <c:pt idx="55">
                  <c:v>0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USA!$F$1</c:f>
              <c:strCache>
                <c:ptCount val="1"/>
                <c:pt idx="0">
                  <c:v>non farm payrolls [tys] private sector</c:v>
                </c:pt>
              </c:strCache>
            </c:strRef>
          </c:tx>
          <c:spPr>
            <a:ln w="38100">
              <a:solidFill>
                <a:srgbClr val="DC1D1D"/>
              </a:solidFill>
              <a:prstDash val="solid"/>
            </a:ln>
          </c:spPr>
          <c:marker>
            <c:symbol val="none"/>
          </c:marker>
          <c:cat>
            <c:numRef>
              <c:f>USA!$B$207:$B$262</c:f>
              <c:numCache>
                <c:formatCode>dd/mm/yy</c:formatCode>
                <c:ptCount val="56"/>
                <c:pt idx="0">
                  <c:v>39113</c:v>
                </c:pt>
                <c:pt idx="1">
                  <c:v>39141</c:v>
                </c:pt>
                <c:pt idx="2">
                  <c:v>39172</c:v>
                </c:pt>
                <c:pt idx="3">
                  <c:v>39202</c:v>
                </c:pt>
                <c:pt idx="4">
                  <c:v>39233</c:v>
                </c:pt>
                <c:pt idx="5">
                  <c:v>39263</c:v>
                </c:pt>
                <c:pt idx="6">
                  <c:v>39294</c:v>
                </c:pt>
                <c:pt idx="7">
                  <c:v>39325</c:v>
                </c:pt>
                <c:pt idx="8">
                  <c:v>39355</c:v>
                </c:pt>
                <c:pt idx="9">
                  <c:v>39386</c:v>
                </c:pt>
                <c:pt idx="10">
                  <c:v>39416</c:v>
                </c:pt>
                <c:pt idx="11">
                  <c:v>39447</c:v>
                </c:pt>
                <c:pt idx="12">
                  <c:v>39478</c:v>
                </c:pt>
                <c:pt idx="13">
                  <c:v>39507</c:v>
                </c:pt>
                <c:pt idx="14">
                  <c:v>39538</c:v>
                </c:pt>
                <c:pt idx="15">
                  <c:v>39568</c:v>
                </c:pt>
                <c:pt idx="16">
                  <c:v>39599</c:v>
                </c:pt>
                <c:pt idx="17">
                  <c:v>39629</c:v>
                </c:pt>
                <c:pt idx="18">
                  <c:v>39660</c:v>
                </c:pt>
                <c:pt idx="19">
                  <c:v>39691</c:v>
                </c:pt>
                <c:pt idx="20">
                  <c:v>39721</c:v>
                </c:pt>
                <c:pt idx="21">
                  <c:v>39752</c:v>
                </c:pt>
                <c:pt idx="22">
                  <c:v>39782</c:v>
                </c:pt>
                <c:pt idx="23">
                  <c:v>39813</c:v>
                </c:pt>
                <c:pt idx="24">
                  <c:v>39844</c:v>
                </c:pt>
                <c:pt idx="25">
                  <c:v>39872</c:v>
                </c:pt>
                <c:pt idx="26">
                  <c:v>39903</c:v>
                </c:pt>
                <c:pt idx="27">
                  <c:v>39933</c:v>
                </c:pt>
                <c:pt idx="28">
                  <c:v>39964</c:v>
                </c:pt>
                <c:pt idx="29">
                  <c:v>39994</c:v>
                </c:pt>
                <c:pt idx="30">
                  <c:v>40025</c:v>
                </c:pt>
                <c:pt idx="31">
                  <c:v>40056</c:v>
                </c:pt>
                <c:pt idx="32">
                  <c:v>40086</c:v>
                </c:pt>
                <c:pt idx="33">
                  <c:v>40117</c:v>
                </c:pt>
                <c:pt idx="34">
                  <c:v>40147</c:v>
                </c:pt>
                <c:pt idx="35">
                  <c:v>40178</c:v>
                </c:pt>
                <c:pt idx="36">
                  <c:v>40209</c:v>
                </c:pt>
                <c:pt idx="37">
                  <c:v>40237</c:v>
                </c:pt>
                <c:pt idx="38">
                  <c:v>40268</c:v>
                </c:pt>
                <c:pt idx="39">
                  <c:v>40298</c:v>
                </c:pt>
                <c:pt idx="40">
                  <c:v>40329</c:v>
                </c:pt>
                <c:pt idx="41">
                  <c:v>40359</c:v>
                </c:pt>
                <c:pt idx="42">
                  <c:v>40390</c:v>
                </c:pt>
                <c:pt idx="43">
                  <c:v>40421</c:v>
                </c:pt>
                <c:pt idx="44">
                  <c:v>40451</c:v>
                </c:pt>
                <c:pt idx="45">
                  <c:v>40482</c:v>
                </c:pt>
                <c:pt idx="46">
                  <c:v>40512</c:v>
                </c:pt>
                <c:pt idx="47">
                  <c:v>40543</c:v>
                </c:pt>
                <c:pt idx="48">
                  <c:v>40574</c:v>
                </c:pt>
                <c:pt idx="49">
                  <c:v>40602</c:v>
                </c:pt>
                <c:pt idx="50">
                  <c:v>40633</c:v>
                </c:pt>
                <c:pt idx="51">
                  <c:v>40663</c:v>
                </c:pt>
                <c:pt idx="52">
                  <c:v>40694</c:v>
                </c:pt>
                <c:pt idx="53">
                  <c:v>40724</c:v>
                </c:pt>
                <c:pt idx="54">
                  <c:v>40755</c:v>
                </c:pt>
                <c:pt idx="55">
                  <c:v>40786</c:v>
                </c:pt>
              </c:numCache>
            </c:numRef>
          </c:cat>
          <c:val>
            <c:numRef>
              <c:f>USA!$F$207:$F$262</c:f>
              <c:numCache>
                <c:formatCode>General</c:formatCode>
                <c:ptCount val="56"/>
                <c:pt idx="0">
                  <c:v>190</c:v>
                </c:pt>
                <c:pt idx="1">
                  <c:v>58</c:v>
                </c:pt>
                <c:pt idx="2">
                  <c:v>200</c:v>
                </c:pt>
                <c:pt idx="3">
                  <c:v>57</c:v>
                </c:pt>
                <c:pt idx="4">
                  <c:v>111</c:v>
                </c:pt>
                <c:pt idx="5">
                  <c:v>50</c:v>
                </c:pt>
                <c:pt idx="6">
                  <c:v>17</c:v>
                </c:pt>
                <c:pt idx="7">
                  <c:v>-95</c:v>
                </c:pt>
                <c:pt idx="8">
                  <c:v>5</c:v>
                </c:pt>
                <c:pt idx="9">
                  <c:v>74</c:v>
                </c:pt>
                <c:pt idx="10">
                  <c:v>98</c:v>
                </c:pt>
                <c:pt idx="11">
                  <c:v>38</c:v>
                </c:pt>
                <c:pt idx="12">
                  <c:v>4</c:v>
                </c:pt>
                <c:pt idx="13">
                  <c:v>-128</c:v>
                </c:pt>
                <c:pt idx="14">
                  <c:v>-87</c:v>
                </c:pt>
                <c:pt idx="15">
                  <c:v>-186</c:v>
                </c:pt>
                <c:pt idx="16">
                  <c:v>-240</c:v>
                </c:pt>
                <c:pt idx="17">
                  <c:v>-217</c:v>
                </c:pt>
                <c:pt idx="18">
                  <c:v>-265</c:v>
                </c:pt>
                <c:pt idx="19">
                  <c:v>-317</c:v>
                </c:pt>
                <c:pt idx="20">
                  <c:v>-434</c:v>
                </c:pt>
                <c:pt idx="21">
                  <c:v>-491</c:v>
                </c:pt>
                <c:pt idx="22">
                  <c:v>-787</c:v>
                </c:pt>
                <c:pt idx="23">
                  <c:v>-636</c:v>
                </c:pt>
                <c:pt idx="24">
                  <c:v>-841</c:v>
                </c:pt>
                <c:pt idx="25">
                  <c:v>-721</c:v>
                </c:pt>
                <c:pt idx="26">
                  <c:v>-787</c:v>
                </c:pt>
                <c:pt idx="27">
                  <c:v>-773</c:v>
                </c:pt>
                <c:pt idx="28">
                  <c:v>-326</c:v>
                </c:pt>
                <c:pt idx="29">
                  <c:v>-438</c:v>
                </c:pt>
                <c:pt idx="30">
                  <c:v>-287</c:v>
                </c:pt>
                <c:pt idx="31">
                  <c:v>-215</c:v>
                </c:pt>
                <c:pt idx="32">
                  <c:v>-213</c:v>
                </c:pt>
                <c:pt idx="33">
                  <c:v>-250</c:v>
                </c:pt>
                <c:pt idx="34">
                  <c:v>-34</c:v>
                </c:pt>
                <c:pt idx="35">
                  <c:v>-102</c:v>
                </c:pt>
                <c:pt idx="36">
                  <c:v>-42</c:v>
                </c:pt>
                <c:pt idx="37">
                  <c:v>-21</c:v>
                </c:pt>
                <c:pt idx="38">
                  <c:v>144</c:v>
                </c:pt>
                <c:pt idx="39">
                  <c:v>229</c:v>
                </c:pt>
                <c:pt idx="40">
                  <c:v>48</c:v>
                </c:pt>
                <c:pt idx="41">
                  <c:v>65</c:v>
                </c:pt>
                <c:pt idx="42">
                  <c:v>93</c:v>
                </c:pt>
                <c:pt idx="43">
                  <c:v>110</c:v>
                </c:pt>
                <c:pt idx="44">
                  <c:v>109</c:v>
                </c:pt>
                <c:pt idx="45">
                  <c:v>143</c:v>
                </c:pt>
                <c:pt idx="46">
                  <c:v>128</c:v>
                </c:pt>
                <c:pt idx="47">
                  <c:v>167</c:v>
                </c:pt>
                <c:pt idx="48">
                  <c:v>94</c:v>
                </c:pt>
                <c:pt idx="49">
                  <c:v>261</c:v>
                </c:pt>
                <c:pt idx="50">
                  <c:v>219</c:v>
                </c:pt>
                <c:pt idx="51">
                  <c:v>241</c:v>
                </c:pt>
                <c:pt idx="52">
                  <c:v>99</c:v>
                </c:pt>
                <c:pt idx="53">
                  <c:v>75</c:v>
                </c:pt>
                <c:pt idx="54">
                  <c:v>156</c:v>
                </c:pt>
                <c:pt idx="55">
                  <c:v>1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0288000"/>
        <c:axId val="80297984"/>
      </c:lineChart>
      <c:dateAx>
        <c:axId val="80288000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low"/>
        <c:spPr>
          <a:effectLst/>
        </c:spPr>
        <c:txPr>
          <a:bodyPr rot="0"/>
          <a:lstStyle/>
          <a:p>
            <a:pPr rtl="0">
              <a:defRPr sz="1000" b="0" i="0" u="none" strike="noStrike" baseline="0">
                <a:latin typeface="Tahoma"/>
                <a:ea typeface="Tahoma"/>
                <a:cs typeface="Tahoma"/>
              </a:defRPr>
            </a:pPr>
            <a:endParaRPr lang="pl-PL"/>
          </a:p>
        </c:txPr>
        <c:crossAx val="80297984"/>
        <c:crosses val="autoZero"/>
        <c:auto val="1"/>
        <c:lblOffset val="100"/>
        <c:baseTimeUnit val="months"/>
      </c:dateAx>
      <c:valAx>
        <c:axId val="80297984"/>
        <c:scaling>
          <c:orientation val="minMax"/>
        </c:scaling>
        <c:delete val="0"/>
        <c:axPos val="l"/>
        <c:majorGridlines>
          <c:spPr>
            <a:ln w="3175">
              <a:solidFill>
                <a:srgbClr val="C0C0C0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effectLst/>
        </c:spPr>
        <c:txPr>
          <a:bodyPr/>
          <a:lstStyle/>
          <a:p>
            <a:pPr>
              <a:defRPr sz="1050" b="0" i="0" u="none" strike="noStrike" baseline="0">
                <a:solidFill>
                  <a:srgbClr val="000000"/>
                </a:solidFill>
                <a:latin typeface="Tahoma"/>
                <a:ea typeface="Tahoma"/>
                <a:cs typeface="Tahoma"/>
              </a:defRPr>
            </a:pPr>
            <a:endParaRPr lang="pl-PL"/>
          </a:p>
        </c:txPr>
        <c:crossAx val="80288000"/>
        <c:crosses val="autoZero"/>
        <c:crossBetween val="between"/>
      </c:valAx>
      <c:spPr>
        <a:solidFill>
          <a:srgbClr val="FFFFFF"/>
        </a:solidFill>
        <a:ln w="25400">
          <a:noFill/>
        </a:ln>
      </c:spPr>
    </c:plotArea>
    <c:plotVisOnly val="1"/>
    <c:dispBlanksAs val="gap"/>
    <c:showDLblsOverMax val="0"/>
  </c:chart>
  <c:spPr>
    <a:ln w="25400">
      <a:noFill/>
    </a:ln>
  </c:sp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/>
              <a:t>Eurozone</a:t>
            </a:r>
          </a:p>
        </c:rich>
      </c:tx>
      <c:layout>
        <c:manualLayout>
          <c:xMode val="edge"/>
          <c:yMode val="edge"/>
          <c:x val="0.40645830455403598"/>
          <c:y val="6.0684680601975106E-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8.4488407699037621E-2"/>
          <c:y val="5.1400554097404488E-2"/>
          <c:w val="0.88285035312973514"/>
          <c:h val="0.79822506561679785"/>
        </c:manualLayout>
      </c:layout>
      <c:lineChart>
        <c:grouping val="standard"/>
        <c:varyColors val="0"/>
        <c:ser>
          <c:idx val="0"/>
          <c:order val="0"/>
          <c:tx>
            <c:v>PMI manufacturing</c:v>
          </c:tx>
          <c:spPr>
            <a:ln>
              <a:solidFill>
                <a:schemeClr val="accent1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EC!$P$13:$P$90</c:f>
              <c:numCache>
                <c:formatCode>dd/mm/yy</c:formatCode>
                <c:ptCount val="78"/>
                <c:pt idx="0">
                  <c:v>39113</c:v>
                </c:pt>
                <c:pt idx="1">
                  <c:v>39141</c:v>
                </c:pt>
                <c:pt idx="2">
                  <c:v>39172</c:v>
                </c:pt>
                <c:pt idx="3">
                  <c:v>39202</c:v>
                </c:pt>
                <c:pt idx="4">
                  <c:v>39233</c:v>
                </c:pt>
                <c:pt idx="5">
                  <c:v>39263</c:v>
                </c:pt>
                <c:pt idx="6">
                  <c:v>39294</c:v>
                </c:pt>
                <c:pt idx="7">
                  <c:v>39325</c:v>
                </c:pt>
                <c:pt idx="8">
                  <c:v>39355</c:v>
                </c:pt>
                <c:pt idx="9">
                  <c:v>39386</c:v>
                </c:pt>
                <c:pt idx="10">
                  <c:v>39416</c:v>
                </c:pt>
                <c:pt idx="11">
                  <c:v>39447</c:v>
                </c:pt>
                <c:pt idx="12">
                  <c:v>39478</c:v>
                </c:pt>
                <c:pt idx="13">
                  <c:v>39507</c:v>
                </c:pt>
                <c:pt idx="14">
                  <c:v>39538</c:v>
                </c:pt>
                <c:pt idx="15">
                  <c:v>39568</c:v>
                </c:pt>
                <c:pt idx="16">
                  <c:v>39599</c:v>
                </c:pt>
                <c:pt idx="17">
                  <c:v>39629</c:v>
                </c:pt>
                <c:pt idx="18">
                  <c:v>39660</c:v>
                </c:pt>
                <c:pt idx="19">
                  <c:v>39691</c:v>
                </c:pt>
                <c:pt idx="20">
                  <c:v>39721</c:v>
                </c:pt>
                <c:pt idx="21">
                  <c:v>39752</c:v>
                </c:pt>
                <c:pt idx="22">
                  <c:v>39782</c:v>
                </c:pt>
                <c:pt idx="23">
                  <c:v>39813</c:v>
                </c:pt>
                <c:pt idx="24">
                  <c:v>39844</c:v>
                </c:pt>
                <c:pt idx="25">
                  <c:v>39872</c:v>
                </c:pt>
                <c:pt idx="26">
                  <c:v>39903</c:v>
                </c:pt>
                <c:pt idx="27">
                  <c:v>39933</c:v>
                </c:pt>
                <c:pt idx="28">
                  <c:v>39964</c:v>
                </c:pt>
                <c:pt idx="29">
                  <c:v>39994</c:v>
                </c:pt>
                <c:pt idx="30">
                  <c:v>40025</c:v>
                </c:pt>
                <c:pt idx="31">
                  <c:v>40056</c:v>
                </c:pt>
                <c:pt idx="32">
                  <c:v>40086</c:v>
                </c:pt>
                <c:pt idx="33">
                  <c:v>40117</c:v>
                </c:pt>
                <c:pt idx="34">
                  <c:v>40147</c:v>
                </c:pt>
                <c:pt idx="35">
                  <c:v>40178</c:v>
                </c:pt>
                <c:pt idx="36">
                  <c:v>40209</c:v>
                </c:pt>
                <c:pt idx="37">
                  <c:v>40237</c:v>
                </c:pt>
                <c:pt idx="38">
                  <c:v>40268</c:v>
                </c:pt>
                <c:pt idx="39">
                  <c:v>40298</c:v>
                </c:pt>
                <c:pt idx="40">
                  <c:v>40329</c:v>
                </c:pt>
                <c:pt idx="41">
                  <c:v>40359</c:v>
                </c:pt>
                <c:pt idx="42">
                  <c:v>40390</c:v>
                </c:pt>
                <c:pt idx="43">
                  <c:v>40421</c:v>
                </c:pt>
                <c:pt idx="44">
                  <c:v>40451</c:v>
                </c:pt>
                <c:pt idx="45">
                  <c:v>40482</c:v>
                </c:pt>
                <c:pt idx="46">
                  <c:v>40512</c:v>
                </c:pt>
                <c:pt idx="47">
                  <c:v>40543</c:v>
                </c:pt>
                <c:pt idx="48">
                  <c:v>40574</c:v>
                </c:pt>
                <c:pt idx="49">
                  <c:v>40602</c:v>
                </c:pt>
                <c:pt idx="50">
                  <c:v>40633</c:v>
                </c:pt>
                <c:pt idx="51">
                  <c:v>40663</c:v>
                </c:pt>
                <c:pt idx="52">
                  <c:v>40694</c:v>
                </c:pt>
                <c:pt idx="53">
                  <c:v>40724</c:v>
                </c:pt>
                <c:pt idx="54">
                  <c:v>40755</c:v>
                </c:pt>
                <c:pt idx="55">
                  <c:v>40786</c:v>
                </c:pt>
                <c:pt idx="56">
                  <c:v>40816</c:v>
                </c:pt>
              </c:numCache>
            </c:numRef>
          </c:cat>
          <c:val>
            <c:numRef>
              <c:f>EC!$Q$13:$Q$90</c:f>
              <c:numCache>
                <c:formatCode>General</c:formatCode>
                <c:ptCount val="78"/>
                <c:pt idx="0">
                  <c:v>55.5</c:v>
                </c:pt>
                <c:pt idx="1">
                  <c:v>55.6</c:v>
                </c:pt>
                <c:pt idx="2">
                  <c:v>55.4</c:v>
                </c:pt>
                <c:pt idx="3">
                  <c:v>55.4</c:v>
                </c:pt>
                <c:pt idx="4">
                  <c:v>55</c:v>
                </c:pt>
                <c:pt idx="5">
                  <c:v>55.6</c:v>
                </c:pt>
                <c:pt idx="6">
                  <c:v>54.9</c:v>
                </c:pt>
                <c:pt idx="7">
                  <c:v>54.3</c:v>
                </c:pt>
                <c:pt idx="8">
                  <c:v>53.2</c:v>
                </c:pt>
                <c:pt idx="9">
                  <c:v>51.5</c:v>
                </c:pt>
                <c:pt idx="10">
                  <c:v>52.8</c:v>
                </c:pt>
                <c:pt idx="11">
                  <c:v>52.6</c:v>
                </c:pt>
                <c:pt idx="12">
                  <c:v>52.8</c:v>
                </c:pt>
                <c:pt idx="13">
                  <c:v>52.3</c:v>
                </c:pt>
                <c:pt idx="14">
                  <c:v>52</c:v>
                </c:pt>
                <c:pt idx="15">
                  <c:v>50.7</c:v>
                </c:pt>
                <c:pt idx="16">
                  <c:v>50.6</c:v>
                </c:pt>
                <c:pt idx="17">
                  <c:v>49.2</c:v>
                </c:pt>
                <c:pt idx="18">
                  <c:v>47.4</c:v>
                </c:pt>
                <c:pt idx="19">
                  <c:v>47.6</c:v>
                </c:pt>
                <c:pt idx="20">
                  <c:v>45</c:v>
                </c:pt>
                <c:pt idx="21">
                  <c:v>41.1</c:v>
                </c:pt>
                <c:pt idx="22">
                  <c:v>35.6</c:v>
                </c:pt>
                <c:pt idx="23">
                  <c:v>33.9</c:v>
                </c:pt>
                <c:pt idx="24">
                  <c:v>34.4</c:v>
                </c:pt>
                <c:pt idx="25">
                  <c:v>33.5</c:v>
                </c:pt>
                <c:pt idx="26">
                  <c:v>33.9</c:v>
                </c:pt>
                <c:pt idx="27">
                  <c:v>36.800000000000004</c:v>
                </c:pt>
                <c:pt idx="28">
                  <c:v>40.700000000000003</c:v>
                </c:pt>
                <c:pt idx="29">
                  <c:v>42.6</c:v>
                </c:pt>
                <c:pt idx="30">
                  <c:v>46.3</c:v>
                </c:pt>
                <c:pt idx="31">
                  <c:v>48.2</c:v>
                </c:pt>
                <c:pt idx="32">
                  <c:v>49.3</c:v>
                </c:pt>
                <c:pt idx="33">
                  <c:v>50.7</c:v>
                </c:pt>
                <c:pt idx="34">
                  <c:v>51.2</c:v>
                </c:pt>
                <c:pt idx="35">
                  <c:v>51.6</c:v>
                </c:pt>
                <c:pt idx="36">
                  <c:v>52.4</c:v>
                </c:pt>
                <c:pt idx="37">
                  <c:v>54.2</c:v>
                </c:pt>
                <c:pt idx="38">
                  <c:v>56.6</c:v>
                </c:pt>
                <c:pt idx="39">
                  <c:v>57.6</c:v>
                </c:pt>
                <c:pt idx="40">
                  <c:v>55.8</c:v>
                </c:pt>
                <c:pt idx="41">
                  <c:v>55.6</c:v>
                </c:pt>
                <c:pt idx="42">
                  <c:v>56.7</c:v>
                </c:pt>
                <c:pt idx="43">
                  <c:v>55.1</c:v>
                </c:pt>
                <c:pt idx="44">
                  <c:v>53.7</c:v>
                </c:pt>
                <c:pt idx="45">
                  <c:v>54.6</c:v>
                </c:pt>
                <c:pt idx="46">
                  <c:v>55.3</c:v>
                </c:pt>
                <c:pt idx="47">
                  <c:v>57.1</c:v>
                </c:pt>
                <c:pt idx="48">
                  <c:v>57.3</c:v>
                </c:pt>
                <c:pt idx="49">
                  <c:v>59</c:v>
                </c:pt>
                <c:pt idx="50">
                  <c:v>57.5</c:v>
                </c:pt>
                <c:pt idx="51">
                  <c:v>58</c:v>
                </c:pt>
                <c:pt idx="52">
                  <c:v>54.6</c:v>
                </c:pt>
                <c:pt idx="53">
                  <c:v>52</c:v>
                </c:pt>
                <c:pt idx="54">
                  <c:v>50.4</c:v>
                </c:pt>
                <c:pt idx="55">
                  <c:v>49</c:v>
                </c:pt>
                <c:pt idx="56">
                  <c:v>48.4</c:v>
                </c:pt>
              </c:numCache>
            </c:numRef>
          </c:val>
          <c:smooth val="0"/>
        </c:ser>
        <c:ser>
          <c:idx val="1"/>
          <c:order val="1"/>
          <c:tx>
            <c:v>PMI services</c:v>
          </c:tx>
          <c:spPr>
            <a:ln>
              <a:solidFill>
                <a:srgbClr val="FF3300"/>
              </a:solidFill>
            </a:ln>
          </c:spPr>
          <c:marker>
            <c:symbol val="none"/>
          </c:marker>
          <c:cat>
            <c:numRef>
              <c:f>EC!$P$13:$P$90</c:f>
              <c:numCache>
                <c:formatCode>dd/mm/yy</c:formatCode>
                <c:ptCount val="78"/>
                <c:pt idx="0">
                  <c:v>39113</c:v>
                </c:pt>
                <c:pt idx="1">
                  <c:v>39141</c:v>
                </c:pt>
                <c:pt idx="2">
                  <c:v>39172</c:v>
                </c:pt>
                <c:pt idx="3">
                  <c:v>39202</c:v>
                </c:pt>
                <c:pt idx="4">
                  <c:v>39233</c:v>
                </c:pt>
                <c:pt idx="5">
                  <c:v>39263</c:v>
                </c:pt>
                <c:pt idx="6">
                  <c:v>39294</c:v>
                </c:pt>
                <c:pt idx="7">
                  <c:v>39325</c:v>
                </c:pt>
                <c:pt idx="8">
                  <c:v>39355</c:v>
                </c:pt>
                <c:pt idx="9">
                  <c:v>39386</c:v>
                </c:pt>
                <c:pt idx="10">
                  <c:v>39416</c:v>
                </c:pt>
                <c:pt idx="11">
                  <c:v>39447</c:v>
                </c:pt>
                <c:pt idx="12">
                  <c:v>39478</c:v>
                </c:pt>
                <c:pt idx="13">
                  <c:v>39507</c:v>
                </c:pt>
                <c:pt idx="14">
                  <c:v>39538</c:v>
                </c:pt>
                <c:pt idx="15">
                  <c:v>39568</c:v>
                </c:pt>
                <c:pt idx="16">
                  <c:v>39599</c:v>
                </c:pt>
                <c:pt idx="17">
                  <c:v>39629</c:v>
                </c:pt>
                <c:pt idx="18">
                  <c:v>39660</c:v>
                </c:pt>
                <c:pt idx="19">
                  <c:v>39691</c:v>
                </c:pt>
                <c:pt idx="20">
                  <c:v>39721</c:v>
                </c:pt>
                <c:pt idx="21">
                  <c:v>39752</c:v>
                </c:pt>
                <c:pt idx="22">
                  <c:v>39782</c:v>
                </c:pt>
                <c:pt idx="23">
                  <c:v>39813</c:v>
                </c:pt>
                <c:pt idx="24">
                  <c:v>39844</c:v>
                </c:pt>
                <c:pt idx="25">
                  <c:v>39872</c:v>
                </c:pt>
                <c:pt idx="26">
                  <c:v>39903</c:v>
                </c:pt>
                <c:pt idx="27">
                  <c:v>39933</c:v>
                </c:pt>
                <c:pt idx="28">
                  <c:v>39964</c:v>
                </c:pt>
                <c:pt idx="29">
                  <c:v>39994</c:v>
                </c:pt>
                <c:pt idx="30">
                  <c:v>40025</c:v>
                </c:pt>
                <c:pt idx="31">
                  <c:v>40056</c:v>
                </c:pt>
                <c:pt idx="32">
                  <c:v>40086</c:v>
                </c:pt>
                <c:pt idx="33">
                  <c:v>40117</c:v>
                </c:pt>
                <c:pt idx="34">
                  <c:v>40147</c:v>
                </c:pt>
                <c:pt idx="35">
                  <c:v>40178</c:v>
                </c:pt>
                <c:pt idx="36">
                  <c:v>40209</c:v>
                </c:pt>
                <c:pt idx="37">
                  <c:v>40237</c:v>
                </c:pt>
                <c:pt idx="38">
                  <c:v>40268</c:v>
                </c:pt>
                <c:pt idx="39">
                  <c:v>40298</c:v>
                </c:pt>
                <c:pt idx="40">
                  <c:v>40329</c:v>
                </c:pt>
                <c:pt idx="41">
                  <c:v>40359</c:v>
                </c:pt>
                <c:pt idx="42">
                  <c:v>40390</c:v>
                </c:pt>
                <c:pt idx="43">
                  <c:v>40421</c:v>
                </c:pt>
                <c:pt idx="44">
                  <c:v>40451</c:v>
                </c:pt>
                <c:pt idx="45">
                  <c:v>40482</c:v>
                </c:pt>
                <c:pt idx="46">
                  <c:v>40512</c:v>
                </c:pt>
                <c:pt idx="47">
                  <c:v>40543</c:v>
                </c:pt>
                <c:pt idx="48">
                  <c:v>40574</c:v>
                </c:pt>
                <c:pt idx="49">
                  <c:v>40602</c:v>
                </c:pt>
                <c:pt idx="50">
                  <c:v>40633</c:v>
                </c:pt>
                <c:pt idx="51">
                  <c:v>40663</c:v>
                </c:pt>
                <c:pt idx="52">
                  <c:v>40694</c:v>
                </c:pt>
                <c:pt idx="53">
                  <c:v>40724</c:v>
                </c:pt>
                <c:pt idx="54">
                  <c:v>40755</c:v>
                </c:pt>
                <c:pt idx="55">
                  <c:v>40786</c:v>
                </c:pt>
                <c:pt idx="56">
                  <c:v>40816</c:v>
                </c:pt>
              </c:numCache>
            </c:numRef>
          </c:cat>
          <c:val>
            <c:numRef>
              <c:f>EC!$T$13:$T$90</c:f>
              <c:numCache>
                <c:formatCode>General</c:formatCode>
                <c:ptCount val="78"/>
                <c:pt idx="0">
                  <c:v>57.9</c:v>
                </c:pt>
                <c:pt idx="1">
                  <c:v>57.5</c:v>
                </c:pt>
                <c:pt idx="2">
                  <c:v>57.4</c:v>
                </c:pt>
                <c:pt idx="3">
                  <c:v>57</c:v>
                </c:pt>
                <c:pt idx="4">
                  <c:v>57.3</c:v>
                </c:pt>
                <c:pt idx="5">
                  <c:v>58.3</c:v>
                </c:pt>
                <c:pt idx="6">
                  <c:v>58.3</c:v>
                </c:pt>
                <c:pt idx="7">
                  <c:v>58</c:v>
                </c:pt>
                <c:pt idx="8">
                  <c:v>54.2</c:v>
                </c:pt>
                <c:pt idx="9">
                  <c:v>55.8</c:v>
                </c:pt>
                <c:pt idx="10">
                  <c:v>54.1</c:v>
                </c:pt>
                <c:pt idx="11">
                  <c:v>53.1</c:v>
                </c:pt>
                <c:pt idx="12">
                  <c:v>50.6</c:v>
                </c:pt>
                <c:pt idx="13">
                  <c:v>52.3</c:v>
                </c:pt>
                <c:pt idx="14">
                  <c:v>51.6</c:v>
                </c:pt>
                <c:pt idx="15">
                  <c:v>52</c:v>
                </c:pt>
                <c:pt idx="16">
                  <c:v>50.6</c:v>
                </c:pt>
                <c:pt idx="17">
                  <c:v>49.1</c:v>
                </c:pt>
                <c:pt idx="18">
                  <c:v>48.3</c:v>
                </c:pt>
                <c:pt idx="19">
                  <c:v>48.5</c:v>
                </c:pt>
                <c:pt idx="20">
                  <c:v>48.4</c:v>
                </c:pt>
                <c:pt idx="21">
                  <c:v>45.8</c:v>
                </c:pt>
                <c:pt idx="22">
                  <c:v>42.5</c:v>
                </c:pt>
                <c:pt idx="23">
                  <c:v>42.1</c:v>
                </c:pt>
                <c:pt idx="24">
                  <c:v>42.2</c:v>
                </c:pt>
                <c:pt idx="25">
                  <c:v>39.200000000000003</c:v>
                </c:pt>
                <c:pt idx="26">
                  <c:v>40.9</c:v>
                </c:pt>
                <c:pt idx="27">
                  <c:v>43.8</c:v>
                </c:pt>
                <c:pt idx="28">
                  <c:v>44.8</c:v>
                </c:pt>
                <c:pt idx="29">
                  <c:v>44.7</c:v>
                </c:pt>
                <c:pt idx="30">
                  <c:v>45.7</c:v>
                </c:pt>
                <c:pt idx="31">
                  <c:v>49.9</c:v>
                </c:pt>
                <c:pt idx="32">
                  <c:v>50.9</c:v>
                </c:pt>
                <c:pt idx="33">
                  <c:v>52.6</c:v>
                </c:pt>
                <c:pt idx="34">
                  <c:v>53</c:v>
                </c:pt>
                <c:pt idx="35">
                  <c:v>53.6</c:v>
                </c:pt>
                <c:pt idx="36">
                  <c:v>52.5</c:v>
                </c:pt>
                <c:pt idx="37">
                  <c:v>51.8</c:v>
                </c:pt>
                <c:pt idx="38">
                  <c:v>54.1</c:v>
                </c:pt>
                <c:pt idx="39">
                  <c:v>55.6</c:v>
                </c:pt>
                <c:pt idx="40">
                  <c:v>56.2</c:v>
                </c:pt>
                <c:pt idx="41">
                  <c:v>55.5</c:v>
                </c:pt>
                <c:pt idx="42">
                  <c:v>55.8</c:v>
                </c:pt>
                <c:pt idx="43">
                  <c:v>55.9</c:v>
                </c:pt>
                <c:pt idx="44">
                  <c:v>54.1</c:v>
                </c:pt>
                <c:pt idx="45">
                  <c:v>53.3</c:v>
                </c:pt>
                <c:pt idx="46">
                  <c:v>55.4</c:v>
                </c:pt>
                <c:pt idx="47">
                  <c:v>54.2</c:v>
                </c:pt>
                <c:pt idx="48">
                  <c:v>55.9</c:v>
                </c:pt>
                <c:pt idx="49">
                  <c:v>56.8</c:v>
                </c:pt>
                <c:pt idx="50">
                  <c:v>57.2</c:v>
                </c:pt>
                <c:pt idx="51">
                  <c:v>56.7</c:v>
                </c:pt>
                <c:pt idx="52">
                  <c:v>56</c:v>
                </c:pt>
                <c:pt idx="53">
                  <c:v>53.7</c:v>
                </c:pt>
                <c:pt idx="54">
                  <c:v>51.6</c:v>
                </c:pt>
                <c:pt idx="55">
                  <c:v>51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0341632"/>
        <c:axId val="83329408"/>
      </c:lineChart>
      <c:dateAx>
        <c:axId val="80341632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pl-PL"/>
          </a:p>
        </c:txPr>
        <c:crossAx val="83329408"/>
        <c:crosses val="autoZero"/>
        <c:auto val="1"/>
        <c:lblOffset val="100"/>
        <c:baseTimeUnit val="months"/>
      </c:dateAx>
      <c:valAx>
        <c:axId val="83329408"/>
        <c:scaling>
          <c:orientation val="minMax"/>
          <c:max val="60"/>
          <c:min val="30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80341632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/>
              <a:t>Germany</a:t>
            </a:r>
          </a:p>
        </c:rich>
      </c:tx>
      <c:layout>
        <c:manualLayout>
          <c:xMode val="edge"/>
          <c:yMode val="edge"/>
          <c:x val="0.43142292825252843"/>
          <c:y val="1.3229075532225144E-3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9.8571741032371027E-2"/>
          <c:y val="5.1400554097404488E-2"/>
          <c:w val="0.80824540682416623"/>
          <c:h val="0.79822506561679785"/>
        </c:manualLayout>
      </c:layout>
      <c:lineChart>
        <c:grouping val="standard"/>
        <c:varyColors val="0"/>
        <c:ser>
          <c:idx val="3"/>
          <c:order val="1"/>
          <c:tx>
            <c:v>Ifo index (LA)</c:v>
          </c:tx>
          <c:spPr>
            <a:ln>
              <a:solidFill>
                <a:srgbClr val="376092"/>
              </a:solidFill>
            </a:ln>
          </c:spPr>
          <c:marker>
            <c:symbol val="none"/>
          </c:marker>
          <c:cat>
            <c:numRef>
              <c:f>GE!$X$184:$X$250</c:f>
              <c:numCache>
                <c:formatCode>dd/mm/yy</c:formatCode>
                <c:ptCount val="67"/>
                <c:pt idx="0">
                  <c:v>39113</c:v>
                </c:pt>
                <c:pt idx="1">
                  <c:v>39141</c:v>
                </c:pt>
                <c:pt idx="2">
                  <c:v>39172</c:v>
                </c:pt>
                <c:pt idx="3">
                  <c:v>39202</c:v>
                </c:pt>
                <c:pt idx="4">
                  <c:v>39233</c:v>
                </c:pt>
                <c:pt idx="5">
                  <c:v>39263</c:v>
                </c:pt>
                <c:pt idx="6">
                  <c:v>39294</c:v>
                </c:pt>
                <c:pt idx="7">
                  <c:v>39325</c:v>
                </c:pt>
                <c:pt idx="8">
                  <c:v>39355</c:v>
                </c:pt>
                <c:pt idx="9">
                  <c:v>39386</c:v>
                </c:pt>
                <c:pt idx="10">
                  <c:v>39416</c:v>
                </c:pt>
                <c:pt idx="11">
                  <c:v>39447</c:v>
                </c:pt>
                <c:pt idx="12">
                  <c:v>39478</c:v>
                </c:pt>
                <c:pt idx="13">
                  <c:v>39507</c:v>
                </c:pt>
                <c:pt idx="14">
                  <c:v>39538</c:v>
                </c:pt>
                <c:pt idx="15">
                  <c:v>39568</c:v>
                </c:pt>
                <c:pt idx="16">
                  <c:v>39599</c:v>
                </c:pt>
                <c:pt idx="17">
                  <c:v>39629</c:v>
                </c:pt>
                <c:pt idx="18">
                  <c:v>39660</c:v>
                </c:pt>
                <c:pt idx="19">
                  <c:v>39691</c:v>
                </c:pt>
                <c:pt idx="20">
                  <c:v>39721</c:v>
                </c:pt>
                <c:pt idx="21">
                  <c:v>39752</c:v>
                </c:pt>
                <c:pt idx="22">
                  <c:v>39782</c:v>
                </c:pt>
                <c:pt idx="23">
                  <c:v>39813</c:v>
                </c:pt>
                <c:pt idx="24">
                  <c:v>39844</c:v>
                </c:pt>
                <c:pt idx="25">
                  <c:v>39872</c:v>
                </c:pt>
                <c:pt idx="26">
                  <c:v>39903</c:v>
                </c:pt>
                <c:pt idx="27">
                  <c:v>39933</c:v>
                </c:pt>
                <c:pt idx="28">
                  <c:v>39964</c:v>
                </c:pt>
                <c:pt idx="29">
                  <c:v>39994</c:v>
                </c:pt>
                <c:pt idx="30">
                  <c:v>40025</c:v>
                </c:pt>
                <c:pt idx="31">
                  <c:v>40056</c:v>
                </c:pt>
                <c:pt idx="32">
                  <c:v>40086</c:v>
                </c:pt>
                <c:pt idx="33">
                  <c:v>40117</c:v>
                </c:pt>
                <c:pt idx="34">
                  <c:v>40147</c:v>
                </c:pt>
                <c:pt idx="35">
                  <c:v>40178</c:v>
                </c:pt>
                <c:pt idx="36">
                  <c:v>40209</c:v>
                </c:pt>
                <c:pt idx="37">
                  <c:v>40237</c:v>
                </c:pt>
                <c:pt idx="38">
                  <c:v>40268</c:v>
                </c:pt>
                <c:pt idx="39">
                  <c:v>40298</c:v>
                </c:pt>
                <c:pt idx="40">
                  <c:v>40329</c:v>
                </c:pt>
                <c:pt idx="41">
                  <c:v>40359</c:v>
                </c:pt>
                <c:pt idx="42">
                  <c:v>40390</c:v>
                </c:pt>
                <c:pt idx="43">
                  <c:v>40421</c:v>
                </c:pt>
                <c:pt idx="44">
                  <c:v>40451</c:v>
                </c:pt>
                <c:pt idx="45">
                  <c:v>40482</c:v>
                </c:pt>
                <c:pt idx="46">
                  <c:v>40512</c:v>
                </c:pt>
                <c:pt idx="47">
                  <c:v>40543</c:v>
                </c:pt>
                <c:pt idx="48">
                  <c:v>40574</c:v>
                </c:pt>
                <c:pt idx="49">
                  <c:v>40602</c:v>
                </c:pt>
                <c:pt idx="50">
                  <c:v>40633</c:v>
                </c:pt>
                <c:pt idx="51">
                  <c:v>40663</c:v>
                </c:pt>
                <c:pt idx="52">
                  <c:v>40694</c:v>
                </c:pt>
                <c:pt idx="53">
                  <c:v>40724</c:v>
                </c:pt>
                <c:pt idx="54">
                  <c:v>40755</c:v>
                </c:pt>
                <c:pt idx="55">
                  <c:v>40786</c:v>
                </c:pt>
                <c:pt idx="56">
                  <c:v>40816</c:v>
                </c:pt>
              </c:numCache>
            </c:numRef>
          </c:cat>
          <c:val>
            <c:numRef>
              <c:f>GE!$AT$159:$AT$250</c:f>
              <c:numCache>
                <c:formatCode>General</c:formatCode>
                <c:ptCount val="92"/>
                <c:pt idx="0">
                  <c:v>112.7</c:v>
                </c:pt>
                <c:pt idx="1">
                  <c:v>111.4</c:v>
                </c:pt>
                <c:pt idx="2">
                  <c:v>112.1</c:v>
                </c:pt>
                <c:pt idx="3">
                  <c:v>113.4</c:v>
                </c:pt>
                <c:pt idx="4">
                  <c:v>113.1</c:v>
                </c:pt>
                <c:pt idx="5">
                  <c:v>111.4</c:v>
                </c:pt>
                <c:pt idx="6">
                  <c:v>111.6</c:v>
                </c:pt>
                <c:pt idx="7">
                  <c:v>110.5</c:v>
                </c:pt>
                <c:pt idx="8">
                  <c:v>109.4</c:v>
                </c:pt>
                <c:pt idx="9">
                  <c:v>108.6</c:v>
                </c:pt>
                <c:pt idx="10">
                  <c:v>109.1</c:v>
                </c:pt>
                <c:pt idx="11">
                  <c:v>108.1</c:v>
                </c:pt>
                <c:pt idx="12">
                  <c:v>108.4</c:v>
                </c:pt>
                <c:pt idx="13">
                  <c:v>108</c:v>
                </c:pt>
                <c:pt idx="14">
                  <c:v>108.7</c:v>
                </c:pt>
                <c:pt idx="15">
                  <c:v>106.7</c:v>
                </c:pt>
                <c:pt idx="16">
                  <c:v>107.6</c:v>
                </c:pt>
                <c:pt idx="17">
                  <c:v>105.4</c:v>
                </c:pt>
                <c:pt idx="18">
                  <c:v>100.8</c:v>
                </c:pt>
                <c:pt idx="19">
                  <c:v>99</c:v>
                </c:pt>
                <c:pt idx="20">
                  <c:v>96.1</c:v>
                </c:pt>
                <c:pt idx="21">
                  <c:v>92.8</c:v>
                </c:pt>
                <c:pt idx="22">
                  <c:v>87.9</c:v>
                </c:pt>
                <c:pt idx="23">
                  <c:v>84.6</c:v>
                </c:pt>
                <c:pt idx="24">
                  <c:v>85.4</c:v>
                </c:pt>
                <c:pt idx="25">
                  <c:v>85.7</c:v>
                </c:pt>
                <c:pt idx="26">
                  <c:v>84.9</c:v>
                </c:pt>
                <c:pt idx="27">
                  <c:v>86.6</c:v>
                </c:pt>
                <c:pt idx="28">
                  <c:v>87.3</c:v>
                </c:pt>
                <c:pt idx="29">
                  <c:v>89.1</c:v>
                </c:pt>
                <c:pt idx="30">
                  <c:v>91.3</c:v>
                </c:pt>
                <c:pt idx="31">
                  <c:v>94.4</c:v>
                </c:pt>
                <c:pt idx="32">
                  <c:v>94.4</c:v>
                </c:pt>
                <c:pt idx="33">
                  <c:v>94.9</c:v>
                </c:pt>
                <c:pt idx="34">
                  <c:v>97.1</c:v>
                </c:pt>
                <c:pt idx="35">
                  <c:v>97.6</c:v>
                </c:pt>
                <c:pt idx="36">
                  <c:v>99.4</c:v>
                </c:pt>
                <c:pt idx="37">
                  <c:v>99.8</c:v>
                </c:pt>
                <c:pt idx="38">
                  <c:v>102.3</c:v>
                </c:pt>
                <c:pt idx="39">
                  <c:v>106.1</c:v>
                </c:pt>
                <c:pt idx="40">
                  <c:v>106.1</c:v>
                </c:pt>
                <c:pt idx="41">
                  <c:v>106.4</c:v>
                </c:pt>
                <c:pt idx="42">
                  <c:v>110.9</c:v>
                </c:pt>
                <c:pt idx="43">
                  <c:v>111.3</c:v>
                </c:pt>
                <c:pt idx="44">
                  <c:v>111.2</c:v>
                </c:pt>
                <c:pt idx="45">
                  <c:v>112.1</c:v>
                </c:pt>
                <c:pt idx="46">
                  <c:v>113.5</c:v>
                </c:pt>
                <c:pt idx="47">
                  <c:v>114.4</c:v>
                </c:pt>
                <c:pt idx="48">
                  <c:v>113.9</c:v>
                </c:pt>
                <c:pt idx="49">
                  <c:v>115.4</c:v>
                </c:pt>
                <c:pt idx="50">
                  <c:v>114.9</c:v>
                </c:pt>
                <c:pt idx="51">
                  <c:v>114.1</c:v>
                </c:pt>
                <c:pt idx="52">
                  <c:v>114.1</c:v>
                </c:pt>
                <c:pt idx="53">
                  <c:v>114.4</c:v>
                </c:pt>
                <c:pt idx="54">
                  <c:v>112.8</c:v>
                </c:pt>
                <c:pt idx="55">
                  <c:v>108.7</c:v>
                </c:pt>
                <c:pt idx="56">
                  <c:v>107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356672"/>
        <c:axId val="81400576"/>
      </c:lineChart>
      <c:lineChart>
        <c:grouping val="standard"/>
        <c:varyColors val="0"/>
        <c:ser>
          <c:idx val="1"/>
          <c:order val="0"/>
          <c:tx>
            <c:v>ZEW index expected situation (RA)</c:v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GE!$X$184:$X$250</c:f>
              <c:numCache>
                <c:formatCode>dd/mm/yy</c:formatCode>
                <c:ptCount val="67"/>
                <c:pt idx="0">
                  <c:v>39113</c:v>
                </c:pt>
                <c:pt idx="1">
                  <c:v>39141</c:v>
                </c:pt>
                <c:pt idx="2">
                  <c:v>39172</c:v>
                </c:pt>
                <c:pt idx="3">
                  <c:v>39202</c:v>
                </c:pt>
                <c:pt idx="4">
                  <c:v>39233</c:v>
                </c:pt>
                <c:pt idx="5">
                  <c:v>39263</c:v>
                </c:pt>
                <c:pt idx="6">
                  <c:v>39294</c:v>
                </c:pt>
                <c:pt idx="7">
                  <c:v>39325</c:v>
                </c:pt>
                <c:pt idx="8">
                  <c:v>39355</c:v>
                </c:pt>
                <c:pt idx="9">
                  <c:v>39386</c:v>
                </c:pt>
                <c:pt idx="10">
                  <c:v>39416</c:v>
                </c:pt>
                <c:pt idx="11">
                  <c:v>39447</c:v>
                </c:pt>
                <c:pt idx="12">
                  <c:v>39478</c:v>
                </c:pt>
                <c:pt idx="13">
                  <c:v>39507</c:v>
                </c:pt>
                <c:pt idx="14">
                  <c:v>39538</c:v>
                </c:pt>
                <c:pt idx="15">
                  <c:v>39568</c:v>
                </c:pt>
                <c:pt idx="16">
                  <c:v>39599</c:v>
                </c:pt>
                <c:pt idx="17">
                  <c:v>39629</c:v>
                </c:pt>
                <c:pt idx="18">
                  <c:v>39660</c:v>
                </c:pt>
                <c:pt idx="19">
                  <c:v>39691</c:v>
                </c:pt>
                <c:pt idx="20">
                  <c:v>39721</c:v>
                </c:pt>
                <c:pt idx="21">
                  <c:v>39752</c:v>
                </c:pt>
                <c:pt idx="22">
                  <c:v>39782</c:v>
                </c:pt>
                <c:pt idx="23">
                  <c:v>39813</c:v>
                </c:pt>
                <c:pt idx="24">
                  <c:v>39844</c:v>
                </c:pt>
                <c:pt idx="25">
                  <c:v>39872</c:v>
                </c:pt>
                <c:pt idx="26">
                  <c:v>39903</c:v>
                </c:pt>
                <c:pt idx="27">
                  <c:v>39933</c:v>
                </c:pt>
                <c:pt idx="28">
                  <c:v>39964</c:v>
                </c:pt>
                <c:pt idx="29">
                  <c:v>39994</c:v>
                </c:pt>
                <c:pt idx="30">
                  <c:v>40025</c:v>
                </c:pt>
                <c:pt idx="31">
                  <c:v>40056</c:v>
                </c:pt>
                <c:pt idx="32">
                  <c:v>40086</c:v>
                </c:pt>
                <c:pt idx="33">
                  <c:v>40117</c:v>
                </c:pt>
                <c:pt idx="34">
                  <c:v>40147</c:v>
                </c:pt>
                <c:pt idx="35">
                  <c:v>40178</c:v>
                </c:pt>
                <c:pt idx="36">
                  <c:v>40209</c:v>
                </c:pt>
                <c:pt idx="37">
                  <c:v>40237</c:v>
                </c:pt>
                <c:pt idx="38">
                  <c:v>40268</c:v>
                </c:pt>
                <c:pt idx="39">
                  <c:v>40298</c:v>
                </c:pt>
                <c:pt idx="40">
                  <c:v>40329</c:v>
                </c:pt>
                <c:pt idx="41">
                  <c:v>40359</c:v>
                </c:pt>
                <c:pt idx="42">
                  <c:v>40390</c:v>
                </c:pt>
                <c:pt idx="43">
                  <c:v>40421</c:v>
                </c:pt>
                <c:pt idx="44">
                  <c:v>40451</c:v>
                </c:pt>
                <c:pt idx="45">
                  <c:v>40482</c:v>
                </c:pt>
                <c:pt idx="46">
                  <c:v>40512</c:v>
                </c:pt>
                <c:pt idx="47">
                  <c:v>40543</c:v>
                </c:pt>
                <c:pt idx="48">
                  <c:v>40574</c:v>
                </c:pt>
                <c:pt idx="49">
                  <c:v>40602</c:v>
                </c:pt>
                <c:pt idx="50">
                  <c:v>40633</c:v>
                </c:pt>
                <c:pt idx="51">
                  <c:v>40663</c:v>
                </c:pt>
                <c:pt idx="52">
                  <c:v>40694</c:v>
                </c:pt>
                <c:pt idx="53">
                  <c:v>40724</c:v>
                </c:pt>
                <c:pt idx="54">
                  <c:v>40755</c:v>
                </c:pt>
                <c:pt idx="55">
                  <c:v>40786</c:v>
                </c:pt>
                <c:pt idx="56">
                  <c:v>40816</c:v>
                </c:pt>
              </c:numCache>
            </c:numRef>
          </c:cat>
          <c:val>
            <c:numRef>
              <c:f>GE!$Y$184:$Y$250</c:f>
              <c:numCache>
                <c:formatCode>General</c:formatCode>
                <c:ptCount val="67"/>
                <c:pt idx="0">
                  <c:v>-3.6</c:v>
                </c:pt>
                <c:pt idx="1">
                  <c:v>2.9</c:v>
                </c:pt>
                <c:pt idx="2">
                  <c:v>5.8</c:v>
                </c:pt>
                <c:pt idx="3">
                  <c:v>16.5</c:v>
                </c:pt>
                <c:pt idx="4">
                  <c:v>24</c:v>
                </c:pt>
                <c:pt idx="5">
                  <c:v>20.3</c:v>
                </c:pt>
                <c:pt idx="6">
                  <c:v>10.4</c:v>
                </c:pt>
                <c:pt idx="7">
                  <c:v>-6.9</c:v>
                </c:pt>
                <c:pt idx="8">
                  <c:v>-18.100000000000001</c:v>
                </c:pt>
                <c:pt idx="9">
                  <c:v>-18.100000000000001</c:v>
                </c:pt>
                <c:pt idx="10">
                  <c:v>-32.5</c:v>
                </c:pt>
                <c:pt idx="11">
                  <c:v>-37.200000000000003</c:v>
                </c:pt>
                <c:pt idx="12">
                  <c:v>-41.6</c:v>
                </c:pt>
                <c:pt idx="13">
                  <c:v>-39.5</c:v>
                </c:pt>
                <c:pt idx="14">
                  <c:v>-32</c:v>
                </c:pt>
                <c:pt idx="15">
                  <c:v>-40.700000000000003</c:v>
                </c:pt>
                <c:pt idx="16">
                  <c:v>-41.4</c:v>
                </c:pt>
                <c:pt idx="17">
                  <c:v>-52.4</c:v>
                </c:pt>
                <c:pt idx="18">
                  <c:v>-63.9</c:v>
                </c:pt>
                <c:pt idx="19">
                  <c:v>-55.5</c:v>
                </c:pt>
                <c:pt idx="20">
                  <c:v>-41.1</c:v>
                </c:pt>
                <c:pt idx="21">
                  <c:v>-63</c:v>
                </c:pt>
                <c:pt idx="22">
                  <c:v>-53.5</c:v>
                </c:pt>
                <c:pt idx="23">
                  <c:v>-45.2</c:v>
                </c:pt>
                <c:pt idx="24">
                  <c:v>-31</c:v>
                </c:pt>
                <c:pt idx="25">
                  <c:v>-5.8</c:v>
                </c:pt>
                <c:pt idx="26">
                  <c:v>-3.5</c:v>
                </c:pt>
                <c:pt idx="27">
                  <c:v>13</c:v>
                </c:pt>
                <c:pt idx="28">
                  <c:v>31.1</c:v>
                </c:pt>
                <c:pt idx="29">
                  <c:v>44.8</c:v>
                </c:pt>
                <c:pt idx="30">
                  <c:v>39.5</c:v>
                </c:pt>
                <c:pt idx="31">
                  <c:v>56.1</c:v>
                </c:pt>
                <c:pt idx="32">
                  <c:v>57.7</c:v>
                </c:pt>
                <c:pt idx="33">
                  <c:v>56</c:v>
                </c:pt>
                <c:pt idx="34">
                  <c:v>51.1</c:v>
                </c:pt>
                <c:pt idx="35">
                  <c:v>50.4</c:v>
                </c:pt>
                <c:pt idx="36">
                  <c:v>47.2</c:v>
                </c:pt>
                <c:pt idx="37">
                  <c:v>45.1</c:v>
                </c:pt>
                <c:pt idx="38">
                  <c:v>44.5</c:v>
                </c:pt>
                <c:pt idx="39">
                  <c:v>53</c:v>
                </c:pt>
                <c:pt idx="40">
                  <c:v>45.8</c:v>
                </c:pt>
                <c:pt idx="41">
                  <c:v>28.7</c:v>
                </c:pt>
                <c:pt idx="42">
                  <c:v>21.2</c:v>
                </c:pt>
                <c:pt idx="43">
                  <c:v>14</c:v>
                </c:pt>
                <c:pt idx="44">
                  <c:v>-4.3</c:v>
                </c:pt>
                <c:pt idx="45">
                  <c:v>-7.2</c:v>
                </c:pt>
                <c:pt idx="46">
                  <c:v>1.8</c:v>
                </c:pt>
                <c:pt idx="47">
                  <c:v>4.3</c:v>
                </c:pt>
                <c:pt idx="48">
                  <c:v>15.4</c:v>
                </c:pt>
                <c:pt idx="49">
                  <c:v>15.7</c:v>
                </c:pt>
                <c:pt idx="50">
                  <c:v>14.1</c:v>
                </c:pt>
                <c:pt idx="51">
                  <c:v>7.6</c:v>
                </c:pt>
                <c:pt idx="52">
                  <c:v>3.1</c:v>
                </c:pt>
                <c:pt idx="53">
                  <c:v>-9</c:v>
                </c:pt>
                <c:pt idx="54">
                  <c:v>-15.1</c:v>
                </c:pt>
                <c:pt idx="55">
                  <c:v>-37.6</c:v>
                </c:pt>
                <c:pt idx="56">
                  <c:v>-43.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1403904"/>
        <c:axId val="81402112"/>
      </c:lineChart>
      <c:dateAx>
        <c:axId val="83356672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pl-PL"/>
          </a:p>
        </c:txPr>
        <c:crossAx val="81400576"/>
        <c:crosses val="autoZero"/>
        <c:auto val="1"/>
        <c:lblOffset val="100"/>
        <c:baseTimeUnit val="months"/>
      </c:dateAx>
      <c:valAx>
        <c:axId val="81400576"/>
        <c:scaling>
          <c:orientation val="minMax"/>
          <c:max val="120"/>
          <c:min val="70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>
                <a:solidFill>
                  <a:srgbClr val="376092"/>
                </a:solidFill>
              </a:defRPr>
            </a:pPr>
            <a:endParaRPr lang="pl-PL"/>
          </a:p>
        </c:txPr>
        <c:crossAx val="83356672"/>
        <c:crosses val="autoZero"/>
        <c:crossBetween val="between"/>
      </c:valAx>
      <c:valAx>
        <c:axId val="81402112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>
                <a:solidFill>
                  <a:srgbClr val="FF3300"/>
                </a:solidFill>
              </a:defRPr>
            </a:pPr>
            <a:endParaRPr lang="pl-PL"/>
          </a:p>
        </c:txPr>
        <c:crossAx val="81403904"/>
        <c:crosses val="max"/>
        <c:crossBetween val="between"/>
      </c:valAx>
      <c:dateAx>
        <c:axId val="81403904"/>
        <c:scaling>
          <c:orientation val="minMax"/>
        </c:scaling>
        <c:delete val="1"/>
        <c:axPos val="b"/>
        <c:numFmt formatCode="dd/mm/yy" sourceLinked="1"/>
        <c:majorTickMark val="out"/>
        <c:minorTickMark val="none"/>
        <c:tickLblPos val="none"/>
        <c:crossAx val="81402112"/>
        <c:crosses val="autoZero"/>
        <c:auto val="1"/>
        <c:lblOffset val="100"/>
        <c:baseTimeUnit val="months"/>
      </c:dateAx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>
                <a:latin typeface="Arial" pitchFamily="34" charset="0"/>
                <a:cs typeface="Arial" pitchFamily="34" charset="0"/>
              </a:defRPr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CDS</a:t>
            </a:r>
            <a:r>
              <a:rPr lang="pl-PL" sz="1400" dirty="0">
                <a:latin typeface="Arial" pitchFamily="34" charset="0"/>
                <a:cs typeface="Arial" pitchFamily="34" charset="0"/>
              </a:rPr>
              <a:t> (USD)</a:t>
            </a:r>
          </a:p>
        </c:rich>
      </c:tx>
      <c:layout>
        <c:manualLayout>
          <c:xMode val="edge"/>
          <c:yMode val="edge"/>
          <c:x val="0.4642400694756223"/>
          <c:y val="1.5100487146123383E-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7.1621769133162955E-2"/>
          <c:y val="0.11141859194859061"/>
          <c:w val="0.90485505205890615"/>
          <c:h val="0.76478518157841324"/>
        </c:manualLayout>
      </c:layout>
      <c:lineChart>
        <c:grouping val="standard"/>
        <c:varyColors val="0"/>
        <c:ser>
          <c:idx val="0"/>
          <c:order val="0"/>
          <c:tx>
            <c:v>Greece</c:v>
          </c:tx>
          <c:spPr>
            <a:ln>
              <a:solidFill>
                <a:srgbClr val="FF9900"/>
              </a:solidFill>
            </a:ln>
          </c:spPr>
          <c:marker>
            <c:symbol val="none"/>
          </c:marker>
          <c:cat>
            <c:numRef>
              <c:f>CDS!$Q$2500:$Q$3500</c:f>
              <c:numCache>
                <c:formatCode>dd/mm/yy</c:formatCode>
                <c:ptCount val="1001"/>
                <c:pt idx="0">
                  <c:v>40023</c:v>
                </c:pt>
                <c:pt idx="1">
                  <c:v>40024</c:v>
                </c:pt>
                <c:pt idx="2">
                  <c:v>40025</c:v>
                </c:pt>
                <c:pt idx="3">
                  <c:v>40028</c:v>
                </c:pt>
                <c:pt idx="4">
                  <c:v>40029</c:v>
                </c:pt>
                <c:pt idx="5">
                  <c:v>40030</c:v>
                </c:pt>
                <c:pt idx="6">
                  <c:v>40031</c:v>
                </c:pt>
                <c:pt idx="7">
                  <c:v>40032</c:v>
                </c:pt>
                <c:pt idx="8">
                  <c:v>40035</c:v>
                </c:pt>
                <c:pt idx="9">
                  <c:v>40036</c:v>
                </c:pt>
                <c:pt idx="10">
                  <c:v>40037</c:v>
                </c:pt>
                <c:pt idx="11">
                  <c:v>40038</c:v>
                </c:pt>
                <c:pt idx="12">
                  <c:v>40039</c:v>
                </c:pt>
                <c:pt idx="13">
                  <c:v>40042</c:v>
                </c:pt>
                <c:pt idx="14">
                  <c:v>40043</c:v>
                </c:pt>
                <c:pt idx="15">
                  <c:v>40044</c:v>
                </c:pt>
                <c:pt idx="16">
                  <c:v>40045</c:v>
                </c:pt>
                <c:pt idx="17">
                  <c:v>40046</c:v>
                </c:pt>
                <c:pt idx="18">
                  <c:v>40049</c:v>
                </c:pt>
                <c:pt idx="19">
                  <c:v>40050</c:v>
                </c:pt>
                <c:pt idx="20">
                  <c:v>40051</c:v>
                </c:pt>
                <c:pt idx="21">
                  <c:v>40052</c:v>
                </c:pt>
                <c:pt idx="22">
                  <c:v>40053</c:v>
                </c:pt>
                <c:pt idx="23">
                  <c:v>40056</c:v>
                </c:pt>
                <c:pt idx="24">
                  <c:v>40057</c:v>
                </c:pt>
                <c:pt idx="25">
                  <c:v>40058</c:v>
                </c:pt>
                <c:pt idx="26">
                  <c:v>40059</c:v>
                </c:pt>
                <c:pt idx="27">
                  <c:v>40060</c:v>
                </c:pt>
                <c:pt idx="28">
                  <c:v>40063</c:v>
                </c:pt>
                <c:pt idx="29">
                  <c:v>40064</c:v>
                </c:pt>
                <c:pt idx="30">
                  <c:v>40065</c:v>
                </c:pt>
                <c:pt idx="31">
                  <c:v>40066</c:v>
                </c:pt>
                <c:pt idx="32">
                  <c:v>40067</c:v>
                </c:pt>
                <c:pt idx="33">
                  <c:v>40070</c:v>
                </c:pt>
                <c:pt idx="34">
                  <c:v>40071</c:v>
                </c:pt>
                <c:pt idx="35">
                  <c:v>40072</c:v>
                </c:pt>
                <c:pt idx="36">
                  <c:v>40073</c:v>
                </c:pt>
                <c:pt idx="37">
                  <c:v>40074</c:v>
                </c:pt>
                <c:pt idx="38">
                  <c:v>40077</c:v>
                </c:pt>
                <c:pt idx="39">
                  <c:v>40078</c:v>
                </c:pt>
                <c:pt idx="40">
                  <c:v>40079</c:v>
                </c:pt>
                <c:pt idx="41">
                  <c:v>40080</c:v>
                </c:pt>
                <c:pt idx="42">
                  <c:v>40081</c:v>
                </c:pt>
                <c:pt idx="43">
                  <c:v>40084</c:v>
                </c:pt>
                <c:pt idx="44">
                  <c:v>40085</c:v>
                </c:pt>
                <c:pt idx="45">
                  <c:v>40086</c:v>
                </c:pt>
                <c:pt idx="46">
                  <c:v>40087</c:v>
                </c:pt>
                <c:pt idx="47">
                  <c:v>40088</c:v>
                </c:pt>
                <c:pt idx="48">
                  <c:v>40091</c:v>
                </c:pt>
                <c:pt idx="49">
                  <c:v>40092</c:v>
                </c:pt>
                <c:pt idx="50">
                  <c:v>40093</c:v>
                </c:pt>
                <c:pt idx="51">
                  <c:v>40094</c:v>
                </c:pt>
                <c:pt idx="52">
                  <c:v>40095</c:v>
                </c:pt>
                <c:pt idx="53">
                  <c:v>40098</c:v>
                </c:pt>
                <c:pt idx="54">
                  <c:v>40099</c:v>
                </c:pt>
                <c:pt idx="55">
                  <c:v>40100</c:v>
                </c:pt>
                <c:pt idx="56">
                  <c:v>40101</c:v>
                </c:pt>
                <c:pt idx="57">
                  <c:v>40102</c:v>
                </c:pt>
                <c:pt idx="58">
                  <c:v>40105</c:v>
                </c:pt>
                <c:pt idx="59">
                  <c:v>40106</c:v>
                </c:pt>
                <c:pt idx="60">
                  <c:v>40107</c:v>
                </c:pt>
                <c:pt idx="61">
                  <c:v>40108</c:v>
                </c:pt>
                <c:pt idx="62">
                  <c:v>40109</c:v>
                </c:pt>
                <c:pt idx="63">
                  <c:v>40112</c:v>
                </c:pt>
                <c:pt idx="64">
                  <c:v>40113</c:v>
                </c:pt>
                <c:pt idx="65">
                  <c:v>40114</c:v>
                </c:pt>
                <c:pt idx="66">
                  <c:v>40115</c:v>
                </c:pt>
                <c:pt idx="67">
                  <c:v>40116</c:v>
                </c:pt>
                <c:pt idx="68">
                  <c:v>40119</c:v>
                </c:pt>
                <c:pt idx="69">
                  <c:v>40120</c:v>
                </c:pt>
                <c:pt idx="70">
                  <c:v>40121</c:v>
                </c:pt>
                <c:pt idx="71">
                  <c:v>40122</c:v>
                </c:pt>
                <c:pt idx="72">
                  <c:v>40123</c:v>
                </c:pt>
                <c:pt idx="73">
                  <c:v>40126</c:v>
                </c:pt>
                <c:pt idx="74">
                  <c:v>40127</c:v>
                </c:pt>
                <c:pt idx="75">
                  <c:v>40128</c:v>
                </c:pt>
                <c:pt idx="76">
                  <c:v>40129</c:v>
                </c:pt>
                <c:pt idx="77">
                  <c:v>40130</c:v>
                </c:pt>
                <c:pt idx="78">
                  <c:v>40133</c:v>
                </c:pt>
                <c:pt idx="79">
                  <c:v>40134</c:v>
                </c:pt>
                <c:pt idx="80">
                  <c:v>40135</c:v>
                </c:pt>
                <c:pt idx="81">
                  <c:v>40136</c:v>
                </c:pt>
                <c:pt idx="82">
                  <c:v>40137</c:v>
                </c:pt>
                <c:pt idx="83">
                  <c:v>40140</c:v>
                </c:pt>
                <c:pt idx="84">
                  <c:v>40141</c:v>
                </c:pt>
                <c:pt idx="85">
                  <c:v>40142</c:v>
                </c:pt>
                <c:pt idx="86">
                  <c:v>40143</c:v>
                </c:pt>
                <c:pt idx="87">
                  <c:v>40144</c:v>
                </c:pt>
                <c:pt idx="88">
                  <c:v>40147</c:v>
                </c:pt>
                <c:pt idx="89">
                  <c:v>40148</c:v>
                </c:pt>
                <c:pt idx="90">
                  <c:v>40149</c:v>
                </c:pt>
                <c:pt idx="91">
                  <c:v>40150</c:v>
                </c:pt>
                <c:pt idx="92">
                  <c:v>40151</c:v>
                </c:pt>
                <c:pt idx="93">
                  <c:v>40154</c:v>
                </c:pt>
                <c:pt idx="94">
                  <c:v>40155</c:v>
                </c:pt>
                <c:pt idx="95">
                  <c:v>40156</c:v>
                </c:pt>
                <c:pt idx="96">
                  <c:v>40157</c:v>
                </c:pt>
                <c:pt idx="97">
                  <c:v>40158</c:v>
                </c:pt>
                <c:pt idx="98">
                  <c:v>40161</c:v>
                </c:pt>
                <c:pt idx="99">
                  <c:v>40162</c:v>
                </c:pt>
                <c:pt idx="100">
                  <c:v>40163</c:v>
                </c:pt>
                <c:pt idx="101">
                  <c:v>40164</c:v>
                </c:pt>
                <c:pt idx="102">
                  <c:v>40165</c:v>
                </c:pt>
                <c:pt idx="103">
                  <c:v>40168</c:v>
                </c:pt>
                <c:pt idx="104">
                  <c:v>40169</c:v>
                </c:pt>
                <c:pt idx="105">
                  <c:v>40170</c:v>
                </c:pt>
                <c:pt idx="106">
                  <c:v>40171</c:v>
                </c:pt>
                <c:pt idx="107">
                  <c:v>40172</c:v>
                </c:pt>
                <c:pt idx="108">
                  <c:v>40175</c:v>
                </c:pt>
                <c:pt idx="109">
                  <c:v>40176</c:v>
                </c:pt>
                <c:pt idx="110">
                  <c:v>40177</c:v>
                </c:pt>
                <c:pt idx="111">
                  <c:v>40178</c:v>
                </c:pt>
                <c:pt idx="112">
                  <c:v>40179</c:v>
                </c:pt>
                <c:pt idx="113">
                  <c:v>40182</c:v>
                </c:pt>
                <c:pt idx="114">
                  <c:v>40183</c:v>
                </c:pt>
                <c:pt idx="115">
                  <c:v>40184</c:v>
                </c:pt>
                <c:pt idx="116">
                  <c:v>40185</c:v>
                </c:pt>
                <c:pt idx="117">
                  <c:v>40186</c:v>
                </c:pt>
                <c:pt idx="118">
                  <c:v>40189</c:v>
                </c:pt>
                <c:pt idx="119">
                  <c:v>40190</c:v>
                </c:pt>
                <c:pt idx="120">
                  <c:v>40191</c:v>
                </c:pt>
                <c:pt idx="121">
                  <c:v>40192</c:v>
                </c:pt>
                <c:pt idx="122">
                  <c:v>40193</c:v>
                </c:pt>
                <c:pt idx="123">
                  <c:v>40196</c:v>
                </c:pt>
                <c:pt idx="124">
                  <c:v>40197</c:v>
                </c:pt>
                <c:pt idx="125">
                  <c:v>40198</c:v>
                </c:pt>
                <c:pt idx="126">
                  <c:v>40199</c:v>
                </c:pt>
                <c:pt idx="127">
                  <c:v>40200</c:v>
                </c:pt>
                <c:pt idx="128">
                  <c:v>40203</c:v>
                </c:pt>
                <c:pt idx="129">
                  <c:v>40204</c:v>
                </c:pt>
                <c:pt idx="130">
                  <c:v>40205</c:v>
                </c:pt>
                <c:pt idx="131">
                  <c:v>40206</c:v>
                </c:pt>
                <c:pt idx="132">
                  <c:v>40207</c:v>
                </c:pt>
                <c:pt idx="133">
                  <c:v>40210</c:v>
                </c:pt>
                <c:pt idx="134">
                  <c:v>40211</c:v>
                </c:pt>
                <c:pt idx="135">
                  <c:v>40212</c:v>
                </c:pt>
                <c:pt idx="136">
                  <c:v>40213</c:v>
                </c:pt>
                <c:pt idx="137">
                  <c:v>40214</c:v>
                </c:pt>
                <c:pt idx="138">
                  <c:v>40217</c:v>
                </c:pt>
                <c:pt idx="139">
                  <c:v>40218</c:v>
                </c:pt>
                <c:pt idx="140">
                  <c:v>40219</c:v>
                </c:pt>
                <c:pt idx="141">
                  <c:v>40220</c:v>
                </c:pt>
                <c:pt idx="142">
                  <c:v>40221</c:v>
                </c:pt>
                <c:pt idx="143">
                  <c:v>40224</c:v>
                </c:pt>
                <c:pt idx="144">
                  <c:v>40225</c:v>
                </c:pt>
                <c:pt idx="145">
                  <c:v>40226</c:v>
                </c:pt>
                <c:pt idx="146">
                  <c:v>40227</c:v>
                </c:pt>
                <c:pt idx="147">
                  <c:v>40228</c:v>
                </c:pt>
                <c:pt idx="148">
                  <c:v>40231</c:v>
                </c:pt>
                <c:pt idx="149">
                  <c:v>40232</c:v>
                </c:pt>
                <c:pt idx="150">
                  <c:v>40233</c:v>
                </c:pt>
                <c:pt idx="151">
                  <c:v>40234</c:v>
                </c:pt>
                <c:pt idx="152">
                  <c:v>40235</c:v>
                </c:pt>
                <c:pt idx="153">
                  <c:v>40238</c:v>
                </c:pt>
                <c:pt idx="154">
                  <c:v>40239</c:v>
                </c:pt>
                <c:pt idx="155">
                  <c:v>40240</c:v>
                </c:pt>
                <c:pt idx="156">
                  <c:v>40241</c:v>
                </c:pt>
                <c:pt idx="157">
                  <c:v>40242</c:v>
                </c:pt>
                <c:pt idx="158">
                  <c:v>40245</c:v>
                </c:pt>
                <c:pt idx="159">
                  <c:v>40246</c:v>
                </c:pt>
                <c:pt idx="160">
                  <c:v>40247</c:v>
                </c:pt>
                <c:pt idx="161">
                  <c:v>40248</c:v>
                </c:pt>
                <c:pt idx="162">
                  <c:v>40249</c:v>
                </c:pt>
                <c:pt idx="163">
                  <c:v>40252</c:v>
                </c:pt>
                <c:pt idx="164">
                  <c:v>40253</c:v>
                </c:pt>
                <c:pt idx="165">
                  <c:v>40254</c:v>
                </c:pt>
                <c:pt idx="166">
                  <c:v>40255</c:v>
                </c:pt>
                <c:pt idx="167">
                  <c:v>40256</c:v>
                </c:pt>
                <c:pt idx="168">
                  <c:v>40259</c:v>
                </c:pt>
                <c:pt idx="169">
                  <c:v>40260</c:v>
                </c:pt>
                <c:pt idx="170">
                  <c:v>40261</c:v>
                </c:pt>
                <c:pt idx="171">
                  <c:v>40262</c:v>
                </c:pt>
                <c:pt idx="172">
                  <c:v>40263</c:v>
                </c:pt>
                <c:pt idx="173">
                  <c:v>40266</c:v>
                </c:pt>
                <c:pt idx="174">
                  <c:v>40267</c:v>
                </c:pt>
                <c:pt idx="175">
                  <c:v>40268</c:v>
                </c:pt>
                <c:pt idx="176">
                  <c:v>40269</c:v>
                </c:pt>
                <c:pt idx="177">
                  <c:v>40270</c:v>
                </c:pt>
                <c:pt idx="178">
                  <c:v>40273</c:v>
                </c:pt>
                <c:pt idx="179">
                  <c:v>40274</c:v>
                </c:pt>
                <c:pt idx="180">
                  <c:v>40275</c:v>
                </c:pt>
                <c:pt idx="181">
                  <c:v>40276</c:v>
                </c:pt>
                <c:pt idx="182">
                  <c:v>40277</c:v>
                </c:pt>
                <c:pt idx="183">
                  <c:v>40280</c:v>
                </c:pt>
                <c:pt idx="184">
                  <c:v>40281</c:v>
                </c:pt>
                <c:pt idx="185">
                  <c:v>40282</c:v>
                </c:pt>
                <c:pt idx="186">
                  <c:v>40283</c:v>
                </c:pt>
                <c:pt idx="187">
                  <c:v>40284</c:v>
                </c:pt>
                <c:pt idx="188">
                  <c:v>40287</c:v>
                </c:pt>
                <c:pt idx="189">
                  <c:v>40288</c:v>
                </c:pt>
                <c:pt idx="190">
                  <c:v>40289</c:v>
                </c:pt>
                <c:pt idx="191">
                  <c:v>40290</c:v>
                </c:pt>
                <c:pt idx="192">
                  <c:v>40291</c:v>
                </c:pt>
                <c:pt idx="193">
                  <c:v>40294</c:v>
                </c:pt>
                <c:pt idx="194">
                  <c:v>40295</c:v>
                </c:pt>
                <c:pt idx="195">
                  <c:v>40296</c:v>
                </c:pt>
                <c:pt idx="196">
                  <c:v>40297</c:v>
                </c:pt>
                <c:pt idx="197">
                  <c:v>40298</c:v>
                </c:pt>
                <c:pt idx="198">
                  <c:v>40301</c:v>
                </c:pt>
                <c:pt idx="199">
                  <c:v>40302</c:v>
                </c:pt>
                <c:pt idx="200">
                  <c:v>40303</c:v>
                </c:pt>
                <c:pt idx="201">
                  <c:v>40304</c:v>
                </c:pt>
                <c:pt idx="202">
                  <c:v>40305</c:v>
                </c:pt>
                <c:pt idx="203">
                  <c:v>40308</c:v>
                </c:pt>
                <c:pt idx="204">
                  <c:v>40309</c:v>
                </c:pt>
                <c:pt idx="205">
                  <c:v>40310</c:v>
                </c:pt>
                <c:pt idx="206">
                  <c:v>40311</c:v>
                </c:pt>
                <c:pt idx="207">
                  <c:v>40312</c:v>
                </c:pt>
                <c:pt idx="208">
                  <c:v>40315</c:v>
                </c:pt>
                <c:pt idx="209">
                  <c:v>40316</c:v>
                </c:pt>
                <c:pt idx="210">
                  <c:v>40317</c:v>
                </c:pt>
                <c:pt idx="211">
                  <c:v>40318</c:v>
                </c:pt>
                <c:pt idx="212">
                  <c:v>40319</c:v>
                </c:pt>
                <c:pt idx="213">
                  <c:v>40322</c:v>
                </c:pt>
                <c:pt idx="214">
                  <c:v>40323</c:v>
                </c:pt>
                <c:pt idx="215">
                  <c:v>40324</c:v>
                </c:pt>
                <c:pt idx="216">
                  <c:v>40325</c:v>
                </c:pt>
                <c:pt idx="217">
                  <c:v>40326</c:v>
                </c:pt>
                <c:pt idx="218">
                  <c:v>40329</c:v>
                </c:pt>
                <c:pt idx="219">
                  <c:v>40330</c:v>
                </c:pt>
                <c:pt idx="220">
                  <c:v>40331</c:v>
                </c:pt>
                <c:pt idx="221">
                  <c:v>40332</c:v>
                </c:pt>
                <c:pt idx="222">
                  <c:v>40333</c:v>
                </c:pt>
                <c:pt idx="223">
                  <c:v>40336</c:v>
                </c:pt>
                <c:pt idx="224">
                  <c:v>40337</c:v>
                </c:pt>
                <c:pt idx="225">
                  <c:v>40338</c:v>
                </c:pt>
                <c:pt idx="226">
                  <c:v>40339</c:v>
                </c:pt>
                <c:pt idx="227">
                  <c:v>40340</c:v>
                </c:pt>
                <c:pt idx="228">
                  <c:v>40343</c:v>
                </c:pt>
                <c:pt idx="229">
                  <c:v>40344</c:v>
                </c:pt>
                <c:pt idx="230">
                  <c:v>40345</c:v>
                </c:pt>
                <c:pt idx="231">
                  <c:v>40346</c:v>
                </c:pt>
                <c:pt idx="232">
                  <c:v>40347</c:v>
                </c:pt>
                <c:pt idx="233">
                  <c:v>40350</c:v>
                </c:pt>
                <c:pt idx="234">
                  <c:v>40351</c:v>
                </c:pt>
                <c:pt idx="235">
                  <c:v>40352</c:v>
                </c:pt>
                <c:pt idx="236">
                  <c:v>40353</c:v>
                </c:pt>
                <c:pt idx="237">
                  <c:v>40354</c:v>
                </c:pt>
                <c:pt idx="238">
                  <c:v>40357</c:v>
                </c:pt>
                <c:pt idx="239">
                  <c:v>40358</c:v>
                </c:pt>
                <c:pt idx="240">
                  <c:v>40359</c:v>
                </c:pt>
                <c:pt idx="241">
                  <c:v>40360</c:v>
                </c:pt>
                <c:pt idx="242">
                  <c:v>40361</c:v>
                </c:pt>
                <c:pt idx="243">
                  <c:v>40364</c:v>
                </c:pt>
                <c:pt idx="244">
                  <c:v>40365</c:v>
                </c:pt>
                <c:pt idx="245">
                  <c:v>40366</c:v>
                </c:pt>
                <c:pt idx="246">
                  <c:v>40367</c:v>
                </c:pt>
                <c:pt idx="247">
                  <c:v>40368</c:v>
                </c:pt>
                <c:pt idx="248">
                  <c:v>40371</c:v>
                </c:pt>
                <c:pt idx="249">
                  <c:v>40372</c:v>
                </c:pt>
                <c:pt idx="250">
                  <c:v>40373</c:v>
                </c:pt>
                <c:pt idx="251">
                  <c:v>40374</c:v>
                </c:pt>
                <c:pt idx="252">
                  <c:v>40375</c:v>
                </c:pt>
                <c:pt idx="253">
                  <c:v>40378</c:v>
                </c:pt>
                <c:pt idx="254">
                  <c:v>40379</c:v>
                </c:pt>
                <c:pt idx="255">
                  <c:v>40380</c:v>
                </c:pt>
                <c:pt idx="256">
                  <c:v>40381</c:v>
                </c:pt>
                <c:pt idx="257">
                  <c:v>40382</c:v>
                </c:pt>
                <c:pt idx="258">
                  <c:v>40385</c:v>
                </c:pt>
                <c:pt idx="259">
                  <c:v>40386</c:v>
                </c:pt>
                <c:pt idx="260">
                  <c:v>40387</c:v>
                </c:pt>
                <c:pt idx="261">
                  <c:v>40388</c:v>
                </c:pt>
                <c:pt idx="262">
                  <c:v>40389</c:v>
                </c:pt>
                <c:pt idx="263">
                  <c:v>40392</c:v>
                </c:pt>
                <c:pt idx="264">
                  <c:v>40393</c:v>
                </c:pt>
                <c:pt idx="265">
                  <c:v>40394</c:v>
                </c:pt>
                <c:pt idx="266">
                  <c:v>40395</c:v>
                </c:pt>
                <c:pt idx="267">
                  <c:v>40396</c:v>
                </c:pt>
                <c:pt idx="268">
                  <c:v>40399</c:v>
                </c:pt>
                <c:pt idx="269">
                  <c:v>40400</c:v>
                </c:pt>
                <c:pt idx="270">
                  <c:v>40401</c:v>
                </c:pt>
                <c:pt idx="271">
                  <c:v>40402</c:v>
                </c:pt>
                <c:pt idx="272">
                  <c:v>40403</c:v>
                </c:pt>
                <c:pt idx="273">
                  <c:v>40406</c:v>
                </c:pt>
                <c:pt idx="274">
                  <c:v>40407</c:v>
                </c:pt>
                <c:pt idx="275">
                  <c:v>40408</c:v>
                </c:pt>
                <c:pt idx="276">
                  <c:v>40409</c:v>
                </c:pt>
                <c:pt idx="277">
                  <c:v>40410</c:v>
                </c:pt>
                <c:pt idx="278">
                  <c:v>40413</c:v>
                </c:pt>
                <c:pt idx="279">
                  <c:v>40414</c:v>
                </c:pt>
                <c:pt idx="280">
                  <c:v>40415</c:v>
                </c:pt>
                <c:pt idx="281">
                  <c:v>40416</c:v>
                </c:pt>
                <c:pt idx="282">
                  <c:v>40417</c:v>
                </c:pt>
                <c:pt idx="283">
                  <c:v>40420</c:v>
                </c:pt>
                <c:pt idx="284">
                  <c:v>40421</c:v>
                </c:pt>
                <c:pt idx="285">
                  <c:v>40422</c:v>
                </c:pt>
                <c:pt idx="286">
                  <c:v>40423</c:v>
                </c:pt>
                <c:pt idx="287">
                  <c:v>40424</c:v>
                </c:pt>
                <c:pt idx="288">
                  <c:v>40427</c:v>
                </c:pt>
                <c:pt idx="289">
                  <c:v>40428</c:v>
                </c:pt>
                <c:pt idx="290">
                  <c:v>40429</c:v>
                </c:pt>
                <c:pt idx="291">
                  <c:v>40430</c:v>
                </c:pt>
                <c:pt idx="292">
                  <c:v>40431</c:v>
                </c:pt>
                <c:pt idx="293">
                  <c:v>40434</c:v>
                </c:pt>
                <c:pt idx="294">
                  <c:v>40435</c:v>
                </c:pt>
                <c:pt idx="295">
                  <c:v>40436</c:v>
                </c:pt>
                <c:pt idx="296">
                  <c:v>40437</c:v>
                </c:pt>
                <c:pt idx="297">
                  <c:v>40438</c:v>
                </c:pt>
                <c:pt idx="298">
                  <c:v>40441</c:v>
                </c:pt>
                <c:pt idx="299">
                  <c:v>40442</c:v>
                </c:pt>
                <c:pt idx="300">
                  <c:v>40443</c:v>
                </c:pt>
                <c:pt idx="301">
                  <c:v>40444</c:v>
                </c:pt>
                <c:pt idx="302">
                  <c:v>40445</c:v>
                </c:pt>
                <c:pt idx="303">
                  <c:v>40448</c:v>
                </c:pt>
                <c:pt idx="304">
                  <c:v>40449</c:v>
                </c:pt>
                <c:pt idx="305">
                  <c:v>40450</c:v>
                </c:pt>
                <c:pt idx="306">
                  <c:v>40451</c:v>
                </c:pt>
                <c:pt idx="307">
                  <c:v>40452</c:v>
                </c:pt>
                <c:pt idx="308">
                  <c:v>40455</c:v>
                </c:pt>
                <c:pt idx="309">
                  <c:v>40456</c:v>
                </c:pt>
                <c:pt idx="310">
                  <c:v>40457</c:v>
                </c:pt>
                <c:pt idx="311">
                  <c:v>40458</c:v>
                </c:pt>
                <c:pt idx="312">
                  <c:v>40459</c:v>
                </c:pt>
                <c:pt idx="313">
                  <c:v>40462</c:v>
                </c:pt>
                <c:pt idx="314">
                  <c:v>40463</c:v>
                </c:pt>
                <c:pt idx="315">
                  <c:v>40464</c:v>
                </c:pt>
                <c:pt idx="316">
                  <c:v>40465</c:v>
                </c:pt>
                <c:pt idx="317">
                  <c:v>40466</c:v>
                </c:pt>
                <c:pt idx="318">
                  <c:v>40469</c:v>
                </c:pt>
                <c:pt idx="319">
                  <c:v>40470</c:v>
                </c:pt>
                <c:pt idx="320">
                  <c:v>40471</c:v>
                </c:pt>
                <c:pt idx="321">
                  <c:v>40472</c:v>
                </c:pt>
                <c:pt idx="322">
                  <c:v>40473</c:v>
                </c:pt>
                <c:pt idx="323">
                  <c:v>40476</c:v>
                </c:pt>
                <c:pt idx="324">
                  <c:v>40477</c:v>
                </c:pt>
                <c:pt idx="325">
                  <c:v>40478</c:v>
                </c:pt>
                <c:pt idx="326">
                  <c:v>40479</c:v>
                </c:pt>
                <c:pt idx="327">
                  <c:v>40480</c:v>
                </c:pt>
                <c:pt idx="328">
                  <c:v>40483</c:v>
                </c:pt>
                <c:pt idx="329">
                  <c:v>40484</c:v>
                </c:pt>
                <c:pt idx="330">
                  <c:v>40485</c:v>
                </c:pt>
                <c:pt idx="331">
                  <c:v>40486</c:v>
                </c:pt>
                <c:pt idx="332">
                  <c:v>40487</c:v>
                </c:pt>
                <c:pt idx="333">
                  <c:v>40490</c:v>
                </c:pt>
                <c:pt idx="334">
                  <c:v>40491</c:v>
                </c:pt>
                <c:pt idx="335">
                  <c:v>40492</c:v>
                </c:pt>
                <c:pt idx="336">
                  <c:v>40493</c:v>
                </c:pt>
                <c:pt idx="337">
                  <c:v>40494</c:v>
                </c:pt>
                <c:pt idx="338">
                  <c:v>40497</c:v>
                </c:pt>
                <c:pt idx="339">
                  <c:v>40498</c:v>
                </c:pt>
                <c:pt idx="340">
                  <c:v>40499</c:v>
                </c:pt>
                <c:pt idx="341">
                  <c:v>40500</c:v>
                </c:pt>
                <c:pt idx="342">
                  <c:v>40501</c:v>
                </c:pt>
                <c:pt idx="343">
                  <c:v>40504</c:v>
                </c:pt>
                <c:pt idx="344">
                  <c:v>40505</c:v>
                </c:pt>
                <c:pt idx="345">
                  <c:v>40506</c:v>
                </c:pt>
                <c:pt idx="346">
                  <c:v>40507</c:v>
                </c:pt>
                <c:pt idx="347">
                  <c:v>40508</c:v>
                </c:pt>
                <c:pt idx="348">
                  <c:v>40511</c:v>
                </c:pt>
                <c:pt idx="349">
                  <c:v>40512</c:v>
                </c:pt>
                <c:pt idx="350">
                  <c:v>40513</c:v>
                </c:pt>
                <c:pt idx="351">
                  <c:v>40514</c:v>
                </c:pt>
                <c:pt idx="352">
                  <c:v>40515</c:v>
                </c:pt>
                <c:pt idx="353">
                  <c:v>40518</c:v>
                </c:pt>
                <c:pt idx="354">
                  <c:v>40519</c:v>
                </c:pt>
                <c:pt idx="355">
                  <c:v>40520</c:v>
                </c:pt>
                <c:pt idx="356">
                  <c:v>40521</c:v>
                </c:pt>
                <c:pt idx="357">
                  <c:v>40522</c:v>
                </c:pt>
                <c:pt idx="358">
                  <c:v>40525</c:v>
                </c:pt>
                <c:pt idx="359">
                  <c:v>40526</c:v>
                </c:pt>
                <c:pt idx="360">
                  <c:v>40527</c:v>
                </c:pt>
                <c:pt idx="361">
                  <c:v>40528</c:v>
                </c:pt>
                <c:pt idx="362">
                  <c:v>40529</c:v>
                </c:pt>
                <c:pt idx="363">
                  <c:v>40532</c:v>
                </c:pt>
                <c:pt idx="364">
                  <c:v>40533</c:v>
                </c:pt>
                <c:pt idx="365">
                  <c:v>40534</c:v>
                </c:pt>
                <c:pt idx="366">
                  <c:v>40535</c:v>
                </c:pt>
                <c:pt idx="367">
                  <c:v>40536</c:v>
                </c:pt>
                <c:pt idx="368">
                  <c:v>40539</c:v>
                </c:pt>
                <c:pt idx="369">
                  <c:v>40540</c:v>
                </c:pt>
                <c:pt idx="370">
                  <c:v>40541</c:v>
                </c:pt>
                <c:pt idx="371">
                  <c:v>40542</c:v>
                </c:pt>
                <c:pt idx="372">
                  <c:v>40543</c:v>
                </c:pt>
                <c:pt idx="373">
                  <c:v>40546</c:v>
                </c:pt>
                <c:pt idx="374">
                  <c:v>40547</c:v>
                </c:pt>
                <c:pt idx="375">
                  <c:v>40548</c:v>
                </c:pt>
                <c:pt idx="376">
                  <c:v>40549</c:v>
                </c:pt>
                <c:pt idx="377">
                  <c:v>40550</c:v>
                </c:pt>
                <c:pt idx="378">
                  <c:v>40553</c:v>
                </c:pt>
                <c:pt idx="379">
                  <c:v>40554</c:v>
                </c:pt>
                <c:pt idx="380">
                  <c:v>40555</c:v>
                </c:pt>
                <c:pt idx="381">
                  <c:v>40556</c:v>
                </c:pt>
                <c:pt idx="382">
                  <c:v>40557</c:v>
                </c:pt>
                <c:pt idx="383">
                  <c:v>40560</c:v>
                </c:pt>
                <c:pt idx="384">
                  <c:v>40561</c:v>
                </c:pt>
                <c:pt idx="385">
                  <c:v>40562</c:v>
                </c:pt>
                <c:pt idx="386">
                  <c:v>40563</c:v>
                </c:pt>
                <c:pt idx="387">
                  <c:v>40564</c:v>
                </c:pt>
                <c:pt idx="388">
                  <c:v>40567</c:v>
                </c:pt>
                <c:pt idx="389">
                  <c:v>40568</c:v>
                </c:pt>
                <c:pt idx="390">
                  <c:v>40569</c:v>
                </c:pt>
                <c:pt idx="391">
                  <c:v>40570</c:v>
                </c:pt>
                <c:pt idx="392">
                  <c:v>40571</c:v>
                </c:pt>
                <c:pt idx="393">
                  <c:v>40574</c:v>
                </c:pt>
                <c:pt idx="394">
                  <c:v>40575</c:v>
                </c:pt>
                <c:pt idx="395">
                  <c:v>40576</c:v>
                </c:pt>
                <c:pt idx="396">
                  <c:v>40577</c:v>
                </c:pt>
                <c:pt idx="397">
                  <c:v>40578</c:v>
                </c:pt>
                <c:pt idx="398">
                  <c:v>40581</c:v>
                </c:pt>
                <c:pt idx="399">
                  <c:v>40582</c:v>
                </c:pt>
                <c:pt idx="400">
                  <c:v>40583</c:v>
                </c:pt>
                <c:pt idx="401">
                  <c:v>40584</c:v>
                </c:pt>
                <c:pt idx="402">
                  <c:v>40585</c:v>
                </c:pt>
                <c:pt idx="403">
                  <c:v>40588</c:v>
                </c:pt>
                <c:pt idx="404">
                  <c:v>40589</c:v>
                </c:pt>
                <c:pt idx="405">
                  <c:v>40590</c:v>
                </c:pt>
                <c:pt idx="406">
                  <c:v>40591</c:v>
                </c:pt>
                <c:pt idx="407">
                  <c:v>40592</c:v>
                </c:pt>
                <c:pt idx="408">
                  <c:v>40595</c:v>
                </c:pt>
                <c:pt idx="409">
                  <c:v>40596</c:v>
                </c:pt>
                <c:pt idx="410">
                  <c:v>40597</c:v>
                </c:pt>
                <c:pt idx="411">
                  <c:v>40598</c:v>
                </c:pt>
                <c:pt idx="412">
                  <c:v>40599</c:v>
                </c:pt>
                <c:pt idx="413">
                  <c:v>40602</c:v>
                </c:pt>
                <c:pt idx="414">
                  <c:v>40603</c:v>
                </c:pt>
                <c:pt idx="415">
                  <c:v>40604</c:v>
                </c:pt>
                <c:pt idx="416">
                  <c:v>40605</c:v>
                </c:pt>
                <c:pt idx="417">
                  <c:v>40606</c:v>
                </c:pt>
                <c:pt idx="418">
                  <c:v>40609</c:v>
                </c:pt>
                <c:pt idx="419">
                  <c:v>40610</c:v>
                </c:pt>
                <c:pt idx="420">
                  <c:v>40611</c:v>
                </c:pt>
                <c:pt idx="421">
                  <c:v>40612</c:v>
                </c:pt>
                <c:pt idx="422">
                  <c:v>40613</c:v>
                </c:pt>
                <c:pt idx="423">
                  <c:v>40616</c:v>
                </c:pt>
                <c:pt idx="424">
                  <c:v>40617</c:v>
                </c:pt>
                <c:pt idx="425">
                  <c:v>40618</c:v>
                </c:pt>
                <c:pt idx="426">
                  <c:v>40619</c:v>
                </c:pt>
                <c:pt idx="427">
                  <c:v>40620</c:v>
                </c:pt>
                <c:pt idx="428">
                  <c:v>40623</c:v>
                </c:pt>
                <c:pt idx="429">
                  <c:v>40624</c:v>
                </c:pt>
                <c:pt idx="430">
                  <c:v>40625</c:v>
                </c:pt>
                <c:pt idx="431">
                  <c:v>40626</c:v>
                </c:pt>
                <c:pt idx="432">
                  <c:v>40627</c:v>
                </c:pt>
                <c:pt idx="433">
                  <c:v>40630</c:v>
                </c:pt>
                <c:pt idx="434">
                  <c:v>40631</c:v>
                </c:pt>
                <c:pt idx="435">
                  <c:v>40632</c:v>
                </c:pt>
                <c:pt idx="436">
                  <c:v>40633</c:v>
                </c:pt>
                <c:pt idx="437">
                  <c:v>40634</c:v>
                </c:pt>
                <c:pt idx="438">
                  <c:v>40637</c:v>
                </c:pt>
                <c:pt idx="439">
                  <c:v>40638</c:v>
                </c:pt>
                <c:pt idx="440">
                  <c:v>40639</c:v>
                </c:pt>
                <c:pt idx="441">
                  <c:v>40640</c:v>
                </c:pt>
                <c:pt idx="442">
                  <c:v>40641</c:v>
                </c:pt>
                <c:pt idx="443">
                  <c:v>40644</c:v>
                </c:pt>
                <c:pt idx="444">
                  <c:v>40645</c:v>
                </c:pt>
                <c:pt idx="445">
                  <c:v>40646</c:v>
                </c:pt>
                <c:pt idx="446">
                  <c:v>40647</c:v>
                </c:pt>
                <c:pt idx="447">
                  <c:v>40648</c:v>
                </c:pt>
                <c:pt idx="448">
                  <c:v>40651</c:v>
                </c:pt>
                <c:pt idx="449">
                  <c:v>40652</c:v>
                </c:pt>
                <c:pt idx="450">
                  <c:v>40653</c:v>
                </c:pt>
                <c:pt idx="451">
                  <c:v>40654</c:v>
                </c:pt>
                <c:pt idx="452">
                  <c:v>40655</c:v>
                </c:pt>
                <c:pt idx="453">
                  <c:v>40658</c:v>
                </c:pt>
                <c:pt idx="454">
                  <c:v>40659</c:v>
                </c:pt>
                <c:pt idx="455">
                  <c:v>40660</c:v>
                </c:pt>
                <c:pt idx="456">
                  <c:v>40661</c:v>
                </c:pt>
                <c:pt idx="457">
                  <c:v>40662</c:v>
                </c:pt>
                <c:pt idx="458">
                  <c:v>40665</c:v>
                </c:pt>
                <c:pt idx="459">
                  <c:v>40666</c:v>
                </c:pt>
                <c:pt idx="460">
                  <c:v>40667</c:v>
                </c:pt>
                <c:pt idx="461">
                  <c:v>40668</c:v>
                </c:pt>
                <c:pt idx="462">
                  <c:v>40669</c:v>
                </c:pt>
                <c:pt idx="463">
                  <c:v>40672</c:v>
                </c:pt>
                <c:pt idx="464">
                  <c:v>40673</c:v>
                </c:pt>
                <c:pt idx="465">
                  <c:v>40674</c:v>
                </c:pt>
                <c:pt idx="466">
                  <c:v>40675</c:v>
                </c:pt>
                <c:pt idx="467">
                  <c:v>40676</c:v>
                </c:pt>
                <c:pt idx="468">
                  <c:v>40679</c:v>
                </c:pt>
                <c:pt idx="469">
                  <c:v>40680</c:v>
                </c:pt>
                <c:pt idx="470">
                  <c:v>40681</c:v>
                </c:pt>
                <c:pt idx="471">
                  <c:v>40682</c:v>
                </c:pt>
                <c:pt idx="472">
                  <c:v>40683</c:v>
                </c:pt>
                <c:pt idx="473">
                  <c:v>40686</c:v>
                </c:pt>
                <c:pt idx="474">
                  <c:v>40687</c:v>
                </c:pt>
                <c:pt idx="475">
                  <c:v>40688</c:v>
                </c:pt>
                <c:pt idx="476">
                  <c:v>40689</c:v>
                </c:pt>
                <c:pt idx="477">
                  <c:v>40690</c:v>
                </c:pt>
                <c:pt idx="478">
                  <c:v>40693</c:v>
                </c:pt>
                <c:pt idx="479">
                  <c:v>40694</c:v>
                </c:pt>
                <c:pt idx="480">
                  <c:v>40695</c:v>
                </c:pt>
                <c:pt idx="481">
                  <c:v>40696</c:v>
                </c:pt>
                <c:pt idx="482">
                  <c:v>40697</c:v>
                </c:pt>
                <c:pt idx="483">
                  <c:v>40700</c:v>
                </c:pt>
                <c:pt idx="484">
                  <c:v>40701</c:v>
                </c:pt>
                <c:pt idx="485">
                  <c:v>40702</c:v>
                </c:pt>
                <c:pt idx="486">
                  <c:v>40703</c:v>
                </c:pt>
                <c:pt idx="487">
                  <c:v>40704</c:v>
                </c:pt>
                <c:pt idx="488">
                  <c:v>40707</c:v>
                </c:pt>
                <c:pt idx="489">
                  <c:v>40708</c:v>
                </c:pt>
                <c:pt idx="490">
                  <c:v>40709</c:v>
                </c:pt>
                <c:pt idx="491">
                  <c:v>40710</c:v>
                </c:pt>
                <c:pt idx="492">
                  <c:v>40711</c:v>
                </c:pt>
                <c:pt idx="493">
                  <c:v>40714</c:v>
                </c:pt>
                <c:pt idx="494">
                  <c:v>40715</c:v>
                </c:pt>
                <c:pt idx="495">
                  <c:v>40716</c:v>
                </c:pt>
                <c:pt idx="496">
                  <c:v>40717</c:v>
                </c:pt>
                <c:pt idx="497">
                  <c:v>40718</c:v>
                </c:pt>
                <c:pt idx="498">
                  <c:v>40721</c:v>
                </c:pt>
                <c:pt idx="499">
                  <c:v>40722</c:v>
                </c:pt>
                <c:pt idx="500">
                  <c:v>40723</c:v>
                </c:pt>
                <c:pt idx="501">
                  <c:v>40724</c:v>
                </c:pt>
                <c:pt idx="502">
                  <c:v>40725</c:v>
                </c:pt>
                <c:pt idx="503">
                  <c:v>40728</c:v>
                </c:pt>
                <c:pt idx="504">
                  <c:v>40729</c:v>
                </c:pt>
                <c:pt idx="505">
                  <c:v>40730</c:v>
                </c:pt>
                <c:pt idx="506">
                  <c:v>40731</c:v>
                </c:pt>
                <c:pt idx="507">
                  <c:v>40732</c:v>
                </c:pt>
                <c:pt idx="508">
                  <c:v>40735</c:v>
                </c:pt>
                <c:pt idx="509">
                  <c:v>40736</c:v>
                </c:pt>
                <c:pt idx="510">
                  <c:v>40737</c:v>
                </c:pt>
                <c:pt idx="511">
                  <c:v>40738</c:v>
                </c:pt>
                <c:pt idx="512">
                  <c:v>40739</c:v>
                </c:pt>
                <c:pt idx="513">
                  <c:v>40742</c:v>
                </c:pt>
                <c:pt idx="514">
                  <c:v>40743</c:v>
                </c:pt>
                <c:pt idx="515">
                  <c:v>40744</c:v>
                </c:pt>
                <c:pt idx="516">
                  <c:v>40745</c:v>
                </c:pt>
                <c:pt idx="517">
                  <c:v>40746</c:v>
                </c:pt>
                <c:pt idx="518">
                  <c:v>40749</c:v>
                </c:pt>
                <c:pt idx="519">
                  <c:v>40750</c:v>
                </c:pt>
                <c:pt idx="520">
                  <c:v>40751</c:v>
                </c:pt>
                <c:pt idx="521">
                  <c:v>40752</c:v>
                </c:pt>
                <c:pt idx="522">
                  <c:v>40753</c:v>
                </c:pt>
                <c:pt idx="523">
                  <c:v>40756</c:v>
                </c:pt>
                <c:pt idx="524">
                  <c:v>40757</c:v>
                </c:pt>
                <c:pt idx="525">
                  <c:v>40758</c:v>
                </c:pt>
                <c:pt idx="526">
                  <c:v>40759</c:v>
                </c:pt>
                <c:pt idx="527">
                  <c:v>40760</c:v>
                </c:pt>
                <c:pt idx="528">
                  <c:v>40763</c:v>
                </c:pt>
                <c:pt idx="529">
                  <c:v>40764</c:v>
                </c:pt>
                <c:pt idx="530">
                  <c:v>40765</c:v>
                </c:pt>
                <c:pt idx="531">
                  <c:v>40766</c:v>
                </c:pt>
                <c:pt idx="532">
                  <c:v>40767</c:v>
                </c:pt>
                <c:pt idx="533">
                  <c:v>40770</c:v>
                </c:pt>
                <c:pt idx="534">
                  <c:v>40771</c:v>
                </c:pt>
                <c:pt idx="535">
                  <c:v>40772</c:v>
                </c:pt>
                <c:pt idx="536">
                  <c:v>40773</c:v>
                </c:pt>
                <c:pt idx="537">
                  <c:v>40774</c:v>
                </c:pt>
                <c:pt idx="538">
                  <c:v>40777</c:v>
                </c:pt>
                <c:pt idx="539">
                  <c:v>40778</c:v>
                </c:pt>
                <c:pt idx="540">
                  <c:v>40779</c:v>
                </c:pt>
                <c:pt idx="541">
                  <c:v>40780</c:v>
                </c:pt>
                <c:pt idx="542">
                  <c:v>40781</c:v>
                </c:pt>
                <c:pt idx="543">
                  <c:v>40784</c:v>
                </c:pt>
                <c:pt idx="544">
                  <c:v>40785</c:v>
                </c:pt>
                <c:pt idx="545">
                  <c:v>40786</c:v>
                </c:pt>
                <c:pt idx="546">
                  <c:v>40787</c:v>
                </c:pt>
                <c:pt idx="547">
                  <c:v>40788</c:v>
                </c:pt>
                <c:pt idx="548">
                  <c:v>40791</c:v>
                </c:pt>
                <c:pt idx="549">
                  <c:v>40792</c:v>
                </c:pt>
                <c:pt idx="550">
                  <c:v>40793</c:v>
                </c:pt>
                <c:pt idx="551">
                  <c:v>40794</c:v>
                </c:pt>
                <c:pt idx="552">
                  <c:v>40795</c:v>
                </c:pt>
                <c:pt idx="553">
                  <c:v>40798</c:v>
                </c:pt>
                <c:pt idx="554">
                  <c:v>40799</c:v>
                </c:pt>
              </c:numCache>
            </c:numRef>
          </c:cat>
          <c:val>
            <c:numRef>
              <c:f>CDS!$O$2500:$O$3500</c:f>
              <c:numCache>
                <c:formatCode>General</c:formatCode>
                <c:ptCount val="1001"/>
                <c:pt idx="0">
                  <c:v>114.71899999999999</c:v>
                </c:pt>
                <c:pt idx="1">
                  <c:v>108.66</c:v>
                </c:pt>
                <c:pt idx="2">
                  <c:v>106.092</c:v>
                </c:pt>
                <c:pt idx="3">
                  <c:v>102.69499999999999</c:v>
                </c:pt>
                <c:pt idx="4">
                  <c:v>101.42700000000002</c:v>
                </c:pt>
                <c:pt idx="5">
                  <c:v>103.681</c:v>
                </c:pt>
                <c:pt idx="6">
                  <c:v>104.645</c:v>
                </c:pt>
                <c:pt idx="7">
                  <c:v>107.54300000000002</c:v>
                </c:pt>
                <c:pt idx="8">
                  <c:v>103.66999999999999</c:v>
                </c:pt>
                <c:pt idx="9">
                  <c:v>107.646</c:v>
                </c:pt>
                <c:pt idx="10">
                  <c:v>114.19499999999999</c:v>
                </c:pt>
                <c:pt idx="11">
                  <c:v>114.48</c:v>
                </c:pt>
                <c:pt idx="12">
                  <c:v>114.254</c:v>
                </c:pt>
                <c:pt idx="13">
                  <c:v>120.37299999999998</c:v>
                </c:pt>
                <c:pt idx="14">
                  <c:v>121.35</c:v>
                </c:pt>
                <c:pt idx="15">
                  <c:v>122.60499999999999</c:v>
                </c:pt>
                <c:pt idx="16">
                  <c:v>120.10199999999999</c:v>
                </c:pt>
                <c:pt idx="17">
                  <c:v>116.224</c:v>
                </c:pt>
                <c:pt idx="18">
                  <c:v>109.95399999999999</c:v>
                </c:pt>
                <c:pt idx="19">
                  <c:v>111.099</c:v>
                </c:pt>
                <c:pt idx="20">
                  <c:v>110.053</c:v>
                </c:pt>
                <c:pt idx="21">
                  <c:v>110.93600000000002</c:v>
                </c:pt>
                <c:pt idx="22">
                  <c:v>110.601</c:v>
                </c:pt>
                <c:pt idx="23">
                  <c:v>110.599</c:v>
                </c:pt>
                <c:pt idx="24">
                  <c:v>112.71899999999999</c:v>
                </c:pt>
                <c:pt idx="25">
                  <c:v>117.65499999999999</c:v>
                </c:pt>
                <c:pt idx="26">
                  <c:v>122.40600000000002</c:v>
                </c:pt>
                <c:pt idx="27">
                  <c:v>125.771</c:v>
                </c:pt>
                <c:pt idx="28">
                  <c:v>125.776</c:v>
                </c:pt>
                <c:pt idx="29">
                  <c:v>124.46700000000011</c:v>
                </c:pt>
                <c:pt idx="30">
                  <c:v>122.69499999999999</c:v>
                </c:pt>
                <c:pt idx="31">
                  <c:v>119.51300000000002</c:v>
                </c:pt>
                <c:pt idx="32">
                  <c:v>117.081</c:v>
                </c:pt>
                <c:pt idx="33">
                  <c:v>117.15199999999999</c:v>
                </c:pt>
                <c:pt idx="34">
                  <c:v>114.83799999999999</c:v>
                </c:pt>
                <c:pt idx="35">
                  <c:v>111.66</c:v>
                </c:pt>
                <c:pt idx="36">
                  <c:v>111.91700000000012</c:v>
                </c:pt>
                <c:pt idx="37">
                  <c:v>113.056</c:v>
                </c:pt>
                <c:pt idx="38">
                  <c:v>113.89400000000002</c:v>
                </c:pt>
                <c:pt idx="39">
                  <c:v>115.631</c:v>
                </c:pt>
                <c:pt idx="40">
                  <c:v>116.462</c:v>
                </c:pt>
                <c:pt idx="41">
                  <c:v>117.5</c:v>
                </c:pt>
                <c:pt idx="42">
                  <c:v>122.43100000000011</c:v>
                </c:pt>
                <c:pt idx="43">
                  <c:v>120.37499999999999</c:v>
                </c:pt>
                <c:pt idx="44">
                  <c:v>119.223</c:v>
                </c:pt>
                <c:pt idx="45">
                  <c:v>119.29</c:v>
                </c:pt>
                <c:pt idx="46">
                  <c:v>121.18799999999999</c:v>
                </c:pt>
                <c:pt idx="47">
                  <c:v>124.336</c:v>
                </c:pt>
                <c:pt idx="48">
                  <c:v>121.44200000000002</c:v>
                </c:pt>
                <c:pt idx="49">
                  <c:v>119.422</c:v>
                </c:pt>
                <c:pt idx="50">
                  <c:v>120.85199999999999</c:v>
                </c:pt>
                <c:pt idx="51">
                  <c:v>120.85599999999998</c:v>
                </c:pt>
                <c:pt idx="52">
                  <c:v>122.742</c:v>
                </c:pt>
                <c:pt idx="53">
                  <c:v>124.069</c:v>
                </c:pt>
                <c:pt idx="54">
                  <c:v>124.492</c:v>
                </c:pt>
                <c:pt idx="55">
                  <c:v>123.76400000000002</c:v>
                </c:pt>
                <c:pt idx="56">
                  <c:v>122.66</c:v>
                </c:pt>
                <c:pt idx="57">
                  <c:v>123.65199999999999</c:v>
                </c:pt>
                <c:pt idx="58">
                  <c:v>123.733</c:v>
                </c:pt>
                <c:pt idx="59">
                  <c:v>124.66200000000001</c:v>
                </c:pt>
                <c:pt idx="60">
                  <c:v>124.812</c:v>
                </c:pt>
                <c:pt idx="61">
                  <c:v>125.581</c:v>
                </c:pt>
                <c:pt idx="62">
                  <c:v>130.37800000000001</c:v>
                </c:pt>
                <c:pt idx="63">
                  <c:v>128.56800000000001</c:v>
                </c:pt>
                <c:pt idx="64">
                  <c:v>130.511</c:v>
                </c:pt>
                <c:pt idx="65">
                  <c:v>134.02800000000022</c:v>
                </c:pt>
                <c:pt idx="66">
                  <c:v>136.804</c:v>
                </c:pt>
                <c:pt idx="67">
                  <c:v>140.23599999999999</c:v>
                </c:pt>
                <c:pt idx="68">
                  <c:v>141.75399999999999</c:v>
                </c:pt>
                <c:pt idx="69">
                  <c:v>143.685</c:v>
                </c:pt>
                <c:pt idx="70">
                  <c:v>143.053</c:v>
                </c:pt>
                <c:pt idx="71">
                  <c:v>145.57900000000001</c:v>
                </c:pt>
                <c:pt idx="72">
                  <c:v>151.977</c:v>
                </c:pt>
                <c:pt idx="73">
                  <c:v>149.19</c:v>
                </c:pt>
                <c:pt idx="74">
                  <c:v>148.685</c:v>
                </c:pt>
                <c:pt idx="75">
                  <c:v>148.90900000000002</c:v>
                </c:pt>
                <c:pt idx="76">
                  <c:v>149.48800000000023</c:v>
                </c:pt>
                <c:pt idx="77">
                  <c:v>160.167</c:v>
                </c:pt>
                <c:pt idx="78">
                  <c:v>168.25899999999999</c:v>
                </c:pt>
                <c:pt idx="79">
                  <c:v>165.00299999999999</c:v>
                </c:pt>
                <c:pt idx="80">
                  <c:v>175.11899999999997</c:v>
                </c:pt>
                <c:pt idx="81">
                  <c:v>185.93700000000001</c:v>
                </c:pt>
                <c:pt idx="82">
                  <c:v>176.47399999999999</c:v>
                </c:pt>
                <c:pt idx="83">
                  <c:v>175.726</c:v>
                </c:pt>
                <c:pt idx="84">
                  <c:v>187.05800000000022</c:v>
                </c:pt>
                <c:pt idx="85">
                  <c:v>192.56300000000002</c:v>
                </c:pt>
                <c:pt idx="86">
                  <c:v>205.48200000000023</c:v>
                </c:pt>
                <c:pt idx="87">
                  <c:v>201.97399999999999</c:v>
                </c:pt>
                <c:pt idx="88">
                  <c:v>189.5</c:v>
                </c:pt>
                <c:pt idx="89">
                  <c:v>176.47900000000001</c:v>
                </c:pt>
                <c:pt idx="90">
                  <c:v>172.89100000000022</c:v>
                </c:pt>
                <c:pt idx="91">
                  <c:v>174.63900000000001</c:v>
                </c:pt>
                <c:pt idx="92">
                  <c:v>180.87100000000001</c:v>
                </c:pt>
                <c:pt idx="93">
                  <c:v>186.33600000000001</c:v>
                </c:pt>
                <c:pt idx="94">
                  <c:v>209.26399999999998</c:v>
                </c:pt>
                <c:pt idx="95">
                  <c:v>230.345</c:v>
                </c:pt>
                <c:pt idx="96">
                  <c:v>218.82400000000001</c:v>
                </c:pt>
                <c:pt idx="97">
                  <c:v>204.59800000000001</c:v>
                </c:pt>
                <c:pt idx="98">
                  <c:v>218.58600000000001</c:v>
                </c:pt>
                <c:pt idx="99">
                  <c:v>238.62</c:v>
                </c:pt>
                <c:pt idx="100">
                  <c:v>235.56800000000001</c:v>
                </c:pt>
                <c:pt idx="101">
                  <c:v>268.51900000000001</c:v>
                </c:pt>
                <c:pt idx="102">
                  <c:v>274.12900000000002</c:v>
                </c:pt>
                <c:pt idx="103">
                  <c:v>277.25200000000001</c:v>
                </c:pt>
                <c:pt idx="104">
                  <c:v>283.173</c:v>
                </c:pt>
                <c:pt idx="105">
                  <c:v>282.66399999999999</c:v>
                </c:pt>
                <c:pt idx="106">
                  <c:v>279.58699999999936</c:v>
                </c:pt>
                <c:pt idx="107">
                  <c:v>281.01299999999969</c:v>
                </c:pt>
                <c:pt idx="108">
                  <c:v>279.83999999999969</c:v>
                </c:pt>
                <c:pt idx="109">
                  <c:v>283.35000000000002</c:v>
                </c:pt>
                <c:pt idx="110">
                  <c:v>287.15699999999993</c:v>
                </c:pt>
                <c:pt idx="111">
                  <c:v>281.10899999999964</c:v>
                </c:pt>
                <c:pt idx="112">
                  <c:v>281.959</c:v>
                </c:pt>
                <c:pt idx="113">
                  <c:v>286.51299999999969</c:v>
                </c:pt>
                <c:pt idx="114">
                  <c:v>254.096</c:v>
                </c:pt>
                <c:pt idx="115">
                  <c:v>247.011</c:v>
                </c:pt>
                <c:pt idx="116">
                  <c:v>249.11699999999999</c:v>
                </c:pt>
                <c:pt idx="117">
                  <c:v>253.32700000000023</c:v>
                </c:pt>
                <c:pt idx="118">
                  <c:v>253.81200000000001</c:v>
                </c:pt>
                <c:pt idx="119">
                  <c:v>279.7</c:v>
                </c:pt>
                <c:pt idx="120">
                  <c:v>310.82799999999969</c:v>
                </c:pt>
                <c:pt idx="121">
                  <c:v>333.11399999999969</c:v>
                </c:pt>
                <c:pt idx="122">
                  <c:v>330.8</c:v>
                </c:pt>
                <c:pt idx="123">
                  <c:v>314.64999999999998</c:v>
                </c:pt>
                <c:pt idx="124">
                  <c:v>313.673</c:v>
                </c:pt>
                <c:pt idx="125">
                  <c:v>343.03599999999949</c:v>
                </c:pt>
                <c:pt idx="126">
                  <c:v>345.685</c:v>
                </c:pt>
                <c:pt idx="127">
                  <c:v>341.78399999999937</c:v>
                </c:pt>
                <c:pt idx="128">
                  <c:v>324.64000000000038</c:v>
                </c:pt>
                <c:pt idx="129">
                  <c:v>323.27499999999969</c:v>
                </c:pt>
                <c:pt idx="130">
                  <c:v>377.05599999999993</c:v>
                </c:pt>
                <c:pt idx="131">
                  <c:v>425.63200000000001</c:v>
                </c:pt>
                <c:pt idx="132">
                  <c:v>398.07299999999969</c:v>
                </c:pt>
                <c:pt idx="133">
                  <c:v>378.78699999999918</c:v>
                </c:pt>
                <c:pt idx="134">
                  <c:v>382.8</c:v>
                </c:pt>
                <c:pt idx="135">
                  <c:v>388.904</c:v>
                </c:pt>
                <c:pt idx="136">
                  <c:v>416.69600000000003</c:v>
                </c:pt>
                <c:pt idx="137">
                  <c:v>399.14600000000002</c:v>
                </c:pt>
                <c:pt idx="138">
                  <c:v>420.85500000000002</c:v>
                </c:pt>
                <c:pt idx="139">
                  <c:v>376.13</c:v>
                </c:pt>
                <c:pt idx="140">
                  <c:v>355.46899999999937</c:v>
                </c:pt>
                <c:pt idx="141">
                  <c:v>351.69</c:v>
                </c:pt>
                <c:pt idx="142">
                  <c:v>349.95699999999937</c:v>
                </c:pt>
                <c:pt idx="143">
                  <c:v>352.24599999999964</c:v>
                </c:pt>
                <c:pt idx="144">
                  <c:v>359.28999999999957</c:v>
                </c:pt>
                <c:pt idx="145">
                  <c:v>345.12400000000002</c:v>
                </c:pt>
                <c:pt idx="146">
                  <c:v>346.60500000000002</c:v>
                </c:pt>
                <c:pt idx="147">
                  <c:v>348.92899999999918</c:v>
                </c:pt>
                <c:pt idx="148">
                  <c:v>350.78999999999957</c:v>
                </c:pt>
                <c:pt idx="149">
                  <c:v>364.303</c:v>
                </c:pt>
                <c:pt idx="150">
                  <c:v>382.08199999999937</c:v>
                </c:pt>
                <c:pt idx="151">
                  <c:v>398.9899999999995</c:v>
                </c:pt>
                <c:pt idx="152">
                  <c:v>375.73200000000003</c:v>
                </c:pt>
                <c:pt idx="153">
                  <c:v>342.447</c:v>
                </c:pt>
                <c:pt idx="154">
                  <c:v>313.87599999999969</c:v>
                </c:pt>
                <c:pt idx="155">
                  <c:v>293.399</c:v>
                </c:pt>
                <c:pt idx="156">
                  <c:v>300.16699999999969</c:v>
                </c:pt>
                <c:pt idx="157">
                  <c:v>297.99699999999916</c:v>
                </c:pt>
                <c:pt idx="158">
                  <c:v>281.72999999999956</c:v>
                </c:pt>
                <c:pt idx="159">
                  <c:v>287.49499999999949</c:v>
                </c:pt>
                <c:pt idx="160">
                  <c:v>284.67200000000008</c:v>
                </c:pt>
                <c:pt idx="161">
                  <c:v>303.47099999999949</c:v>
                </c:pt>
                <c:pt idx="162">
                  <c:v>289.49499999999949</c:v>
                </c:pt>
                <c:pt idx="163">
                  <c:v>290.08799999999957</c:v>
                </c:pt>
                <c:pt idx="164">
                  <c:v>290.54899999999969</c:v>
                </c:pt>
                <c:pt idx="165">
                  <c:v>288.44600000000003</c:v>
                </c:pt>
                <c:pt idx="166">
                  <c:v>309.98699999999923</c:v>
                </c:pt>
                <c:pt idx="167">
                  <c:v>323.27199999999937</c:v>
                </c:pt>
                <c:pt idx="168">
                  <c:v>335.98399999999918</c:v>
                </c:pt>
                <c:pt idx="169">
                  <c:v>327.40599999999949</c:v>
                </c:pt>
                <c:pt idx="170">
                  <c:v>327.57299999999969</c:v>
                </c:pt>
                <c:pt idx="171">
                  <c:v>306.67700000000002</c:v>
                </c:pt>
                <c:pt idx="172">
                  <c:v>298.69600000000003</c:v>
                </c:pt>
                <c:pt idx="173">
                  <c:v>322.03199999999919</c:v>
                </c:pt>
                <c:pt idx="174">
                  <c:v>332.26599999999956</c:v>
                </c:pt>
                <c:pt idx="175">
                  <c:v>341.22299999999956</c:v>
                </c:pt>
                <c:pt idx="176">
                  <c:v>343.68599999999969</c:v>
                </c:pt>
                <c:pt idx="177">
                  <c:v>344.15300000000002</c:v>
                </c:pt>
                <c:pt idx="178">
                  <c:v>342.74799999999999</c:v>
                </c:pt>
                <c:pt idx="179">
                  <c:v>376.06099999999969</c:v>
                </c:pt>
                <c:pt idx="180">
                  <c:v>406.88099999999969</c:v>
                </c:pt>
                <c:pt idx="181">
                  <c:v>444.54700000000008</c:v>
                </c:pt>
                <c:pt idx="182">
                  <c:v>426.959</c:v>
                </c:pt>
                <c:pt idx="183">
                  <c:v>368.39299999999969</c:v>
                </c:pt>
                <c:pt idx="184">
                  <c:v>376.45599999999956</c:v>
                </c:pt>
                <c:pt idx="185">
                  <c:v>421.577</c:v>
                </c:pt>
                <c:pt idx="186">
                  <c:v>418.46799999999956</c:v>
                </c:pt>
                <c:pt idx="187">
                  <c:v>429.06400000000002</c:v>
                </c:pt>
                <c:pt idx="188">
                  <c:v>456.49199999999917</c:v>
                </c:pt>
                <c:pt idx="189">
                  <c:v>461.084</c:v>
                </c:pt>
                <c:pt idx="190">
                  <c:v>485.68299999999999</c:v>
                </c:pt>
                <c:pt idx="191">
                  <c:v>611.70000000000005</c:v>
                </c:pt>
                <c:pt idx="192">
                  <c:v>636.50699999999949</c:v>
                </c:pt>
                <c:pt idx="193">
                  <c:v>746.23299999999949</c:v>
                </c:pt>
                <c:pt idx="194">
                  <c:v>848.84099999999899</c:v>
                </c:pt>
                <c:pt idx="195">
                  <c:v>768.40699999999947</c:v>
                </c:pt>
                <c:pt idx="196">
                  <c:v>687.17800000000091</c:v>
                </c:pt>
                <c:pt idx="197">
                  <c:v>721.85699999999872</c:v>
                </c:pt>
                <c:pt idx="198">
                  <c:v>719.88400000000001</c:v>
                </c:pt>
                <c:pt idx="199">
                  <c:v>765.86899999999946</c:v>
                </c:pt>
                <c:pt idx="200">
                  <c:v>865.899</c:v>
                </c:pt>
                <c:pt idx="201">
                  <c:v>959.45499999999947</c:v>
                </c:pt>
                <c:pt idx="202">
                  <c:v>964.69299999999998</c:v>
                </c:pt>
                <c:pt idx="203">
                  <c:v>590.11599999999999</c:v>
                </c:pt>
                <c:pt idx="204">
                  <c:v>559.53599999999949</c:v>
                </c:pt>
                <c:pt idx="205">
                  <c:v>539.99300000000005</c:v>
                </c:pt>
                <c:pt idx="206">
                  <c:v>538.27700000000004</c:v>
                </c:pt>
                <c:pt idx="207">
                  <c:v>614.57299999999998</c:v>
                </c:pt>
                <c:pt idx="208">
                  <c:v>663.57299999999998</c:v>
                </c:pt>
                <c:pt idx="209">
                  <c:v>634.82399999999996</c:v>
                </c:pt>
                <c:pt idx="210">
                  <c:v>670.16300000000001</c:v>
                </c:pt>
                <c:pt idx="211">
                  <c:v>727.24800000000005</c:v>
                </c:pt>
                <c:pt idx="212">
                  <c:v>726.76599999999996</c:v>
                </c:pt>
                <c:pt idx="213">
                  <c:v>716.13800000000003</c:v>
                </c:pt>
                <c:pt idx="214">
                  <c:v>734.53499999999997</c:v>
                </c:pt>
                <c:pt idx="215">
                  <c:v>714.57899999999995</c:v>
                </c:pt>
                <c:pt idx="216">
                  <c:v>707.32899999999938</c:v>
                </c:pt>
                <c:pt idx="217">
                  <c:v>697.32699999999897</c:v>
                </c:pt>
                <c:pt idx="218">
                  <c:v>689.19100000000003</c:v>
                </c:pt>
                <c:pt idx="219">
                  <c:v>758.37300000000005</c:v>
                </c:pt>
                <c:pt idx="220">
                  <c:v>766.80099999999948</c:v>
                </c:pt>
                <c:pt idx="221">
                  <c:v>755.02300000000002</c:v>
                </c:pt>
                <c:pt idx="222">
                  <c:v>790.65800000000002</c:v>
                </c:pt>
                <c:pt idx="223">
                  <c:v>801.21799999999996</c:v>
                </c:pt>
                <c:pt idx="224">
                  <c:v>801.9609999999991</c:v>
                </c:pt>
                <c:pt idx="225">
                  <c:v>778.33699999999897</c:v>
                </c:pt>
                <c:pt idx="226">
                  <c:v>757.73299999999949</c:v>
                </c:pt>
                <c:pt idx="227">
                  <c:v>763.404</c:v>
                </c:pt>
                <c:pt idx="228">
                  <c:v>776.41899999999998</c:v>
                </c:pt>
                <c:pt idx="229">
                  <c:v>837.55399999999997</c:v>
                </c:pt>
                <c:pt idx="230">
                  <c:v>849.97400000000005</c:v>
                </c:pt>
                <c:pt idx="231">
                  <c:v>836.4609999999991</c:v>
                </c:pt>
                <c:pt idx="232">
                  <c:v>817.66499999999996</c:v>
                </c:pt>
                <c:pt idx="233">
                  <c:v>838.18799999999999</c:v>
                </c:pt>
                <c:pt idx="234">
                  <c:v>875.51400000000001</c:v>
                </c:pt>
                <c:pt idx="235">
                  <c:v>922.32199999999898</c:v>
                </c:pt>
                <c:pt idx="236">
                  <c:v>1037.4100000000001</c:v>
                </c:pt>
                <c:pt idx="237">
                  <c:v>1018.705</c:v>
                </c:pt>
                <c:pt idx="238">
                  <c:v>1003.2950000000005</c:v>
                </c:pt>
                <c:pt idx="239">
                  <c:v>999.10799999999949</c:v>
                </c:pt>
                <c:pt idx="240">
                  <c:v>910.29100000000005</c:v>
                </c:pt>
                <c:pt idx="241">
                  <c:v>905.7840000000009</c:v>
                </c:pt>
                <c:pt idx="242">
                  <c:v>900.56899999999996</c:v>
                </c:pt>
                <c:pt idx="243">
                  <c:v>910.93</c:v>
                </c:pt>
                <c:pt idx="244">
                  <c:v>897.029</c:v>
                </c:pt>
                <c:pt idx="245">
                  <c:v>889.48</c:v>
                </c:pt>
                <c:pt idx="246">
                  <c:v>880.46899999999948</c:v>
                </c:pt>
                <c:pt idx="247">
                  <c:v>858.94599999999946</c:v>
                </c:pt>
                <c:pt idx="248">
                  <c:v>848.83099999999911</c:v>
                </c:pt>
                <c:pt idx="249">
                  <c:v>817.73099999999999</c:v>
                </c:pt>
                <c:pt idx="250">
                  <c:v>817.45499999999947</c:v>
                </c:pt>
                <c:pt idx="251">
                  <c:v>812.86300000000006</c:v>
                </c:pt>
                <c:pt idx="252">
                  <c:v>804.67400000000055</c:v>
                </c:pt>
                <c:pt idx="253">
                  <c:v>814.00300000000004</c:v>
                </c:pt>
                <c:pt idx="254">
                  <c:v>815.11900000000003</c:v>
                </c:pt>
                <c:pt idx="255">
                  <c:v>797.98099999999999</c:v>
                </c:pt>
                <c:pt idx="256">
                  <c:v>799.16699999999946</c:v>
                </c:pt>
                <c:pt idx="257">
                  <c:v>777.34799999999859</c:v>
                </c:pt>
                <c:pt idx="258">
                  <c:v>748.37900000000002</c:v>
                </c:pt>
                <c:pt idx="259">
                  <c:v>713.27300000000105</c:v>
                </c:pt>
                <c:pt idx="260">
                  <c:v>747.43899999999996</c:v>
                </c:pt>
                <c:pt idx="261">
                  <c:v>753.01699999999948</c:v>
                </c:pt>
                <c:pt idx="262">
                  <c:v>758.77900000000091</c:v>
                </c:pt>
                <c:pt idx="263">
                  <c:v>753.73099999999999</c:v>
                </c:pt>
                <c:pt idx="264">
                  <c:v>745.04499999999996</c:v>
                </c:pt>
                <c:pt idx="265">
                  <c:v>757.48299999999949</c:v>
                </c:pt>
                <c:pt idx="266">
                  <c:v>775.26400000000001</c:v>
                </c:pt>
                <c:pt idx="267">
                  <c:v>769.42199999999946</c:v>
                </c:pt>
                <c:pt idx="268">
                  <c:v>780.29600000000005</c:v>
                </c:pt>
                <c:pt idx="269">
                  <c:v>790.28000000000054</c:v>
                </c:pt>
                <c:pt idx="270">
                  <c:v>818.47400000000005</c:v>
                </c:pt>
                <c:pt idx="271">
                  <c:v>817.39599999999996</c:v>
                </c:pt>
                <c:pt idx="272">
                  <c:v>825.75400000000002</c:v>
                </c:pt>
                <c:pt idx="273">
                  <c:v>858.98699999999997</c:v>
                </c:pt>
                <c:pt idx="274">
                  <c:v>845.471</c:v>
                </c:pt>
                <c:pt idx="275">
                  <c:v>849.93499999999949</c:v>
                </c:pt>
                <c:pt idx="276">
                  <c:v>868.83900000000006</c:v>
                </c:pt>
                <c:pt idx="277">
                  <c:v>880.29200000000003</c:v>
                </c:pt>
                <c:pt idx="278">
                  <c:v>905.16699999999946</c:v>
                </c:pt>
                <c:pt idx="279">
                  <c:v>925.78599999999994</c:v>
                </c:pt>
                <c:pt idx="280">
                  <c:v>937.90699999999947</c:v>
                </c:pt>
                <c:pt idx="281">
                  <c:v>941.45399999999938</c:v>
                </c:pt>
                <c:pt idx="282">
                  <c:v>933.78099999999995</c:v>
                </c:pt>
                <c:pt idx="283">
                  <c:v>937.23599999999999</c:v>
                </c:pt>
                <c:pt idx="284">
                  <c:v>942.83499999999947</c:v>
                </c:pt>
                <c:pt idx="285">
                  <c:v>918.99900000000002</c:v>
                </c:pt>
                <c:pt idx="286">
                  <c:v>907.38800000000003</c:v>
                </c:pt>
                <c:pt idx="287">
                  <c:v>894.80199999999911</c:v>
                </c:pt>
                <c:pt idx="288">
                  <c:v>904.37400000000002</c:v>
                </c:pt>
                <c:pt idx="289">
                  <c:v>919.13199999999949</c:v>
                </c:pt>
                <c:pt idx="290">
                  <c:v>917.18900000000053</c:v>
                </c:pt>
                <c:pt idx="291">
                  <c:v>910.23</c:v>
                </c:pt>
                <c:pt idx="292">
                  <c:v>911.59500000000003</c:v>
                </c:pt>
                <c:pt idx="293">
                  <c:v>906.83799999999871</c:v>
                </c:pt>
                <c:pt idx="294">
                  <c:v>910.60500000000002</c:v>
                </c:pt>
                <c:pt idx="295">
                  <c:v>922.82299999999884</c:v>
                </c:pt>
                <c:pt idx="296">
                  <c:v>926.39199999999948</c:v>
                </c:pt>
                <c:pt idx="297">
                  <c:v>915.0619999999991</c:v>
                </c:pt>
                <c:pt idx="298">
                  <c:v>881.44199999999898</c:v>
                </c:pt>
                <c:pt idx="299">
                  <c:v>843.48299999999949</c:v>
                </c:pt>
                <c:pt idx="300">
                  <c:v>833.90300000000002</c:v>
                </c:pt>
                <c:pt idx="301">
                  <c:v>828.86199999999872</c:v>
                </c:pt>
                <c:pt idx="302">
                  <c:v>819.20699999999999</c:v>
                </c:pt>
                <c:pt idx="303">
                  <c:v>826.024</c:v>
                </c:pt>
                <c:pt idx="304">
                  <c:v>831.56</c:v>
                </c:pt>
                <c:pt idx="305">
                  <c:v>818.42599999999948</c:v>
                </c:pt>
                <c:pt idx="306">
                  <c:v>792.54899999999998</c:v>
                </c:pt>
                <c:pt idx="307">
                  <c:v>776.44999999999948</c:v>
                </c:pt>
                <c:pt idx="308">
                  <c:v>760.87099999999998</c:v>
                </c:pt>
                <c:pt idx="309">
                  <c:v>761.19299999999998</c:v>
                </c:pt>
                <c:pt idx="310">
                  <c:v>759.55199999999911</c:v>
                </c:pt>
                <c:pt idx="311">
                  <c:v>755.91099999999949</c:v>
                </c:pt>
                <c:pt idx="312">
                  <c:v>732.55099999999948</c:v>
                </c:pt>
                <c:pt idx="313">
                  <c:v>718.154</c:v>
                </c:pt>
                <c:pt idx="314">
                  <c:v>711.92099999999948</c:v>
                </c:pt>
                <c:pt idx="315">
                  <c:v>689.67800000000091</c:v>
                </c:pt>
                <c:pt idx="316">
                  <c:v>683.48099999999999</c:v>
                </c:pt>
                <c:pt idx="317">
                  <c:v>680.12900000000002</c:v>
                </c:pt>
                <c:pt idx="318">
                  <c:v>665.53599999999949</c:v>
                </c:pt>
                <c:pt idx="319">
                  <c:v>675.38599999999997</c:v>
                </c:pt>
                <c:pt idx="320">
                  <c:v>677.48699999999997</c:v>
                </c:pt>
                <c:pt idx="321">
                  <c:v>673.58199999999999</c:v>
                </c:pt>
                <c:pt idx="322">
                  <c:v>683.91800000000001</c:v>
                </c:pt>
                <c:pt idx="323">
                  <c:v>677.072</c:v>
                </c:pt>
                <c:pt idx="324">
                  <c:v>682.24199999999996</c:v>
                </c:pt>
                <c:pt idx="325">
                  <c:v>756.43299999999897</c:v>
                </c:pt>
                <c:pt idx="326">
                  <c:v>761.22699999999998</c:v>
                </c:pt>
                <c:pt idx="327">
                  <c:v>804.89699999999948</c:v>
                </c:pt>
                <c:pt idx="328">
                  <c:v>848.30699999999911</c:v>
                </c:pt>
                <c:pt idx="329">
                  <c:v>850.3429999999986</c:v>
                </c:pt>
                <c:pt idx="330">
                  <c:v>865.94299999999896</c:v>
                </c:pt>
                <c:pt idx="331">
                  <c:v>860.17800000000091</c:v>
                </c:pt>
                <c:pt idx="332">
                  <c:v>877.14699999999948</c:v>
                </c:pt>
                <c:pt idx="333">
                  <c:v>873.62699999999938</c:v>
                </c:pt>
                <c:pt idx="334">
                  <c:v>873.82899999999938</c:v>
                </c:pt>
                <c:pt idx="335">
                  <c:v>880.19799999999998</c:v>
                </c:pt>
                <c:pt idx="336">
                  <c:v>898.74</c:v>
                </c:pt>
                <c:pt idx="337">
                  <c:v>892.25199999999938</c:v>
                </c:pt>
                <c:pt idx="338">
                  <c:v>886.029</c:v>
                </c:pt>
                <c:pt idx="339">
                  <c:v>952.58199999999999</c:v>
                </c:pt>
                <c:pt idx="340">
                  <c:v>956.71</c:v>
                </c:pt>
                <c:pt idx="341">
                  <c:v>970.25099999999998</c:v>
                </c:pt>
                <c:pt idx="342">
                  <c:v>983.19900000000052</c:v>
                </c:pt>
                <c:pt idx="343">
                  <c:v>1018.396</c:v>
                </c:pt>
                <c:pt idx="344">
                  <c:v>1028.502</c:v>
                </c:pt>
                <c:pt idx="345">
                  <c:v>988.32999999999947</c:v>
                </c:pt>
                <c:pt idx="346">
                  <c:v>973.44299999999896</c:v>
                </c:pt>
                <c:pt idx="347">
                  <c:v>987.51599999999996</c:v>
                </c:pt>
                <c:pt idx="348">
                  <c:v>970.654</c:v>
                </c:pt>
                <c:pt idx="349">
                  <c:v>975.89400000000001</c:v>
                </c:pt>
                <c:pt idx="350">
                  <c:v>952.149</c:v>
                </c:pt>
                <c:pt idx="351">
                  <c:v>918.01199999999949</c:v>
                </c:pt>
                <c:pt idx="352">
                  <c:v>915.23800000000051</c:v>
                </c:pt>
                <c:pt idx="353">
                  <c:v>926.60500000000002</c:v>
                </c:pt>
                <c:pt idx="354">
                  <c:v>909.423</c:v>
                </c:pt>
                <c:pt idx="355">
                  <c:v>924.34499999999946</c:v>
                </c:pt>
                <c:pt idx="356">
                  <c:v>939.13499999999999</c:v>
                </c:pt>
                <c:pt idx="357">
                  <c:v>946.35299999999836</c:v>
                </c:pt>
                <c:pt idx="358">
                  <c:v>944.24199999999996</c:v>
                </c:pt>
                <c:pt idx="359">
                  <c:v>929.90099999999939</c:v>
                </c:pt>
                <c:pt idx="360">
                  <c:v>931.69299999999998</c:v>
                </c:pt>
                <c:pt idx="361">
                  <c:v>957.85199999999872</c:v>
                </c:pt>
                <c:pt idx="362">
                  <c:v>970.00400000000002</c:v>
                </c:pt>
                <c:pt idx="363">
                  <c:v>974.43299999999897</c:v>
                </c:pt>
                <c:pt idx="364">
                  <c:v>982.72900000000004</c:v>
                </c:pt>
                <c:pt idx="365">
                  <c:v>997.66499999999996</c:v>
                </c:pt>
                <c:pt idx="366">
                  <c:v>1062.08</c:v>
                </c:pt>
                <c:pt idx="367">
                  <c:v>1062.828</c:v>
                </c:pt>
                <c:pt idx="368">
                  <c:v>1036.057</c:v>
                </c:pt>
                <c:pt idx="369">
                  <c:v>1036.057</c:v>
                </c:pt>
                <c:pt idx="370">
                  <c:v>1034.5250000000001</c:v>
                </c:pt>
                <c:pt idx="371">
                  <c:v>1072.1429999999998</c:v>
                </c:pt>
                <c:pt idx="372">
                  <c:v>1074.085</c:v>
                </c:pt>
                <c:pt idx="373">
                  <c:v>1046.5819999999999</c:v>
                </c:pt>
                <c:pt idx="374">
                  <c:v>1031.127</c:v>
                </c:pt>
                <c:pt idx="375">
                  <c:v>1032.4760000000001</c:v>
                </c:pt>
                <c:pt idx="376">
                  <c:v>1034.4060000000011</c:v>
                </c:pt>
                <c:pt idx="377">
                  <c:v>1055.9860000000001</c:v>
                </c:pt>
                <c:pt idx="378">
                  <c:v>1066.1339999999998</c:v>
                </c:pt>
                <c:pt idx="379">
                  <c:v>1052.76</c:v>
                </c:pt>
                <c:pt idx="380">
                  <c:v>1023.655</c:v>
                </c:pt>
                <c:pt idx="381">
                  <c:v>981.03599999999949</c:v>
                </c:pt>
                <c:pt idx="382">
                  <c:v>940.18100000000004</c:v>
                </c:pt>
                <c:pt idx="383">
                  <c:v>928.16099999999949</c:v>
                </c:pt>
                <c:pt idx="384">
                  <c:v>927.03399999999999</c:v>
                </c:pt>
                <c:pt idx="385">
                  <c:v>903.56</c:v>
                </c:pt>
                <c:pt idx="386">
                  <c:v>884.7840000000009</c:v>
                </c:pt>
                <c:pt idx="387">
                  <c:v>858.49300000000005</c:v>
                </c:pt>
                <c:pt idx="388">
                  <c:v>852.39599999999996</c:v>
                </c:pt>
                <c:pt idx="389">
                  <c:v>872.9369999999991</c:v>
                </c:pt>
                <c:pt idx="390">
                  <c:v>889.60699999999997</c:v>
                </c:pt>
                <c:pt idx="391">
                  <c:v>904.97299999999996</c:v>
                </c:pt>
                <c:pt idx="392">
                  <c:v>906.68299999999999</c:v>
                </c:pt>
                <c:pt idx="393">
                  <c:v>869.40099999999939</c:v>
                </c:pt>
                <c:pt idx="394">
                  <c:v>826.81999999999948</c:v>
                </c:pt>
                <c:pt idx="395">
                  <c:v>811.49300000000005</c:v>
                </c:pt>
                <c:pt idx="396">
                  <c:v>823.64800000000002</c:v>
                </c:pt>
                <c:pt idx="397">
                  <c:v>810.91199999999947</c:v>
                </c:pt>
                <c:pt idx="398">
                  <c:v>817.56299999999896</c:v>
                </c:pt>
                <c:pt idx="399">
                  <c:v>830.44099999999946</c:v>
                </c:pt>
                <c:pt idx="400">
                  <c:v>832.904</c:v>
                </c:pt>
                <c:pt idx="401">
                  <c:v>842.21900000000005</c:v>
                </c:pt>
                <c:pt idx="402">
                  <c:v>863.93499999999949</c:v>
                </c:pt>
                <c:pt idx="403">
                  <c:v>896.40499999999997</c:v>
                </c:pt>
                <c:pt idx="404">
                  <c:v>894.22699999999998</c:v>
                </c:pt>
                <c:pt idx="405">
                  <c:v>907.11</c:v>
                </c:pt>
                <c:pt idx="406">
                  <c:v>905.23</c:v>
                </c:pt>
                <c:pt idx="407">
                  <c:v>895</c:v>
                </c:pt>
                <c:pt idx="408">
                  <c:v>907.596</c:v>
                </c:pt>
                <c:pt idx="409">
                  <c:v>910.01699999999948</c:v>
                </c:pt>
                <c:pt idx="410">
                  <c:v>929.16199999999947</c:v>
                </c:pt>
                <c:pt idx="411">
                  <c:v>946.41399999999999</c:v>
                </c:pt>
                <c:pt idx="412">
                  <c:v>948.77000000000055</c:v>
                </c:pt>
                <c:pt idx="413">
                  <c:v>940.69</c:v>
                </c:pt>
                <c:pt idx="414">
                  <c:v>948.49199999999996</c:v>
                </c:pt>
                <c:pt idx="415">
                  <c:v>958.26699999999948</c:v>
                </c:pt>
                <c:pt idx="416">
                  <c:v>967.13599999999997</c:v>
                </c:pt>
                <c:pt idx="417">
                  <c:v>987.71</c:v>
                </c:pt>
                <c:pt idx="418">
                  <c:v>1034.8029999999999</c:v>
                </c:pt>
                <c:pt idx="419">
                  <c:v>1032.529</c:v>
                </c:pt>
                <c:pt idx="420">
                  <c:v>1036.6569999999999</c:v>
                </c:pt>
                <c:pt idx="421">
                  <c:v>1053.7260000000001</c:v>
                </c:pt>
                <c:pt idx="422">
                  <c:v>1052.761</c:v>
                </c:pt>
                <c:pt idx="423">
                  <c:v>983.21199999999999</c:v>
                </c:pt>
                <c:pt idx="424">
                  <c:v>1006.7</c:v>
                </c:pt>
                <c:pt idx="425">
                  <c:v>990.02499999999998</c:v>
                </c:pt>
                <c:pt idx="426">
                  <c:v>978.4</c:v>
                </c:pt>
                <c:pt idx="427">
                  <c:v>961.76900000000001</c:v>
                </c:pt>
                <c:pt idx="428">
                  <c:v>961.72500000000002</c:v>
                </c:pt>
                <c:pt idx="429">
                  <c:v>983.93</c:v>
                </c:pt>
                <c:pt idx="430">
                  <c:v>986.15099999999939</c:v>
                </c:pt>
                <c:pt idx="431">
                  <c:v>980.95499999999947</c:v>
                </c:pt>
                <c:pt idx="432">
                  <c:v>988.87699999999938</c:v>
                </c:pt>
                <c:pt idx="433">
                  <c:v>976.72500000000002</c:v>
                </c:pt>
                <c:pt idx="434">
                  <c:v>982.63900000000001</c:v>
                </c:pt>
                <c:pt idx="435">
                  <c:v>995.07500000000005</c:v>
                </c:pt>
                <c:pt idx="436">
                  <c:v>1003.129</c:v>
                </c:pt>
                <c:pt idx="437">
                  <c:v>1023.383</c:v>
                </c:pt>
                <c:pt idx="438">
                  <c:v>1018.165</c:v>
                </c:pt>
                <c:pt idx="439">
                  <c:v>1004.833</c:v>
                </c:pt>
                <c:pt idx="440">
                  <c:v>997.31399999999996</c:v>
                </c:pt>
                <c:pt idx="441">
                  <c:v>1023.475</c:v>
                </c:pt>
                <c:pt idx="442">
                  <c:v>1023.4059999999994</c:v>
                </c:pt>
                <c:pt idx="443">
                  <c:v>1050.607</c:v>
                </c:pt>
                <c:pt idx="444">
                  <c:v>1061.8939999999998</c:v>
                </c:pt>
                <c:pt idx="445">
                  <c:v>1086.9549999999999</c:v>
                </c:pt>
                <c:pt idx="446">
                  <c:v>1137.6979999999999</c:v>
                </c:pt>
                <c:pt idx="447">
                  <c:v>1221.9180000000001</c:v>
                </c:pt>
                <c:pt idx="448">
                  <c:v>1297.489</c:v>
                </c:pt>
                <c:pt idx="449">
                  <c:v>1302.1609999999998</c:v>
                </c:pt>
                <c:pt idx="450">
                  <c:v>1330.8909999999998</c:v>
                </c:pt>
                <c:pt idx="451">
                  <c:v>1421.0539999999999</c:v>
                </c:pt>
                <c:pt idx="452">
                  <c:v>1358.2750000000001</c:v>
                </c:pt>
                <c:pt idx="453">
                  <c:v>1358.049</c:v>
                </c:pt>
                <c:pt idx="454">
                  <c:v>1435.75</c:v>
                </c:pt>
                <c:pt idx="455">
                  <c:v>1432.847</c:v>
                </c:pt>
                <c:pt idx="456">
                  <c:v>1400.498</c:v>
                </c:pt>
                <c:pt idx="457">
                  <c:v>1350.3819999999998</c:v>
                </c:pt>
                <c:pt idx="458">
                  <c:v>1312.2170000000001</c:v>
                </c:pt>
                <c:pt idx="459">
                  <c:v>1339.53</c:v>
                </c:pt>
                <c:pt idx="460">
                  <c:v>1285.0250000000001</c:v>
                </c:pt>
                <c:pt idx="461">
                  <c:v>1389.1959999999999</c:v>
                </c:pt>
                <c:pt idx="462">
                  <c:v>1349.758</c:v>
                </c:pt>
                <c:pt idx="463">
                  <c:v>1457.1559999999999</c:v>
                </c:pt>
                <c:pt idx="464">
                  <c:v>1372.212</c:v>
                </c:pt>
                <c:pt idx="465">
                  <c:v>1352.5529999999999</c:v>
                </c:pt>
                <c:pt idx="466">
                  <c:v>1252.6189999999999</c:v>
                </c:pt>
                <c:pt idx="467">
                  <c:v>1241.9760000000001</c:v>
                </c:pt>
                <c:pt idx="468">
                  <c:v>1231.2570000000001</c:v>
                </c:pt>
                <c:pt idx="469">
                  <c:v>1273.9949999999999</c:v>
                </c:pt>
                <c:pt idx="470">
                  <c:v>1313.4490000000001</c:v>
                </c:pt>
                <c:pt idx="471">
                  <c:v>1320.4090000000001</c:v>
                </c:pt>
                <c:pt idx="472">
                  <c:v>1345.2</c:v>
                </c:pt>
                <c:pt idx="473">
                  <c:v>1413.5909999999999</c:v>
                </c:pt>
                <c:pt idx="474">
                  <c:v>1480.1419999999998</c:v>
                </c:pt>
                <c:pt idx="475">
                  <c:v>1422.3339999999998</c:v>
                </c:pt>
                <c:pt idx="476">
                  <c:v>1439.5609999999999</c:v>
                </c:pt>
                <c:pt idx="477">
                  <c:v>1441.29</c:v>
                </c:pt>
                <c:pt idx="478">
                  <c:v>1441.452</c:v>
                </c:pt>
                <c:pt idx="479">
                  <c:v>1420.431</c:v>
                </c:pt>
                <c:pt idx="480">
                  <c:v>1454.1909999999998</c:v>
                </c:pt>
                <c:pt idx="481">
                  <c:v>1452.1699999999998</c:v>
                </c:pt>
                <c:pt idx="482">
                  <c:v>1374.932</c:v>
                </c:pt>
                <c:pt idx="483">
                  <c:v>1395.932</c:v>
                </c:pt>
                <c:pt idx="484">
                  <c:v>1399.2619999999999</c:v>
                </c:pt>
                <c:pt idx="485">
                  <c:v>1490.4749999999999</c:v>
                </c:pt>
                <c:pt idx="486">
                  <c:v>1521.2339999999999</c:v>
                </c:pt>
                <c:pt idx="487">
                  <c:v>1561.0550000000001</c:v>
                </c:pt>
                <c:pt idx="488">
                  <c:v>1590.1789999999999</c:v>
                </c:pt>
                <c:pt idx="489">
                  <c:v>1606.2660000000001</c:v>
                </c:pt>
                <c:pt idx="490">
                  <c:v>1769.175</c:v>
                </c:pt>
                <c:pt idx="491">
                  <c:v>2073.0879999999997</c:v>
                </c:pt>
                <c:pt idx="492">
                  <c:v>1925.5</c:v>
                </c:pt>
                <c:pt idx="493">
                  <c:v>2025.441</c:v>
                </c:pt>
                <c:pt idx="494">
                  <c:v>1932.7929999999999</c:v>
                </c:pt>
                <c:pt idx="495">
                  <c:v>1926.6669999999999</c:v>
                </c:pt>
                <c:pt idx="496">
                  <c:v>1976.4870000000001</c:v>
                </c:pt>
                <c:pt idx="497">
                  <c:v>2185.5360000000001</c:v>
                </c:pt>
                <c:pt idx="498">
                  <c:v>2108.3330000000042</c:v>
                </c:pt>
                <c:pt idx="499">
                  <c:v>2036.5</c:v>
                </c:pt>
                <c:pt idx="500">
                  <c:v>2058.8609999999999</c:v>
                </c:pt>
                <c:pt idx="501">
                  <c:v>1952.3619999999999</c:v>
                </c:pt>
                <c:pt idx="502">
                  <c:v>1853.046</c:v>
                </c:pt>
                <c:pt idx="503">
                  <c:v>1943.5550000000001</c:v>
                </c:pt>
                <c:pt idx="504">
                  <c:v>1929.1669999999999</c:v>
                </c:pt>
                <c:pt idx="505">
                  <c:v>2178.4749999999999</c:v>
                </c:pt>
                <c:pt idx="506">
                  <c:v>2140.884</c:v>
                </c:pt>
                <c:pt idx="507">
                  <c:v>2177.5230000000001</c:v>
                </c:pt>
                <c:pt idx="508">
                  <c:v>2337.2279999999987</c:v>
                </c:pt>
                <c:pt idx="509">
                  <c:v>2325</c:v>
                </c:pt>
                <c:pt idx="510">
                  <c:v>2322.1950000000002</c:v>
                </c:pt>
                <c:pt idx="511">
                  <c:v>2364.0700000000002</c:v>
                </c:pt>
                <c:pt idx="512">
                  <c:v>2428.7579999999998</c:v>
                </c:pt>
                <c:pt idx="513">
                  <c:v>2475</c:v>
                </c:pt>
                <c:pt idx="514">
                  <c:v>2477.4960000000001</c:v>
                </c:pt>
                <c:pt idx="515">
                  <c:v>2372.7629999999958</c:v>
                </c:pt>
                <c:pt idx="516">
                  <c:v>2027.8050000000001</c:v>
                </c:pt>
                <c:pt idx="517">
                  <c:v>1640.9460000000001</c:v>
                </c:pt>
                <c:pt idx="518">
                  <c:v>1635.039</c:v>
                </c:pt>
                <c:pt idx="519">
                  <c:v>1658.375</c:v>
                </c:pt>
                <c:pt idx="520">
                  <c:v>1699.444</c:v>
                </c:pt>
                <c:pt idx="521">
                  <c:v>1709.9690000000001</c:v>
                </c:pt>
                <c:pt idx="522">
                  <c:v>1721.77</c:v>
                </c:pt>
                <c:pt idx="523">
                  <c:v>1712.499</c:v>
                </c:pt>
                <c:pt idx="524">
                  <c:v>1720.2660000000001</c:v>
                </c:pt>
                <c:pt idx="525">
                  <c:v>1723.075</c:v>
                </c:pt>
                <c:pt idx="526">
                  <c:v>1735.422</c:v>
                </c:pt>
                <c:pt idx="527">
                  <c:v>1690.5529999999999</c:v>
                </c:pt>
                <c:pt idx="528">
                  <c:v>1672.9070000000011</c:v>
                </c:pt>
                <c:pt idx="529">
                  <c:v>1675.4360000000001</c:v>
                </c:pt>
                <c:pt idx="530">
                  <c:v>1778.24</c:v>
                </c:pt>
                <c:pt idx="531">
                  <c:v>1771.4770000000001</c:v>
                </c:pt>
                <c:pt idx="532">
                  <c:v>1739.6</c:v>
                </c:pt>
                <c:pt idx="533">
                  <c:v>1744.508</c:v>
                </c:pt>
                <c:pt idx="534">
                  <c:v>1801.8869999999999</c:v>
                </c:pt>
                <c:pt idx="535">
                  <c:v>1847.0819999999999</c:v>
                </c:pt>
                <c:pt idx="536">
                  <c:v>1905.77</c:v>
                </c:pt>
                <c:pt idx="537">
                  <c:v>1978.431</c:v>
                </c:pt>
                <c:pt idx="538">
                  <c:v>2021.44</c:v>
                </c:pt>
                <c:pt idx="539">
                  <c:v>2121.239</c:v>
                </c:pt>
                <c:pt idx="540">
                  <c:v>2224.8750000000036</c:v>
                </c:pt>
                <c:pt idx="541">
                  <c:v>2297.2429999999958</c:v>
                </c:pt>
                <c:pt idx="542">
                  <c:v>2250</c:v>
                </c:pt>
                <c:pt idx="543">
                  <c:v>2189.2809999999959</c:v>
                </c:pt>
                <c:pt idx="544">
                  <c:v>2226.6210000000001</c:v>
                </c:pt>
                <c:pt idx="545">
                  <c:v>2261.11</c:v>
                </c:pt>
                <c:pt idx="546">
                  <c:v>2291.48</c:v>
                </c:pt>
                <c:pt idx="547">
                  <c:v>2330.5700000000002</c:v>
                </c:pt>
                <c:pt idx="548">
                  <c:v>2499.75</c:v>
                </c:pt>
                <c:pt idx="549">
                  <c:v>2562.636</c:v>
                </c:pt>
                <c:pt idx="550">
                  <c:v>2667.721</c:v>
                </c:pt>
                <c:pt idx="551">
                  <c:v>2824.2439999999997</c:v>
                </c:pt>
                <c:pt idx="552">
                  <c:v>3399.634</c:v>
                </c:pt>
                <c:pt idx="553">
                  <c:v>3600.0549999999998</c:v>
                </c:pt>
                <c:pt idx="554">
                  <c:v>3600.0549999999998</c:v>
                </c:pt>
              </c:numCache>
            </c:numRef>
          </c:val>
          <c:smooth val="0"/>
        </c:ser>
        <c:ser>
          <c:idx val="1"/>
          <c:order val="1"/>
          <c:tx>
            <c:v>Ireland</c:v>
          </c:tx>
          <c:spPr>
            <a:ln>
              <a:solidFill>
                <a:schemeClr val="accent1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CDS!$Q$2500:$Q$3200</c:f>
              <c:numCache>
                <c:formatCode>dd/mm/yy</c:formatCode>
                <c:ptCount val="701"/>
                <c:pt idx="0">
                  <c:v>40023</c:v>
                </c:pt>
                <c:pt idx="1">
                  <c:v>40024</c:v>
                </c:pt>
                <c:pt idx="2">
                  <c:v>40025</c:v>
                </c:pt>
                <c:pt idx="3">
                  <c:v>40028</c:v>
                </c:pt>
                <c:pt idx="4">
                  <c:v>40029</c:v>
                </c:pt>
                <c:pt idx="5">
                  <c:v>40030</c:v>
                </c:pt>
                <c:pt idx="6">
                  <c:v>40031</c:v>
                </c:pt>
                <c:pt idx="7">
                  <c:v>40032</c:v>
                </c:pt>
                <c:pt idx="8">
                  <c:v>40035</c:v>
                </c:pt>
                <c:pt idx="9">
                  <c:v>40036</c:v>
                </c:pt>
                <c:pt idx="10">
                  <c:v>40037</c:v>
                </c:pt>
                <c:pt idx="11">
                  <c:v>40038</c:v>
                </c:pt>
                <c:pt idx="12">
                  <c:v>40039</c:v>
                </c:pt>
                <c:pt idx="13">
                  <c:v>40042</c:v>
                </c:pt>
                <c:pt idx="14">
                  <c:v>40043</c:v>
                </c:pt>
                <c:pt idx="15">
                  <c:v>40044</c:v>
                </c:pt>
                <c:pt idx="16">
                  <c:v>40045</c:v>
                </c:pt>
                <c:pt idx="17">
                  <c:v>40046</c:v>
                </c:pt>
                <c:pt idx="18">
                  <c:v>40049</c:v>
                </c:pt>
                <c:pt idx="19">
                  <c:v>40050</c:v>
                </c:pt>
                <c:pt idx="20">
                  <c:v>40051</c:v>
                </c:pt>
                <c:pt idx="21">
                  <c:v>40052</c:v>
                </c:pt>
                <c:pt idx="22">
                  <c:v>40053</c:v>
                </c:pt>
                <c:pt idx="23">
                  <c:v>40056</c:v>
                </c:pt>
                <c:pt idx="24">
                  <c:v>40057</c:v>
                </c:pt>
                <c:pt idx="25">
                  <c:v>40058</c:v>
                </c:pt>
                <c:pt idx="26">
                  <c:v>40059</c:v>
                </c:pt>
                <c:pt idx="27">
                  <c:v>40060</c:v>
                </c:pt>
                <c:pt idx="28">
                  <c:v>40063</c:v>
                </c:pt>
                <c:pt idx="29">
                  <c:v>40064</c:v>
                </c:pt>
                <c:pt idx="30">
                  <c:v>40065</c:v>
                </c:pt>
                <c:pt idx="31">
                  <c:v>40066</c:v>
                </c:pt>
                <c:pt idx="32">
                  <c:v>40067</c:v>
                </c:pt>
                <c:pt idx="33">
                  <c:v>40070</c:v>
                </c:pt>
                <c:pt idx="34">
                  <c:v>40071</c:v>
                </c:pt>
                <c:pt idx="35">
                  <c:v>40072</c:v>
                </c:pt>
                <c:pt idx="36">
                  <c:v>40073</c:v>
                </c:pt>
                <c:pt idx="37">
                  <c:v>40074</c:v>
                </c:pt>
                <c:pt idx="38">
                  <c:v>40077</c:v>
                </c:pt>
                <c:pt idx="39">
                  <c:v>40078</c:v>
                </c:pt>
                <c:pt idx="40">
                  <c:v>40079</c:v>
                </c:pt>
                <c:pt idx="41">
                  <c:v>40080</c:v>
                </c:pt>
                <c:pt idx="42">
                  <c:v>40081</c:v>
                </c:pt>
                <c:pt idx="43">
                  <c:v>40084</c:v>
                </c:pt>
                <c:pt idx="44">
                  <c:v>40085</c:v>
                </c:pt>
                <c:pt idx="45">
                  <c:v>40086</c:v>
                </c:pt>
                <c:pt idx="46">
                  <c:v>40087</c:v>
                </c:pt>
                <c:pt idx="47">
                  <c:v>40088</c:v>
                </c:pt>
                <c:pt idx="48">
                  <c:v>40091</c:v>
                </c:pt>
                <c:pt idx="49">
                  <c:v>40092</c:v>
                </c:pt>
                <c:pt idx="50">
                  <c:v>40093</c:v>
                </c:pt>
                <c:pt idx="51">
                  <c:v>40094</c:v>
                </c:pt>
                <c:pt idx="52">
                  <c:v>40095</c:v>
                </c:pt>
                <c:pt idx="53">
                  <c:v>40098</c:v>
                </c:pt>
                <c:pt idx="54">
                  <c:v>40099</c:v>
                </c:pt>
                <c:pt idx="55">
                  <c:v>40100</c:v>
                </c:pt>
                <c:pt idx="56">
                  <c:v>40101</c:v>
                </c:pt>
                <c:pt idx="57">
                  <c:v>40102</c:v>
                </c:pt>
                <c:pt idx="58">
                  <c:v>40105</c:v>
                </c:pt>
                <c:pt idx="59">
                  <c:v>40106</c:v>
                </c:pt>
                <c:pt idx="60">
                  <c:v>40107</c:v>
                </c:pt>
                <c:pt idx="61">
                  <c:v>40108</c:v>
                </c:pt>
                <c:pt idx="62">
                  <c:v>40109</c:v>
                </c:pt>
                <c:pt idx="63">
                  <c:v>40112</c:v>
                </c:pt>
                <c:pt idx="64">
                  <c:v>40113</c:v>
                </c:pt>
                <c:pt idx="65">
                  <c:v>40114</c:v>
                </c:pt>
                <c:pt idx="66">
                  <c:v>40115</c:v>
                </c:pt>
                <c:pt idx="67">
                  <c:v>40116</c:v>
                </c:pt>
                <c:pt idx="68">
                  <c:v>40119</c:v>
                </c:pt>
                <c:pt idx="69">
                  <c:v>40120</c:v>
                </c:pt>
                <c:pt idx="70">
                  <c:v>40121</c:v>
                </c:pt>
                <c:pt idx="71">
                  <c:v>40122</c:v>
                </c:pt>
                <c:pt idx="72">
                  <c:v>40123</c:v>
                </c:pt>
                <c:pt idx="73">
                  <c:v>40126</c:v>
                </c:pt>
                <c:pt idx="74">
                  <c:v>40127</c:v>
                </c:pt>
                <c:pt idx="75">
                  <c:v>40128</c:v>
                </c:pt>
                <c:pt idx="76">
                  <c:v>40129</c:v>
                </c:pt>
                <c:pt idx="77">
                  <c:v>40130</c:v>
                </c:pt>
                <c:pt idx="78">
                  <c:v>40133</c:v>
                </c:pt>
                <c:pt idx="79">
                  <c:v>40134</c:v>
                </c:pt>
                <c:pt idx="80">
                  <c:v>40135</c:v>
                </c:pt>
                <c:pt idx="81">
                  <c:v>40136</c:v>
                </c:pt>
                <c:pt idx="82">
                  <c:v>40137</c:v>
                </c:pt>
                <c:pt idx="83">
                  <c:v>40140</c:v>
                </c:pt>
                <c:pt idx="84">
                  <c:v>40141</c:v>
                </c:pt>
                <c:pt idx="85">
                  <c:v>40142</c:v>
                </c:pt>
                <c:pt idx="86">
                  <c:v>40143</c:v>
                </c:pt>
                <c:pt idx="87">
                  <c:v>40144</c:v>
                </c:pt>
                <c:pt idx="88">
                  <c:v>40147</c:v>
                </c:pt>
                <c:pt idx="89">
                  <c:v>40148</c:v>
                </c:pt>
                <c:pt idx="90">
                  <c:v>40149</c:v>
                </c:pt>
                <c:pt idx="91">
                  <c:v>40150</c:v>
                </c:pt>
                <c:pt idx="92">
                  <c:v>40151</c:v>
                </c:pt>
                <c:pt idx="93">
                  <c:v>40154</c:v>
                </c:pt>
                <c:pt idx="94">
                  <c:v>40155</c:v>
                </c:pt>
                <c:pt idx="95">
                  <c:v>40156</c:v>
                </c:pt>
                <c:pt idx="96">
                  <c:v>40157</c:v>
                </c:pt>
                <c:pt idx="97">
                  <c:v>40158</c:v>
                </c:pt>
                <c:pt idx="98">
                  <c:v>40161</c:v>
                </c:pt>
                <c:pt idx="99">
                  <c:v>40162</c:v>
                </c:pt>
                <c:pt idx="100">
                  <c:v>40163</c:v>
                </c:pt>
                <c:pt idx="101">
                  <c:v>40164</c:v>
                </c:pt>
                <c:pt idx="102">
                  <c:v>40165</c:v>
                </c:pt>
                <c:pt idx="103">
                  <c:v>40168</c:v>
                </c:pt>
                <c:pt idx="104">
                  <c:v>40169</c:v>
                </c:pt>
                <c:pt idx="105">
                  <c:v>40170</c:v>
                </c:pt>
                <c:pt idx="106">
                  <c:v>40171</c:v>
                </c:pt>
                <c:pt idx="107">
                  <c:v>40172</c:v>
                </c:pt>
                <c:pt idx="108">
                  <c:v>40175</c:v>
                </c:pt>
                <c:pt idx="109">
                  <c:v>40176</c:v>
                </c:pt>
                <c:pt idx="110">
                  <c:v>40177</c:v>
                </c:pt>
                <c:pt idx="111">
                  <c:v>40178</c:v>
                </c:pt>
                <c:pt idx="112">
                  <c:v>40179</c:v>
                </c:pt>
                <c:pt idx="113">
                  <c:v>40182</c:v>
                </c:pt>
                <c:pt idx="114">
                  <c:v>40183</c:v>
                </c:pt>
                <c:pt idx="115">
                  <c:v>40184</c:v>
                </c:pt>
                <c:pt idx="116">
                  <c:v>40185</c:v>
                </c:pt>
                <c:pt idx="117">
                  <c:v>40186</c:v>
                </c:pt>
                <c:pt idx="118">
                  <c:v>40189</c:v>
                </c:pt>
                <c:pt idx="119">
                  <c:v>40190</c:v>
                </c:pt>
                <c:pt idx="120">
                  <c:v>40191</c:v>
                </c:pt>
                <c:pt idx="121">
                  <c:v>40192</c:v>
                </c:pt>
                <c:pt idx="122">
                  <c:v>40193</c:v>
                </c:pt>
                <c:pt idx="123">
                  <c:v>40196</c:v>
                </c:pt>
                <c:pt idx="124">
                  <c:v>40197</c:v>
                </c:pt>
                <c:pt idx="125">
                  <c:v>40198</c:v>
                </c:pt>
                <c:pt idx="126">
                  <c:v>40199</c:v>
                </c:pt>
                <c:pt idx="127">
                  <c:v>40200</c:v>
                </c:pt>
                <c:pt idx="128">
                  <c:v>40203</c:v>
                </c:pt>
                <c:pt idx="129">
                  <c:v>40204</c:v>
                </c:pt>
                <c:pt idx="130">
                  <c:v>40205</c:v>
                </c:pt>
                <c:pt idx="131">
                  <c:v>40206</c:v>
                </c:pt>
                <c:pt idx="132">
                  <c:v>40207</c:v>
                </c:pt>
                <c:pt idx="133">
                  <c:v>40210</c:v>
                </c:pt>
                <c:pt idx="134">
                  <c:v>40211</c:v>
                </c:pt>
                <c:pt idx="135">
                  <c:v>40212</c:v>
                </c:pt>
                <c:pt idx="136">
                  <c:v>40213</c:v>
                </c:pt>
                <c:pt idx="137">
                  <c:v>40214</c:v>
                </c:pt>
                <c:pt idx="138">
                  <c:v>40217</c:v>
                </c:pt>
                <c:pt idx="139">
                  <c:v>40218</c:v>
                </c:pt>
                <c:pt idx="140">
                  <c:v>40219</c:v>
                </c:pt>
                <c:pt idx="141">
                  <c:v>40220</c:v>
                </c:pt>
                <c:pt idx="142">
                  <c:v>40221</c:v>
                </c:pt>
                <c:pt idx="143">
                  <c:v>40224</c:v>
                </c:pt>
                <c:pt idx="144">
                  <c:v>40225</c:v>
                </c:pt>
                <c:pt idx="145">
                  <c:v>40226</c:v>
                </c:pt>
                <c:pt idx="146">
                  <c:v>40227</c:v>
                </c:pt>
                <c:pt idx="147">
                  <c:v>40228</c:v>
                </c:pt>
                <c:pt idx="148">
                  <c:v>40231</c:v>
                </c:pt>
                <c:pt idx="149">
                  <c:v>40232</c:v>
                </c:pt>
                <c:pt idx="150">
                  <c:v>40233</c:v>
                </c:pt>
                <c:pt idx="151">
                  <c:v>40234</c:v>
                </c:pt>
                <c:pt idx="152">
                  <c:v>40235</c:v>
                </c:pt>
                <c:pt idx="153">
                  <c:v>40238</c:v>
                </c:pt>
                <c:pt idx="154">
                  <c:v>40239</c:v>
                </c:pt>
                <c:pt idx="155">
                  <c:v>40240</c:v>
                </c:pt>
                <c:pt idx="156">
                  <c:v>40241</c:v>
                </c:pt>
                <c:pt idx="157">
                  <c:v>40242</c:v>
                </c:pt>
                <c:pt idx="158">
                  <c:v>40245</c:v>
                </c:pt>
                <c:pt idx="159">
                  <c:v>40246</c:v>
                </c:pt>
                <c:pt idx="160">
                  <c:v>40247</c:v>
                </c:pt>
                <c:pt idx="161">
                  <c:v>40248</c:v>
                </c:pt>
                <c:pt idx="162">
                  <c:v>40249</c:v>
                </c:pt>
                <c:pt idx="163">
                  <c:v>40252</c:v>
                </c:pt>
                <c:pt idx="164">
                  <c:v>40253</c:v>
                </c:pt>
                <c:pt idx="165">
                  <c:v>40254</c:v>
                </c:pt>
                <c:pt idx="166">
                  <c:v>40255</c:v>
                </c:pt>
                <c:pt idx="167">
                  <c:v>40256</c:v>
                </c:pt>
                <c:pt idx="168">
                  <c:v>40259</c:v>
                </c:pt>
                <c:pt idx="169">
                  <c:v>40260</c:v>
                </c:pt>
                <c:pt idx="170">
                  <c:v>40261</c:v>
                </c:pt>
                <c:pt idx="171">
                  <c:v>40262</c:v>
                </c:pt>
                <c:pt idx="172">
                  <c:v>40263</c:v>
                </c:pt>
                <c:pt idx="173">
                  <c:v>40266</c:v>
                </c:pt>
                <c:pt idx="174">
                  <c:v>40267</c:v>
                </c:pt>
                <c:pt idx="175">
                  <c:v>40268</c:v>
                </c:pt>
                <c:pt idx="176">
                  <c:v>40269</c:v>
                </c:pt>
                <c:pt idx="177">
                  <c:v>40270</c:v>
                </c:pt>
                <c:pt idx="178">
                  <c:v>40273</c:v>
                </c:pt>
                <c:pt idx="179">
                  <c:v>40274</c:v>
                </c:pt>
                <c:pt idx="180">
                  <c:v>40275</c:v>
                </c:pt>
                <c:pt idx="181">
                  <c:v>40276</c:v>
                </c:pt>
                <c:pt idx="182">
                  <c:v>40277</c:v>
                </c:pt>
                <c:pt idx="183">
                  <c:v>40280</c:v>
                </c:pt>
                <c:pt idx="184">
                  <c:v>40281</c:v>
                </c:pt>
                <c:pt idx="185">
                  <c:v>40282</c:v>
                </c:pt>
                <c:pt idx="186">
                  <c:v>40283</c:v>
                </c:pt>
                <c:pt idx="187">
                  <c:v>40284</c:v>
                </c:pt>
                <c:pt idx="188">
                  <c:v>40287</c:v>
                </c:pt>
                <c:pt idx="189">
                  <c:v>40288</c:v>
                </c:pt>
                <c:pt idx="190">
                  <c:v>40289</c:v>
                </c:pt>
                <c:pt idx="191">
                  <c:v>40290</c:v>
                </c:pt>
                <c:pt idx="192">
                  <c:v>40291</c:v>
                </c:pt>
                <c:pt idx="193">
                  <c:v>40294</c:v>
                </c:pt>
                <c:pt idx="194">
                  <c:v>40295</c:v>
                </c:pt>
                <c:pt idx="195">
                  <c:v>40296</c:v>
                </c:pt>
                <c:pt idx="196">
                  <c:v>40297</c:v>
                </c:pt>
                <c:pt idx="197">
                  <c:v>40298</c:v>
                </c:pt>
                <c:pt idx="198">
                  <c:v>40301</c:v>
                </c:pt>
                <c:pt idx="199">
                  <c:v>40302</c:v>
                </c:pt>
                <c:pt idx="200">
                  <c:v>40303</c:v>
                </c:pt>
                <c:pt idx="201">
                  <c:v>40304</c:v>
                </c:pt>
                <c:pt idx="202">
                  <c:v>40305</c:v>
                </c:pt>
                <c:pt idx="203">
                  <c:v>40308</c:v>
                </c:pt>
                <c:pt idx="204">
                  <c:v>40309</c:v>
                </c:pt>
                <c:pt idx="205">
                  <c:v>40310</c:v>
                </c:pt>
                <c:pt idx="206">
                  <c:v>40311</c:v>
                </c:pt>
                <c:pt idx="207">
                  <c:v>40312</c:v>
                </c:pt>
                <c:pt idx="208">
                  <c:v>40315</c:v>
                </c:pt>
                <c:pt idx="209">
                  <c:v>40316</c:v>
                </c:pt>
                <c:pt idx="210">
                  <c:v>40317</c:v>
                </c:pt>
                <c:pt idx="211">
                  <c:v>40318</c:v>
                </c:pt>
                <c:pt idx="212">
                  <c:v>40319</c:v>
                </c:pt>
                <c:pt idx="213">
                  <c:v>40322</c:v>
                </c:pt>
                <c:pt idx="214">
                  <c:v>40323</c:v>
                </c:pt>
                <c:pt idx="215">
                  <c:v>40324</c:v>
                </c:pt>
                <c:pt idx="216">
                  <c:v>40325</c:v>
                </c:pt>
                <c:pt idx="217">
                  <c:v>40326</c:v>
                </c:pt>
                <c:pt idx="218">
                  <c:v>40329</c:v>
                </c:pt>
                <c:pt idx="219">
                  <c:v>40330</c:v>
                </c:pt>
                <c:pt idx="220">
                  <c:v>40331</c:v>
                </c:pt>
                <c:pt idx="221">
                  <c:v>40332</c:v>
                </c:pt>
                <c:pt idx="222">
                  <c:v>40333</c:v>
                </c:pt>
                <c:pt idx="223">
                  <c:v>40336</c:v>
                </c:pt>
                <c:pt idx="224">
                  <c:v>40337</c:v>
                </c:pt>
                <c:pt idx="225">
                  <c:v>40338</c:v>
                </c:pt>
                <c:pt idx="226">
                  <c:v>40339</c:v>
                </c:pt>
                <c:pt idx="227">
                  <c:v>40340</c:v>
                </c:pt>
                <c:pt idx="228">
                  <c:v>40343</c:v>
                </c:pt>
                <c:pt idx="229">
                  <c:v>40344</c:v>
                </c:pt>
                <c:pt idx="230">
                  <c:v>40345</c:v>
                </c:pt>
                <c:pt idx="231">
                  <c:v>40346</c:v>
                </c:pt>
                <c:pt idx="232">
                  <c:v>40347</c:v>
                </c:pt>
                <c:pt idx="233">
                  <c:v>40350</c:v>
                </c:pt>
                <c:pt idx="234">
                  <c:v>40351</c:v>
                </c:pt>
                <c:pt idx="235">
                  <c:v>40352</c:v>
                </c:pt>
                <c:pt idx="236">
                  <c:v>40353</c:v>
                </c:pt>
                <c:pt idx="237">
                  <c:v>40354</c:v>
                </c:pt>
                <c:pt idx="238">
                  <c:v>40357</c:v>
                </c:pt>
                <c:pt idx="239">
                  <c:v>40358</c:v>
                </c:pt>
                <c:pt idx="240">
                  <c:v>40359</c:v>
                </c:pt>
                <c:pt idx="241">
                  <c:v>40360</c:v>
                </c:pt>
                <c:pt idx="242">
                  <c:v>40361</c:v>
                </c:pt>
                <c:pt idx="243">
                  <c:v>40364</c:v>
                </c:pt>
                <c:pt idx="244">
                  <c:v>40365</c:v>
                </c:pt>
                <c:pt idx="245">
                  <c:v>40366</c:v>
                </c:pt>
                <c:pt idx="246">
                  <c:v>40367</c:v>
                </c:pt>
                <c:pt idx="247">
                  <c:v>40368</c:v>
                </c:pt>
                <c:pt idx="248">
                  <c:v>40371</c:v>
                </c:pt>
                <c:pt idx="249">
                  <c:v>40372</c:v>
                </c:pt>
                <c:pt idx="250">
                  <c:v>40373</c:v>
                </c:pt>
                <c:pt idx="251">
                  <c:v>40374</c:v>
                </c:pt>
                <c:pt idx="252">
                  <c:v>40375</c:v>
                </c:pt>
                <c:pt idx="253">
                  <c:v>40378</c:v>
                </c:pt>
                <c:pt idx="254">
                  <c:v>40379</c:v>
                </c:pt>
                <c:pt idx="255">
                  <c:v>40380</c:v>
                </c:pt>
                <c:pt idx="256">
                  <c:v>40381</c:v>
                </c:pt>
                <c:pt idx="257">
                  <c:v>40382</c:v>
                </c:pt>
                <c:pt idx="258">
                  <c:v>40385</c:v>
                </c:pt>
                <c:pt idx="259">
                  <c:v>40386</c:v>
                </c:pt>
                <c:pt idx="260">
                  <c:v>40387</c:v>
                </c:pt>
                <c:pt idx="261">
                  <c:v>40388</c:v>
                </c:pt>
                <c:pt idx="262">
                  <c:v>40389</c:v>
                </c:pt>
                <c:pt idx="263">
                  <c:v>40392</c:v>
                </c:pt>
                <c:pt idx="264">
                  <c:v>40393</c:v>
                </c:pt>
                <c:pt idx="265">
                  <c:v>40394</c:v>
                </c:pt>
                <c:pt idx="266">
                  <c:v>40395</c:v>
                </c:pt>
                <c:pt idx="267">
                  <c:v>40396</c:v>
                </c:pt>
                <c:pt idx="268">
                  <c:v>40399</c:v>
                </c:pt>
                <c:pt idx="269">
                  <c:v>40400</c:v>
                </c:pt>
                <c:pt idx="270">
                  <c:v>40401</c:v>
                </c:pt>
                <c:pt idx="271">
                  <c:v>40402</c:v>
                </c:pt>
                <c:pt idx="272">
                  <c:v>40403</c:v>
                </c:pt>
                <c:pt idx="273">
                  <c:v>40406</c:v>
                </c:pt>
                <c:pt idx="274">
                  <c:v>40407</c:v>
                </c:pt>
                <c:pt idx="275">
                  <c:v>40408</c:v>
                </c:pt>
                <c:pt idx="276">
                  <c:v>40409</c:v>
                </c:pt>
                <c:pt idx="277">
                  <c:v>40410</c:v>
                </c:pt>
                <c:pt idx="278">
                  <c:v>40413</c:v>
                </c:pt>
                <c:pt idx="279">
                  <c:v>40414</c:v>
                </c:pt>
                <c:pt idx="280">
                  <c:v>40415</c:v>
                </c:pt>
                <c:pt idx="281">
                  <c:v>40416</c:v>
                </c:pt>
                <c:pt idx="282">
                  <c:v>40417</c:v>
                </c:pt>
                <c:pt idx="283">
                  <c:v>40420</c:v>
                </c:pt>
                <c:pt idx="284">
                  <c:v>40421</c:v>
                </c:pt>
                <c:pt idx="285">
                  <c:v>40422</c:v>
                </c:pt>
                <c:pt idx="286">
                  <c:v>40423</c:v>
                </c:pt>
                <c:pt idx="287">
                  <c:v>40424</c:v>
                </c:pt>
                <c:pt idx="288">
                  <c:v>40427</c:v>
                </c:pt>
                <c:pt idx="289">
                  <c:v>40428</c:v>
                </c:pt>
                <c:pt idx="290">
                  <c:v>40429</c:v>
                </c:pt>
                <c:pt idx="291">
                  <c:v>40430</c:v>
                </c:pt>
                <c:pt idx="292">
                  <c:v>40431</c:v>
                </c:pt>
                <c:pt idx="293">
                  <c:v>40434</c:v>
                </c:pt>
                <c:pt idx="294">
                  <c:v>40435</c:v>
                </c:pt>
                <c:pt idx="295">
                  <c:v>40436</c:v>
                </c:pt>
                <c:pt idx="296">
                  <c:v>40437</c:v>
                </c:pt>
                <c:pt idx="297">
                  <c:v>40438</c:v>
                </c:pt>
                <c:pt idx="298">
                  <c:v>40441</c:v>
                </c:pt>
                <c:pt idx="299">
                  <c:v>40442</c:v>
                </c:pt>
                <c:pt idx="300">
                  <c:v>40443</c:v>
                </c:pt>
                <c:pt idx="301">
                  <c:v>40444</c:v>
                </c:pt>
                <c:pt idx="302">
                  <c:v>40445</c:v>
                </c:pt>
                <c:pt idx="303">
                  <c:v>40448</c:v>
                </c:pt>
                <c:pt idx="304">
                  <c:v>40449</c:v>
                </c:pt>
                <c:pt idx="305">
                  <c:v>40450</c:v>
                </c:pt>
                <c:pt idx="306">
                  <c:v>40451</c:v>
                </c:pt>
                <c:pt idx="307">
                  <c:v>40452</c:v>
                </c:pt>
                <c:pt idx="308">
                  <c:v>40455</c:v>
                </c:pt>
                <c:pt idx="309">
                  <c:v>40456</c:v>
                </c:pt>
                <c:pt idx="310">
                  <c:v>40457</c:v>
                </c:pt>
                <c:pt idx="311">
                  <c:v>40458</c:v>
                </c:pt>
                <c:pt idx="312">
                  <c:v>40459</c:v>
                </c:pt>
                <c:pt idx="313">
                  <c:v>40462</c:v>
                </c:pt>
                <c:pt idx="314">
                  <c:v>40463</c:v>
                </c:pt>
                <c:pt idx="315">
                  <c:v>40464</c:v>
                </c:pt>
                <c:pt idx="316">
                  <c:v>40465</c:v>
                </c:pt>
                <c:pt idx="317">
                  <c:v>40466</c:v>
                </c:pt>
                <c:pt idx="318">
                  <c:v>40469</c:v>
                </c:pt>
                <c:pt idx="319">
                  <c:v>40470</c:v>
                </c:pt>
                <c:pt idx="320">
                  <c:v>40471</c:v>
                </c:pt>
                <c:pt idx="321">
                  <c:v>40472</c:v>
                </c:pt>
                <c:pt idx="322">
                  <c:v>40473</c:v>
                </c:pt>
                <c:pt idx="323">
                  <c:v>40476</c:v>
                </c:pt>
                <c:pt idx="324">
                  <c:v>40477</c:v>
                </c:pt>
                <c:pt idx="325">
                  <c:v>40478</c:v>
                </c:pt>
                <c:pt idx="326">
                  <c:v>40479</c:v>
                </c:pt>
                <c:pt idx="327">
                  <c:v>40480</c:v>
                </c:pt>
                <c:pt idx="328">
                  <c:v>40483</c:v>
                </c:pt>
                <c:pt idx="329">
                  <c:v>40484</c:v>
                </c:pt>
                <c:pt idx="330">
                  <c:v>40485</c:v>
                </c:pt>
                <c:pt idx="331">
                  <c:v>40486</c:v>
                </c:pt>
                <c:pt idx="332">
                  <c:v>40487</c:v>
                </c:pt>
                <c:pt idx="333">
                  <c:v>40490</c:v>
                </c:pt>
                <c:pt idx="334">
                  <c:v>40491</c:v>
                </c:pt>
                <c:pt idx="335">
                  <c:v>40492</c:v>
                </c:pt>
                <c:pt idx="336">
                  <c:v>40493</c:v>
                </c:pt>
                <c:pt idx="337">
                  <c:v>40494</c:v>
                </c:pt>
                <c:pt idx="338">
                  <c:v>40497</c:v>
                </c:pt>
                <c:pt idx="339">
                  <c:v>40498</c:v>
                </c:pt>
                <c:pt idx="340">
                  <c:v>40499</c:v>
                </c:pt>
                <c:pt idx="341">
                  <c:v>40500</c:v>
                </c:pt>
                <c:pt idx="342">
                  <c:v>40501</c:v>
                </c:pt>
                <c:pt idx="343">
                  <c:v>40504</c:v>
                </c:pt>
                <c:pt idx="344">
                  <c:v>40505</c:v>
                </c:pt>
                <c:pt idx="345">
                  <c:v>40506</c:v>
                </c:pt>
                <c:pt idx="346">
                  <c:v>40507</c:v>
                </c:pt>
                <c:pt idx="347">
                  <c:v>40508</c:v>
                </c:pt>
                <c:pt idx="348">
                  <c:v>40511</c:v>
                </c:pt>
                <c:pt idx="349">
                  <c:v>40512</c:v>
                </c:pt>
                <c:pt idx="350">
                  <c:v>40513</c:v>
                </c:pt>
                <c:pt idx="351">
                  <c:v>40514</c:v>
                </c:pt>
                <c:pt idx="352">
                  <c:v>40515</c:v>
                </c:pt>
                <c:pt idx="353">
                  <c:v>40518</c:v>
                </c:pt>
                <c:pt idx="354">
                  <c:v>40519</c:v>
                </c:pt>
                <c:pt idx="355">
                  <c:v>40520</c:v>
                </c:pt>
                <c:pt idx="356">
                  <c:v>40521</c:v>
                </c:pt>
                <c:pt idx="357">
                  <c:v>40522</c:v>
                </c:pt>
                <c:pt idx="358">
                  <c:v>40525</c:v>
                </c:pt>
                <c:pt idx="359">
                  <c:v>40526</c:v>
                </c:pt>
                <c:pt idx="360">
                  <c:v>40527</c:v>
                </c:pt>
                <c:pt idx="361">
                  <c:v>40528</c:v>
                </c:pt>
                <c:pt idx="362">
                  <c:v>40529</c:v>
                </c:pt>
                <c:pt idx="363">
                  <c:v>40532</c:v>
                </c:pt>
                <c:pt idx="364">
                  <c:v>40533</c:v>
                </c:pt>
                <c:pt idx="365">
                  <c:v>40534</c:v>
                </c:pt>
                <c:pt idx="366">
                  <c:v>40535</c:v>
                </c:pt>
                <c:pt idx="367">
                  <c:v>40536</c:v>
                </c:pt>
                <c:pt idx="368">
                  <c:v>40539</c:v>
                </c:pt>
                <c:pt idx="369">
                  <c:v>40540</c:v>
                </c:pt>
                <c:pt idx="370">
                  <c:v>40541</c:v>
                </c:pt>
                <c:pt idx="371">
                  <c:v>40542</c:v>
                </c:pt>
                <c:pt idx="372">
                  <c:v>40543</c:v>
                </c:pt>
                <c:pt idx="373">
                  <c:v>40546</c:v>
                </c:pt>
                <c:pt idx="374">
                  <c:v>40547</c:v>
                </c:pt>
                <c:pt idx="375">
                  <c:v>40548</c:v>
                </c:pt>
                <c:pt idx="376">
                  <c:v>40549</c:v>
                </c:pt>
                <c:pt idx="377">
                  <c:v>40550</c:v>
                </c:pt>
                <c:pt idx="378">
                  <c:v>40553</c:v>
                </c:pt>
                <c:pt idx="379">
                  <c:v>40554</c:v>
                </c:pt>
                <c:pt idx="380">
                  <c:v>40555</c:v>
                </c:pt>
                <c:pt idx="381">
                  <c:v>40556</c:v>
                </c:pt>
                <c:pt idx="382">
                  <c:v>40557</c:v>
                </c:pt>
                <c:pt idx="383">
                  <c:v>40560</c:v>
                </c:pt>
                <c:pt idx="384">
                  <c:v>40561</c:v>
                </c:pt>
                <c:pt idx="385">
                  <c:v>40562</c:v>
                </c:pt>
                <c:pt idx="386">
                  <c:v>40563</c:v>
                </c:pt>
                <c:pt idx="387">
                  <c:v>40564</c:v>
                </c:pt>
                <c:pt idx="388">
                  <c:v>40567</c:v>
                </c:pt>
                <c:pt idx="389">
                  <c:v>40568</c:v>
                </c:pt>
                <c:pt idx="390">
                  <c:v>40569</c:v>
                </c:pt>
                <c:pt idx="391">
                  <c:v>40570</c:v>
                </c:pt>
                <c:pt idx="392">
                  <c:v>40571</c:v>
                </c:pt>
                <c:pt idx="393">
                  <c:v>40574</c:v>
                </c:pt>
                <c:pt idx="394">
                  <c:v>40575</c:v>
                </c:pt>
                <c:pt idx="395">
                  <c:v>40576</c:v>
                </c:pt>
                <c:pt idx="396">
                  <c:v>40577</c:v>
                </c:pt>
                <c:pt idx="397">
                  <c:v>40578</c:v>
                </c:pt>
                <c:pt idx="398">
                  <c:v>40581</c:v>
                </c:pt>
                <c:pt idx="399">
                  <c:v>40582</c:v>
                </c:pt>
                <c:pt idx="400">
                  <c:v>40583</c:v>
                </c:pt>
                <c:pt idx="401">
                  <c:v>40584</c:v>
                </c:pt>
                <c:pt idx="402">
                  <c:v>40585</c:v>
                </c:pt>
                <c:pt idx="403">
                  <c:v>40588</c:v>
                </c:pt>
                <c:pt idx="404">
                  <c:v>40589</c:v>
                </c:pt>
                <c:pt idx="405">
                  <c:v>40590</c:v>
                </c:pt>
                <c:pt idx="406">
                  <c:v>40591</c:v>
                </c:pt>
                <c:pt idx="407">
                  <c:v>40592</c:v>
                </c:pt>
                <c:pt idx="408">
                  <c:v>40595</c:v>
                </c:pt>
                <c:pt idx="409">
                  <c:v>40596</c:v>
                </c:pt>
                <c:pt idx="410">
                  <c:v>40597</c:v>
                </c:pt>
                <c:pt idx="411">
                  <c:v>40598</c:v>
                </c:pt>
                <c:pt idx="412">
                  <c:v>40599</c:v>
                </c:pt>
                <c:pt idx="413">
                  <c:v>40602</c:v>
                </c:pt>
                <c:pt idx="414">
                  <c:v>40603</c:v>
                </c:pt>
                <c:pt idx="415">
                  <c:v>40604</c:v>
                </c:pt>
                <c:pt idx="416">
                  <c:v>40605</c:v>
                </c:pt>
                <c:pt idx="417">
                  <c:v>40606</c:v>
                </c:pt>
                <c:pt idx="418">
                  <c:v>40609</c:v>
                </c:pt>
                <c:pt idx="419">
                  <c:v>40610</c:v>
                </c:pt>
                <c:pt idx="420">
                  <c:v>40611</c:v>
                </c:pt>
                <c:pt idx="421">
                  <c:v>40612</c:v>
                </c:pt>
                <c:pt idx="422">
                  <c:v>40613</c:v>
                </c:pt>
                <c:pt idx="423">
                  <c:v>40616</c:v>
                </c:pt>
                <c:pt idx="424">
                  <c:v>40617</c:v>
                </c:pt>
                <c:pt idx="425">
                  <c:v>40618</c:v>
                </c:pt>
                <c:pt idx="426">
                  <c:v>40619</c:v>
                </c:pt>
                <c:pt idx="427">
                  <c:v>40620</c:v>
                </c:pt>
                <c:pt idx="428">
                  <c:v>40623</c:v>
                </c:pt>
                <c:pt idx="429">
                  <c:v>40624</c:v>
                </c:pt>
                <c:pt idx="430">
                  <c:v>40625</c:v>
                </c:pt>
                <c:pt idx="431">
                  <c:v>40626</c:v>
                </c:pt>
                <c:pt idx="432">
                  <c:v>40627</c:v>
                </c:pt>
                <c:pt idx="433">
                  <c:v>40630</c:v>
                </c:pt>
                <c:pt idx="434">
                  <c:v>40631</c:v>
                </c:pt>
                <c:pt idx="435">
                  <c:v>40632</c:v>
                </c:pt>
                <c:pt idx="436">
                  <c:v>40633</c:v>
                </c:pt>
                <c:pt idx="437">
                  <c:v>40634</c:v>
                </c:pt>
                <c:pt idx="438">
                  <c:v>40637</c:v>
                </c:pt>
                <c:pt idx="439">
                  <c:v>40638</c:v>
                </c:pt>
                <c:pt idx="440">
                  <c:v>40639</c:v>
                </c:pt>
                <c:pt idx="441">
                  <c:v>40640</c:v>
                </c:pt>
                <c:pt idx="442">
                  <c:v>40641</c:v>
                </c:pt>
                <c:pt idx="443">
                  <c:v>40644</c:v>
                </c:pt>
                <c:pt idx="444">
                  <c:v>40645</c:v>
                </c:pt>
                <c:pt idx="445">
                  <c:v>40646</c:v>
                </c:pt>
                <c:pt idx="446">
                  <c:v>40647</c:v>
                </c:pt>
                <c:pt idx="447">
                  <c:v>40648</c:v>
                </c:pt>
                <c:pt idx="448">
                  <c:v>40651</c:v>
                </c:pt>
                <c:pt idx="449">
                  <c:v>40652</c:v>
                </c:pt>
                <c:pt idx="450">
                  <c:v>40653</c:v>
                </c:pt>
                <c:pt idx="451">
                  <c:v>40654</c:v>
                </c:pt>
                <c:pt idx="452">
                  <c:v>40655</c:v>
                </c:pt>
                <c:pt idx="453">
                  <c:v>40658</c:v>
                </c:pt>
                <c:pt idx="454">
                  <c:v>40659</c:v>
                </c:pt>
                <c:pt idx="455">
                  <c:v>40660</c:v>
                </c:pt>
                <c:pt idx="456">
                  <c:v>40661</c:v>
                </c:pt>
                <c:pt idx="457">
                  <c:v>40662</c:v>
                </c:pt>
                <c:pt idx="458">
                  <c:v>40665</c:v>
                </c:pt>
                <c:pt idx="459">
                  <c:v>40666</c:v>
                </c:pt>
                <c:pt idx="460">
                  <c:v>40667</c:v>
                </c:pt>
                <c:pt idx="461">
                  <c:v>40668</c:v>
                </c:pt>
                <c:pt idx="462">
                  <c:v>40669</c:v>
                </c:pt>
                <c:pt idx="463">
                  <c:v>40672</c:v>
                </c:pt>
                <c:pt idx="464">
                  <c:v>40673</c:v>
                </c:pt>
                <c:pt idx="465">
                  <c:v>40674</c:v>
                </c:pt>
                <c:pt idx="466">
                  <c:v>40675</c:v>
                </c:pt>
                <c:pt idx="467">
                  <c:v>40676</c:v>
                </c:pt>
                <c:pt idx="468">
                  <c:v>40679</c:v>
                </c:pt>
                <c:pt idx="469">
                  <c:v>40680</c:v>
                </c:pt>
                <c:pt idx="470">
                  <c:v>40681</c:v>
                </c:pt>
                <c:pt idx="471">
                  <c:v>40682</c:v>
                </c:pt>
                <c:pt idx="472">
                  <c:v>40683</c:v>
                </c:pt>
                <c:pt idx="473">
                  <c:v>40686</c:v>
                </c:pt>
                <c:pt idx="474">
                  <c:v>40687</c:v>
                </c:pt>
                <c:pt idx="475">
                  <c:v>40688</c:v>
                </c:pt>
                <c:pt idx="476">
                  <c:v>40689</c:v>
                </c:pt>
                <c:pt idx="477">
                  <c:v>40690</c:v>
                </c:pt>
                <c:pt idx="478">
                  <c:v>40693</c:v>
                </c:pt>
                <c:pt idx="479">
                  <c:v>40694</c:v>
                </c:pt>
                <c:pt idx="480">
                  <c:v>40695</c:v>
                </c:pt>
                <c:pt idx="481">
                  <c:v>40696</c:v>
                </c:pt>
                <c:pt idx="482">
                  <c:v>40697</c:v>
                </c:pt>
                <c:pt idx="483">
                  <c:v>40700</c:v>
                </c:pt>
                <c:pt idx="484">
                  <c:v>40701</c:v>
                </c:pt>
                <c:pt idx="485">
                  <c:v>40702</c:v>
                </c:pt>
                <c:pt idx="486">
                  <c:v>40703</c:v>
                </c:pt>
                <c:pt idx="487">
                  <c:v>40704</c:v>
                </c:pt>
                <c:pt idx="488">
                  <c:v>40707</c:v>
                </c:pt>
                <c:pt idx="489">
                  <c:v>40708</c:v>
                </c:pt>
                <c:pt idx="490">
                  <c:v>40709</c:v>
                </c:pt>
                <c:pt idx="491">
                  <c:v>40710</c:v>
                </c:pt>
                <c:pt idx="492">
                  <c:v>40711</c:v>
                </c:pt>
                <c:pt idx="493">
                  <c:v>40714</c:v>
                </c:pt>
                <c:pt idx="494">
                  <c:v>40715</c:v>
                </c:pt>
                <c:pt idx="495">
                  <c:v>40716</c:v>
                </c:pt>
                <c:pt idx="496">
                  <c:v>40717</c:v>
                </c:pt>
                <c:pt idx="497">
                  <c:v>40718</c:v>
                </c:pt>
                <c:pt idx="498">
                  <c:v>40721</c:v>
                </c:pt>
                <c:pt idx="499">
                  <c:v>40722</c:v>
                </c:pt>
                <c:pt idx="500">
                  <c:v>40723</c:v>
                </c:pt>
                <c:pt idx="501">
                  <c:v>40724</c:v>
                </c:pt>
                <c:pt idx="502">
                  <c:v>40725</c:v>
                </c:pt>
                <c:pt idx="503">
                  <c:v>40728</c:v>
                </c:pt>
                <c:pt idx="504">
                  <c:v>40729</c:v>
                </c:pt>
                <c:pt idx="505">
                  <c:v>40730</c:v>
                </c:pt>
                <c:pt idx="506">
                  <c:v>40731</c:v>
                </c:pt>
                <c:pt idx="507">
                  <c:v>40732</c:v>
                </c:pt>
                <c:pt idx="508">
                  <c:v>40735</c:v>
                </c:pt>
                <c:pt idx="509">
                  <c:v>40736</c:v>
                </c:pt>
                <c:pt idx="510">
                  <c:v>40737</c:v>
                </c:pt>
                <c:pt idx="511">
                  <c:v>40738</c:v>
                </c:pt>
                <c:pt idx="512">
                  <c:v>40739</c:v>
                </c:pt>
                <c:pt idx="513">
                  <c:v>40742</c:v>
                </c:pt>
                <c:pt idx="514">
                  <c:v>40743</c:v>
                </c:pt>
                <c:pt idx="515">
                  <c:v>40744</c:v>
                </c:pt>
                <c:pt idx="516">
                  <c:v>40745</c:v>
                </c:pt>
                <c:pt idx="517">
                  <c:v>40746</c:v>
                </c:pt>
                <c:pt idx="518">
                  <c:v>40749</c:v>
                </c:pt>
                <c:pt idx="519">
                  <c:v>40750</c:v>
                </c:pt>
                <c:pt idx="520">
                  <c:v>40751</c:v>
                </c:pt>
                <c:pt idx="521">
                  <c:v>40752</c:v>
                </c:pt>
                <c:pt idx="522">
                  <c:v>40753</c:v>
                </c:pt>
                <c:pt idx="523">
                  <c:v>40756</c:v>
                </c:pt>
                <c:pt idx="524">
                  <c:v>40757</c:v>
                </c:pt>
                <c:pt idx="525">
                  <c:v>40758</c:v>
                </c:pt>
                <c:pt idx="526">
                  <c:v>40759</c:v>
                </c:pt>
                <c:pt idx="527">
                  <c:v>40760</c:v>
                </c:pt>
                <c:pt idx="528">
                  <c:v>40763</c:v>
                </c:pt>
                <c:pt idx="529">
                  <c:v>40764</c:v>
                </c:pt>
                <c:pt idx="530">
                  <c:v>40765</c:v>
                </c:pt>
                <c:pt idx="531">
                  <c:v>40766</c:v>
                </c:pt>
                <c:pt idx="532">
                  <c:v>40767</c:v>
                </c:pt>
                <c:pt idx="533">
                  <c:v>40770</c:v>
                </c:pt>
                <c:pt idx="534">
                  <c:v>40771</c:v>
                </c:pt>
                <c:pt idx="535">
                  <c:v>40772</c:v>
                </c:pt>
                <c:pt idx="536">
                  <c:v>40773</c:v>
                </c:pt>
                <c:pt idx="537">
                  <c:v>40774</c:v>
                </c:pt>
                <c:pt idx="538">
                  <c:v>40777</c:v>
                </c:pt>
                <c:pt idx="539">
                  <c:v>40778</c:v>
                </c:pt>
                <c:pt idx="540">
                  <c:v>40779</c:v>
                </c:pt>
                <c:pt idx="541">
                  <c:v>40780</c:v>
                </c:pt>
                <c:pt idx="542">
                  <c:v>40781</c:v>
                </c:pt>
                <c:pt idx="543">
                  <c:v>40784</c:v>
                </c:pt>
                <c:pt idx="544">
                  <c:v>40785</c:v>
                </c:pt>
                <c:pt idx="545">
                  <c:v>40786</c:v>
                </c:pt>
                <c:pt idx="546">
                  <c:v>40787</c:v>
                </c:pt>
                <c:pt idx="547">
                  <c:v>40788</c:v>
                </c:pt>
                <c:pt idx="548">
                  <c:v>40791</c:v>
                </c:pt>
                <c:pt idx="549">
                  <c:v>40792</c:v>
                </c:pt>
                <c:pt idx="550">
                  <c:v>40793</c:v>
                </c:pt>
                <c:pt idx="551">
                  <c:v>40794</c:v>
                </c:pt>
                <c:pt idx="552">
                  <c:v>40795</c:v>
                </c:pt>
                <c:pt idx="553">
                  <c:v>40798</c:v>
                </c:pt>
                <c:pt idx="554">
                  <c:v>40799</c:v>
                </c:pt>
              </c:numCache>
            </c:numRef>
          </c:cat>
          <c:val>
            <c:numRef>
              <c:f>CDS!$AG$2500:$AG$3200</c:f>
              <c:numCache>
                <c:formatCode>General</c:formatCode>
                <c:ptCount val="701"/>
                <c:pt idx="0">
                  <c:v>145.102</c:v>
                </c:pt>
                <c:pt idx="1">
                  <c:v>138.483</c:v>
                </c:pt>
                <c:pt idx="2">
                  <c:v>136.27099999999999</c:v>
                </c:pt>
                <c:pt idx="3">
                  <c:v>131.601</c:v>
                </c:pt>
                <c:pt idx="4">
                  <c:v>132.93</c:v>
                </c:pt>
                <c:pt idx="5">
                  <c:v>134.88000000000022</c:v>
                </c:pt>
                <c:pt idx="6">
                  <c:v>135.86800000000022</c:v>
                </c:pt>
                <c:pt idx="7">
                  <c:v>141.13499999999999</c:v>
                </c:pt>
                <c:pt idx="8">
                  <c:v>142.018</c:v>
                </c:pt>
                <c:pt idx="9">
                  <c:v>142.23999999999998</c:v>
                </c:pt>
                <c:pt idx="10">
                  <c:v>149.74399999999977</c:v>
                </c:pt>
                <c:pt idx="11">
                  <c:v>151.25</c:v>
                </c:pt>
                <c:pt idx="12">
                  <c:v>149.11699999999999</c:v>
                </c:pt>
                <c:pt idx="13">
                  <c:v>158.76</c:v>
                </c:pt>
                <c:pt idx="14">
                  <c:v>158.31200000000001</c:v>
                </c:pt>
                <c:pt idx="15">
                  <c:v>161.37</c:v>
                </c:pt>
                <c:pt idx="16">
                  <c:v>158.06399999999999</c:v>
                </c:pt>
                <c:pt idx="17">
                  <c:v>152.416</c:v>
                </c:pt>
                <c:pt idx="18">
                  <c:v>146.19300000000001</c:v>
                </c:pt>
                <c:pt idx="19">
                  <c:v>150.29</c:v>
                </c:pt>
                <c:pt idx="20">
                  <c:v>149.07599999999999</c:v>
                </c:pt>
                <c:pt idx="21">
                  <c:v>149.47</c:v>
                </c:pt>
                <c:pt idx="22">
                  <c:v>150.06700000000001</c:v>
                </c:pt>
                <c:pt idx="23">
                  <c:v>149.041</c:v>
                </c:pt>
                <c:pt idx="24">
                  <c:v>152.35600000000022</c:v>
                </c:pt>
                <c:pt idx="25">
                  <c:v>156.16399999999999</c:v>
                </c:pt>
                <c:pt idx="26">
                  <c:v>160.535</c:v>
                </c:pt>
                <c:pt idx="27">
                  <c:v>163.45800000000023</c:v>
                </c:pt>
                <c:pt idx="28">
                  <c:v>163.75</c:v>
                </c:pt>
                <c:pt idx="29">
                  <c:v>161.89400000000001</c:v>
                </c:pt>
                <c:pt idx="30">
                  <c:v>159.20399999999998</c:v>
                </c:pt>
                <c:pt idx="31">
                  <c:v>156.17399999999998</c:v>
                </c:pt>
                <c:pt idx="32">
                  <c:v>152.89000000000001</c:v>
                </c:pt>
                <c:pt idx="33">
                  <c:v>151.68900000000002</c:v>
                </c:pt>
                <c:pt idx="34">
                  <c:v>149.25800000000001</c:v>
                </c:pt>
                <c:pt idx="35">
                  <c:v>151.55600000000001</c:v>
                </c:pt>
                <c:pt idx="36">
                  <c:v>148.42500000000001</c:v>
                </c:pt>
                <c:pt idx="37">
                  <c:v>147.262</c:v>
                </c:pt>
                <c:pt idx="38">
                  <c:v>148.31399999999999</c:v>
                </c:pt>
                <c:pt idx="39">
                  <c:v>148.13300000000001</c:v>
                </c:pt>
                <c:pt idx="40">
                  <c:v>143.291</c:v>
                </c:pt>
                <c:pt idx="41">
                  <c:v>133.82200000000026</c:v>
                </c:pt>
                <c:pt idx="42">
                  <c:v>134.12200000000001</c:v>
                </c:pt>
                <c:pt idx="43">
                  <c:v>134.46700000000001</c:v>
                </c:pt>
                <c:pt idx="44">
                  <c:v>129.762</c:v>
                </c:pt>
                <c:pt idx="45">
                  <c:v>133.03200000000001</c:v>
                </c:pt>
                <c:pt idx="46">
                  <c:v>130.833</c:v>
                </c:pt>
                <c:pt idx="47">
                  <c:v>135.99600000000001</c:v>
                </c:pt>
                <c:pt idx="48">
                  <c:v>127.04</c:v>
                </c:pt>
                <c:pt idx="49">
                  <c:v>125.48</c:v>
                </c:pt>
                <c:pt idx="50">
                  <c:v>122.898</c:v>
                </c:pt>
                <c:pt idx="51">
                  <c:v>122.30200000000001</c:v>
                </c:pt>
                <c:pt idx="52">
                  <c:v>122.965</c:v>
                </c:pt>
                <c:pt idx="53">
                  <c:v>122.8</c:v>
                </c:pt>
                <c:pt idx="54">
                  <c:v>124.21599999999999</c:v>
                </c:pt>
                <c:pt idx="55">
                  <c:v>123.80500000000001</c:v>
                </c:pt>
                <c:pt idx="56">
                  <c:v>122.886</c:v>
                </c:pt>
                <c:pt idx="57">
                  <c:v>123.07799999999999</c:v>
                </c:pt>
                <c:pt idx="58">
                  <c:v>120.765</c:v>
                </c:pt>
                <c:pt idx="59">
                  <c:v>121.319</c:v>
                </c:pt>
                <c:pt idx="60">
                  <c:v>120.992</c:v>
                </c:pt>
                <c:pt idx="61">
                  <c:v>121.283</c:v>
                </c:pt>
                <c:pt idx="62">
                  <c:v>121.83499999999999</c:v>
                </c:pt>
                <c:pt idx="63">
                  <c:v>121.28100000000002</c:v>
                </c:pt>
                <c:pt idx="64">
                  <c:v>121.733</c:v>
                </c:pt>
                <c:pt idx="65">
                  <c:v>124.762</c:v>
                </c:pt>
                <c:pt idx="66">
                  <c:v>128.43</c:v>
                </c:pt>
                <c:pt idx="67">
                  <c:v>133.24399999999977</c:v>
                </c:pt>
                <c:pt idx="68">
                  <c:v>135.90600000000001</c:v>
                </c:pt>
                <c:pt idx="69">
                  <c:v>138.435</c:v>
                </c:pt>
                <c:pt idx="70">
                  <c:v>138.929</c:v>
                </c:pt>
                <c:pt idx="71">
                  <c:v>140.43200000000004</c:v>
                </c:pt>
                <c:pt idx="72">
                  <c:v>146.43100000000001</c:v>
                </c:pt>
                <c:pt idx="73">
                  <c:v>144.929</c:v>
                </c:pt>
                <c:pt idx="74">
                  <c:v>144.50800000000001</c:v>
                </c:pt>
                <c:pt idx="75">
                  <c:v>144.71299999999999</c:v>
                </c:pt>
                <c:pt idx="76">
                  <c:v>145.31200000000001</c:v>
                </c:pt>
                <c:pt idx="77">
                  <c:v>151.47200000000001</c:v>
                </c:pt>
                <c:pt idx="78">
                  <c:v>154.68600000000001</c:v>
                </c:pt>
                <c:pt idx="79">
                  <c:v>150.66999999999999</c:v>
                </c:pt>
                <c:pt idx="80">
                  <c:v>155.20099999999999</c:v>
                </c:pt>
                <c:pt idx="81">
                  <c:v>162.35100000000023</c:v>
                </c:pt>
                <c:pt idx="82">
                  <c:v>160.31800000000001</c:v>
                </c:pt>
                <c:pt idx="83">
                  <c:v>157.124</c:v>
                </c:pt>
                <c:pt idx="84">
                  <c:v>156.85100000000023</c:v>
                </c:pt>
                <c:pt idx="85">
                  <c:v>156.005</c:v>
                </c:pt>
                <c:pt idx="86">
                  <c:v>164.35600000000022</c:v>
                </c:pt>
                <c:pt idx="87">
                  <c:v>163.18</c:v>
                </c:pt>
                <c:pt idx="88">
                  <c:v>162.64299999999997</c:v>
                </c:pt>
                <c:pt idx="89">
                  <c:v>156.97800000000001</c:v>
                </c:pt>
                <c:pt idx="90">
                  <c:v>153.58700000000007</c:v>
                </c:pt>
                <c:pt idx="91">
                  <c:v>149.93200000000004</c:v>
                </c:pt>
                <c:pt idx="92">
                  <c:v>148.62200000000001</c:v>
                </c:pt>
                <c:pt idx="93">
                  <c:v>150.09300000000002</c:v>
                </c:pt>
                <c:pt idx="94">
                  <c:v>153.02500000000001</c:v>
                </c:pt>
                <c:pt idx="95">
                  <c:v>163.42200000000022</c:v>
                </c:pt>
                <c:pt idx="96">
                  <c:v>160.09200000000001</c:v>
                </c:pt>
                <c:pt idx="97">
                  <c:v>155.24699999999999</c:v>
                </c:pt>
                <c:pt idx="98">
                  <c:v>151.74099999999999</c:v>
                </c:pt>
                <c:pt idx="99">
                  <c:v>152.31800000000001</c:v>
                </c:pt>
                <c:pt idx="100">
                  <c:v>151.298</c:v>
                </c:pt>
                <c:pt idx="101">
                  <c:v>157.77699999999999</c:v>
                </c:pt>
                <c:pt idx="102">
                  <c:v>158.18900000000002</c:v>
                </c:pt>
                <c:pt idx="103">
                  <c:v>160.08600000000001</c:v>
                </c:pt>
                <c:pt idx="104">
                  <c:v>161.33700000000007</c:v>
                </c:pt>
                <c:pt idx="105">
                  <c:v>159.89400000000001</c:v>
                </c:pt>
                <c:pt idx="106">
                  <c:v>159.80500000000001</c:v>
                </c:pt>
                <c:pt idx="107">
                  <c:v>159.80500000000001</c:v>
                </c:pt>
                <c:pt idx="108">
                  <c:v>159.66999999999999</c:v>
                </c:pt>
                <c:pt idx="109">
                  <c:v>157.83800000000022</c:v>
                </c:pt>
                <c:pt idx="110">
                  <c:v>156.18</c:v>
                </c:pt>
                <c:pt idx="111">
                  <c:v>156.31800000000001</c:v>
                </c:pt>
                <c:pt idx="112">
                  <c:v>156.31800000000001</c:v>
                </c:pt>
                <c:pt idx="113">
                  <c:v>155.76599999999999</c:v>
                </c:pt>
                <c:pt idx="114">
                  <c:v>147.066</c:v>
                </c:pt>
                <c:pt idx="115">
                  <c:v>138.76999999999998</c:v>
                </c:pt>
                <c:pt idx="116">
                  <c:v>138.761</c:v>
                </c:pt>
                <c:pt idx="117">
                  <c:v>140.721</c:v>
                </c:pt>
                <c:pt idx="118">
                  <c:v>140.739</c:v>
                </c:pt>
                <c:pt idx="119">
                  <c:v>142.708</c:v>
                </c:pt>
                <c:pt idx="120">
                  <c:v>147.56399999999999</c:v>
                </c:pt>
                <c:pt idx="121">
                  <c:v>158.56900000000002</c:v>
                </c:pt>
                <c:pt idx="122">
                  <c:v>158.65800000000004</c:v>
                </c:pt>
                <c:pt idx="123">
                  <c:v>150.03399999999999</c:v>
                </c:pt>
                <c:pt idx="124">
                  <c:v>149.02500000000001</c:v>
                </c:pt>
                <c:pt idx="125">
                  <c:v>153.505</c:v>
                </c:pt>
                <c:pt idx="126">
                  <c:v>153.124</c:v>
                </c:pt>
                <c:pt idx="127">
                  <c:v>152.167</c:v>
                </c:pt>
                <c:pt idx="128">
                  <c:v>140.75700000000001</c:v>
                </c:pt>
                <c:pt idx="129">
                  <c:v>134.65700000000001</c:v>
                </c:pt>
                <c:pt idx="130">
                  <c:v>145.518</c:v>
                </c:pt>
                <c:pt idx="131">
                  <c:v>149.12700000000001</c:v>
                </c:pt>
                <c:pt idx="132">
                  <c:v>149.19</c:v>
                </c:pt>
                <c:pt idx="133">
                  <c:v>149.001</c:v>
                </c:pt>
                <c:pt idx="134">
                  <c:v>153.535</c:v>
                </c:pt>
                <c:pt idx="135">
                  <c:v>159.16800000000001</c:v>
                </c:pt>
                <c:pt idx="136">
                  <c:v>170.03100000000001</c:v>
                </c:pt>
                <c:pt idx="137">
                  <c:v>162.61899999999997</c:v>
                </c:pt>
                <c:pt idx="138">
                  <c:v>172.67499999999998</c:v>
                </c:pt>
                <c:pt idx="139">
                  <c:v>152.61399999999998</c:v>
                </c:pt>
                <c:pt idx="140">
                  <c:v>149.56800000000001</c:v>
                </c:pt>
                <c:pt idx="141">
                  <c:v>146.97300000000001</c:v>
                </c:pt>
                <c:pt idx="142">
                  <c:v>146.97399999999999</c:v>
                </c:pt>
                <c:pt idx="143">
                  <c:v>154.41999999999999</c:v>
                </c:pt>
                <c:pt idx="144">
                  <c:v>153.41999999999999</c:v>
                </c:pt>
                <c:pt idx="145">
                  <c:v>153.41999999999999</c:v>
                </c:pt>
                <c:pt idx="146">
                  <c:v>147.37900000000002</c:v>
                </c:pt>
                <c:pt idx="147">
                  <c:v>145.09900000000002</c:v>
                </c:pt>
                <c:pt idx="148">
                  <c:v>144.089</c:v>
                </c:pt>
                <c:pt idx="149">
                  <c:v>144.732</c:v>
                </c:pt>
                <c:pt idx="150">
                  <c:v>148.584</c:v>
                </c:pt>
                <c:pt idx="151">
                  <c:v>148.77499999999998</c:v>
                </c:pt>
                <c:pt idx="152">
                  <c:v>144.24699999999999</c:v>
                </c:pt>
                <c:pt idx="153">
                  <c:v>136.78700000000001</c:v>
                </c:pt>
                <c:pt idx="154">
                  <c:v>122.97799999999999</c:v>
                </c:pt>
                <c:pt idx="155">
                  <c:v>120.45</c:v>
                </c:pt>
                <c:pt idx="156">
                  <c:v>121.43899999999999</c:v>
                </c:pt>
                <c:pt idx="157">
                  <c:v>120.318</c:v>
                </c:pt>
                <c:pt idx="158">
                  <c:v>115.33499999999999</c:v>
                </c:pt>
                <c:pt idx="159">
                  <c:v>115.369</c:v>
                </c:pt>
                <c:pt idx="160">
                  <c:v>113.01100000000002</c:v>
                </c:pt>
                <c:pt idx="161">
                  <c:v>114.54600000000002</c:v>
                </c:pt>
                <c:pt idx="162">
                  <c:v>112.89400000000002</c:v>
                </c:pt>
                <c:pt idx="163">
                  <c:v>110.52800000000001</c:v>
                </c:pt>
                <c:pt idx="164">
                  <c:v>111.798</c:v>
                </c:pt>
                <c:pt idx="165">
                  <c:v>112.90400000000002</c:v>
                </c:pt>
                <c:pt idx="166">
                  <c:v>119.148</c:v>
                </c:pt>
                <c:pt idx="167">
                  <c:v>127.96000000000002</c:v>
                </c:pt>
                <c:pt idx="168">
                  <c:v>129.702</c:v>
                </c:pt>
                <c:pt idx="169">
                  <c:v>128.96200000000007</c:v>
                </c:pt>
                <c:pt idx="170">
                  <c:v>129.239</c:v>
                </c:pt>
                <c:pt idx="171">
                  <c:v>129.447</c:v>
                </c:pt>
                <c:pt idx="172">
                  <c:v>128.58000000000001</c:v>
                </c:pt>
                <c:pt idx="173">
                  <c:v>132.23699999999999</c:v>
                </c:pt>
                <c:pt idx="174">
                  <c:v>136.00899999999999</c:v>
                </c:pt>
                <c:pt idx="175">
                  <c:v>142.02700000000004</c:v>
                </c:pt>
                <c:pt idx="176">
                  <c:v>143.39000000000001</c:v>
                </c:pt>
                <c:pt idx="177">
                  <c:v>143.33000000000001</c:v>
                </c:pt>
                <c:pt idx="178">
                  <c:v>142.38500000000022</c:v>
                </c:pt>
                <c:pt idx="179">
                  <c:v>146.66200000000001</c:v>
                </c:pt>
                <c:pt idx="180">
                  <c:v>152.48800000000023</c:v>
                </c:pt>
                <c:pt idx="181">
                  <c:v>161.023</c:v>
                </c:pt>
                <c:pt idx="182">
                  <c:v>154.56800000000001</c:v>
                </c:pt>
                <c:pt idx="183">
                  <c:v>145.96900000000002</c:v>
                </c:pt>
                <c:pt idx="184">
                  <c:v>139.90600000000001</c:v>
                </c:pt>
                <c:pt idx="185">
                  <c:v>146.316</c:v>
                </c:pt>
                <c:pt idx="186">
                  <c:v>145.39800000000022</c:v>
                </c:pt>
                <c:pt idx="187">
                  <c:v>146.82700000000023</c:v>
                </c:pt>
                <c:pt idx="188">
                  <c:v>148.19399999999999</c:v>
                </c:pt>
                <c:pt idx="189">
                  <c:v>140.69200000000001</c:v>
                </c:pt>
                <c:pt idx="190">
                  <c:v>146.172</c:v>
                </c:pt>
                <c:pt idx="191">
                  <c:v>168.43100000000001</c:v>
                </c:pt>
                <c:pt idx="192">
                  <c:v>179.11799999999999</c:v>
                </c:pt>
                <c:pt idx="193">
                  <c:v>192.25399999999999</c:v>
                </c:pt>
                <c:pt idx="194">
                  <c:v>251.363</c:v>
                </c:pt>
                <c:pt idx="195">
                  <c:v>217.983</c:v>
                </c:pt>
                <c:pt idx="196">
                  <c:v>201.46800000000007</c:v>
                </c:pt>
                <c:pt idx="197">
                  <c:v>189.72499999999999</c:v>
                </c:pt>
                <c:pt idx="198">
                  <c:v>184.32800000000026</c:v>
                </c:pt>
                <c:pt idx="199">
                  <c:v>185.14699999999999</c:v>
                </c:pt>
                <c:pt idx="200">
                  <c:v>229.46</c:v>
                </c:pt>
                <c:pt idx="201">
                  <c:v>266.214</c:v>
                </c:pt>
                <c:pt idx="202">
                  <c:v>252.97499999999999</c:v>
                </c:pt>
                <c:pt idx="203">
                  <c:v>182.43</c:v>
                </c:pt>
                <c:pt idx="204">
                  <c:v>172.81700000000001</c:v>
                </c:pt>
                <c:pt idx="205">
                  <c:v>161.99200000000022</c:v>
                </c:pt>
                <c:pt idx="206">
                  <c:v>163.93</c:v>
                </c:pt>
                <c:pt idx="207">
                  <c:v>183.91200000000001</c:v>
                </c:pt>
                <c:pt idx="208">
                  <c:v>198.14</c:v>
                </c:pt>
                <c:pt idx="209">
                  <c:v>199.78</c:v>
                </c:pt>
                <c:pt idx="210">
                  <c:v>197.34900000000002</c:v>
                </c:pt>
                <c:pt idx="211">
                  <c:v>216.14899999999997</c:v>
                </c:pt>
                <c:pt idx="212">
                  <c:v>223.84900000000002</c:v>
                </c:pt>
                <c:pt idx="213">
                  <c:v>224.81100000000001</c:v>
                </c:pt>
                <c:pt idx="214">
                  <c:v>250.54499999999999</c:v>
                </c:pt>
                <c:pt idx="215">
                  <c:v>243.50299999999999</c:v>
                </c:pt>
                <c:pt idx="216">
                  <c:v>242.024</c:v>
                </c:pt>
                <c:pt idx="217">
                  <c:v>235.309</c:v>
                </c:pt>
                <c:pt idx="218">
                  <c:v>233.39000000000001</c:v>
                </c:pt>
                <c:pt idx="219">
                  <c:v>255.91900000000001</c:v>
                </c:pt>
                <c:pt idx="220">
                  <c:v>262.70699999999937</c:v>
                </c:pt>
                <c:pt idx="221">
                  <c:v>258.40599999999949</c:v>
                </c:pt>
                <c:pt idx="222">
                  <c:v>287.79099999999943</c:v>
                </c:pt>
                <c:pt idx="223">
                  <c:v>282.56099999999969</c:v>
                </c:pt>
                <c:pt idx="224">
                  <c:v>283.75299999999999</c:v>
                </c:pt>
                <c:pt idx="225">
                  <c:v>257.18299999999999</c:v>
                </c:pt>
                <c:pt idx="226">
                  <c:v>230.06200000000001</c:v>
                </c:pt>
                <c:pt idx="227">
                  <c:v>226.25899999999999</c:v>
                </c:pt>
                <c:pt idx="228">
                  <c:v>230.89500000000001</c:v>
                </c:pt>
                <c:pt idx="229">
                  <c:v>247.81700000000001</c:v>
                </c:pt>
                <c:pt idx="230">
                  <c:v>252.57399999999998</c:v>
                </c:pt>
                <c:pt idx="231">
                  <c:v>246.74199999999999</c:v>
                </c:pt>
                <c:pt idx="232">
                  <c:v>235.88900000000001</c:v>
                </c:pt>
                <c:pt idx="233">
                  <c:v>243.01399999999998</c:v>
                </c:pt>
                <c:pt idx="234">
                  <c:v>257.74200000000002</c:v>
                </c:pt>
                <c:pt idx="235">
                  <c:v>266.38</c:v>
                </c:pt>
                <c:pt idx="236">
                  <c:v>268.21099999999956</c:v>
                </c:pt>
                <c:pt idx="237">
                  <c:v>269.64299999999997</c:v>
                </c:pt>
                <c:pt idx="238">
                  <c:v>268.30200000000002</c:v>
                </c:pt>
                <c:pt idx="239">
                  <c:v>273.68200000000002</c:v>
                </c:pt>
                <c:pt idx="240">
                  <c:v>266.56599999999969</c:v>
                </c:pt>
                <c:pt idx="241">
                  <c:v>259.58300000000003</c:v>
                </c:pt>
                <c:pt idx="242">
                  <c:v>253.738</c:v>
                </c:pt>
                <c:pt idx="243">
                  <c:v>257.23399999999918</c:v>
                </c:pt>
                <c:pt idx="244">
                  <c:v>253.816</c:v>
                </c:pt>
                <c:pt idx="245">
                  <c:v>251.40100000000001</c:v>
                </c:pt>
                <c:pt idx="246">
                  <c:v>244.32700000000023</c:v>
                </c:pt>
                <c:pt idx="247">
                  <c:v>237.89800000000022</c:v>
                </c:pt>
                <c:pt idx="248">
                  <c:v>240.06300000000002</c:v>
                </c:pt>
                <c:pt idx="249">
                  <c:v>235.21199999999999</c:v>
                </c:pt>
                <c:pt idx="250">
                  <c:v>242.05700000000004</c:v>
                </c:pt>
                <c:pt idx="251">
                  <c:v>252.77599999999998</c:v>
                </c:pt>
                <c:pt idx="252">
                  <c:v>251.35800000000026</c:v>
                </c:pt>
                <c:pt idx="253">
                  <c:v>260.02999999999969</c:v>
                </c:pt>
                <c:pt idx="254">
                  <c:v>255.8</c:v>
                </c:pt>
                <c:pt idx="255">
                  <c:v>250.15200000000004</c:v>
                </c:pt>
                <c:pt idx="256">
                  <c:v>246.00899999999999</c:v>
                </c:pt>
                <c:pt idx="257">
                  <c:v>239.727</c:v>
                </c:pt>
                <c:pt idx="258">
                  <c:v>228.53700000000001</c:v>
                </c:pt>
                <c:pt idx="259">
                  <c:v>203.98600000000022</c:v>
                </c:pt>
                <c:pt idx="260">
                  <c:v>202.417</c:v>
                </c:pt>
                <c:pt idx="261">
                  <c:v>203.78</c:v>
                </c:pt>
                <c:pt idx="262">
                  <c:v>208.07599999999999</c:v>
                </c:pt>
                <c:pt idx="263">
                  <c:v>205.374</c:v>
                </c:pt>
                <c:pt idx="264">
                  <c:v>197.43900000000002</c:v>
                </c:pt>
                <c:pt idx="265">
                  <c:v>202.14499999999998</c:v>
                </c:pt>
                <c:pt idx="266">
                  <c:v>208.483</c:v>
                </c:pt>
                <c:pt idx="267">
                  <c:v>216.95800000000023</c:v>
                </c:pt>
                <c:pt idx="268">
                  <c:v>222.90800000000004</c:v>
                </c:pt>
                <c:pt idx="269">
                  <c:v>241.28900000000002</c:v>
                </c:pt>
                <c:pt idx="270">
                  <c:v>269.16699999999969</c:v>
                </c:pt>
                <c:pt idx="271">
                  <c:v>274.14800000000002</c:v>
                </c:pt>
                <c:pt idx="272">
                  <c:v>274.45699999999937</c:v>
                </c:pt>
                <c:pt idx="273">
                  <c:v>294.93299999999937</c:v>
                </c:pt>
                <c:pt idx="274">
                  <c:v>278.88</c:v>
                </c:pt>
                <c:pt idx="275">
                  <c:v>277.81299999999999</c:v>
                </c:pt>
                <c:pt idx="276">
                  <c:v>283.86</c:v>
                </c:pt>
                <c:pt idx="277">
                  <c:v>298.36</c:v>
                </c:pt>
                <c:pt idx="278">
                  <c:v>292.41899999999919</c:v>
                </c:pt>
                <c:pt idx="279">
                  <c:v>297.77199999999937</c:v>
                </c:pt>
                <c:pt idx="280">
                  <c:v>320.22899999999925</c:v>
                </c:pt>
                <c:pt idx="281">
                  <c:v>325.00099999999969</c:v>
                </c:pt>
                <c:pt idx="282">
                  <c:v>333.31599999999969</c:v>
                </c:pt>
                <c:pt idx="283">
                  <c:v>332.92200000000003</c:v>
                </c:pt>
                <c:pt idx="284">
                  <c:v>341.06700000000001</c:v>
                </c:pt>
                <c:pt idx="285">
                  <c:v>328.202</c:v>
                </c:pt>
                <c:pt idx="286">
                  <c:v>333.16</c:v>
                </c:pt>
                <c:pt idx="287">
                  <c:v>334.53</c:v>
                </c:pt>
                <c:pt idx="288">
                  <c:v>336.40299999999957</c:v>
                </c:pt>
                <c:pt idx="289">
                  <c:v>375.81099999999969</c:v>
                </c:pt>
                <c:pt idx="290">
                  <c:v>369.26</c:v>
                </c:pt>
                <c:pt idx="291">
                  <c:v>374.26299999999969</c:v>
                </c:pt>
                <c:pt idx="292">
                  <c:v>370.22299999999956</c:v>
                </c:pt>
                <c:pt idx="293">
                  <c:v>362.19600000000003</c:v>
                </c:pt>
                <c:pt idx="294">
                  <c:v>377.96199999999936</c:v>
                </c:pt>
                <c:pt idx="295">
                  <c:v>384.76599999999956</c:v>
                </c:pt>
                <c:pt idx="296">
                  <c:v>384.51</c:v>
                </c:pt>
                <c:pt idx="297">
                  <c:v>412.34199999999993</c:v>
                </c:pt>
                <c:pt idx="298">
                  <c:v>428.827</c:v>
                </c:pt>
                <c:pt idx="299">
                  <c:v>432.68799999999999</c:v>
                </c:pt>
                <c:pt idx="300">
                  <c:v>453.91499999999957</c:v>
                </c:pt>
                <c:pt idx="301">
                  <c:v>465.42099999999937</c:v>
                </c:pt>
                <c:pt idx="302">
                  <c:v>466.52299999999963</c:v>
                </c:pt>
                <c:pt idx="303">
                  <c:v>478.88799999999969</c:v>
                </c:pt>
                <c:pt idx="304">
                  <c:v>483.19499999999999</c:v>
                </c:pt>
                <c:pt idx="305">
                  <c:v>472.65400000000045</c:v>
                </c:pt>
                <c:pt idx="306">
                  <c:v>457.61700000000002</c:v>
                </c:pt>
                <c:pt idx="307">
                  <c:v>445.16199999999969</c:v>
                </c:pt>
                <c:pt idx="308">
                  <c:v>444.90899999999937</c:v>
                </c:pt>
                <c:pt idx="309">
                  <c:v>442.95800000000003</c:v>
                </c:pt>
                <c:pt idx="310">
                  <c:v>441.88099999999969</c:v>
                </c:pt>
                <c:pt idx="311">
                  <c:v>440.27199999999937</c:v>
                </c:pt>
                <c:pt idx="312">
                  <c:v>433.39099999999956</c:v>
                </c:pt>
                <c:pt idx="313">
                  <c:v>425.89099999999956</c:v>
                </c:pt>
                <c:pt idx="314">
                  <c:v>435.50799999999964</c:v>
                </c:pt>
                <c:pt idx="315">
                  <c:v>418.34300000000002</c:v>
                </c:pt>
                <c:pt idx="316">
                  <c:v>407.74400000000031</c:v>
                </c:pt>
                <c:pt idx="317">
                  <c:v>404.02499999999969</c:v>
                </c:pt>
                <c:pt idx="318">
                  <c:v>394.61</c:v>
                </c:pt>
                <c:pt idx="319">
                  <c:v>403.48099999999937</c:v>
                </c:pt>
                <c:pt idx="320">
                  <c:v>408.875</c:v>
                </c:pt>
                <c:pt idx="321">
                  <c:v>406.96199999999936</c:v>
                </c:pt>
                <c:pt idx="322">
                  <c:v>420.68700000000001</c:v>
                </c:pt>
                <c:pt idx="323">
                  <c:v>419.279</c:v>
                </c:pt>
                <c:pt idx="324">
                  <c:v>423.44799999999969</c:v>
                </c:pt>
                <c:pt idx="325">
                  <c:v>438.04500000000002</c:v>
                </c:pt>
                <c:pt idx="326">
                  <c:v>460.44900000000001</c:v>
                </c:pt>
                <c:pt idx="327">
                  <c:v>471.67</c:v>
                </c:pt>
                <c:pt idx="328">
                  <c:v>495.73299999999949</c:v>
                </c:pt>
                <c:pt idx="329">
                  <c:v>513.69400000000053</c:v>
                </c:pt>
                <c:pt idx="330">
                  <c:v>546.17600000000004</c:v>
                </c:pt>
                <c:pt idx="331">
                  <c:v>581.072</c:v>
                </c:pt>
                <c:pt idx="332">
                  <c:v>585.51400000000001</c:v>
                </c:pt>
                <c:pt idx="333">
                  <c:v>597.404</c:v>
                </c:pt>
                <c:pt idx="334">
                  <c:v>571.149</c:v>
                </c:pt>
                <c:pt idx="335">
                  <c:v>590.99099999999999</c:v>
                </c:pt>
                <c:pt idx="336">
                  <c:v>597.11900000000003</c:v>
                </c:pt>
                <c:pt idx="337">
                  <c:v>552.58000000000004</c:v>
                </c:pt>
                <c:pt idx="338">
                  <c:v>526.71400000000051</c:v>
                </c:pt>
                <c:pt idx="339">
                  <c:v>522.61400000000003</c:v>
                </c:pt>
                <c:pt idx="340">
                  <c:v>524.149</c:v>
                </c:pt>
                <c:pt idx="341">
                  <c:v>503.58599999999956</c:v>
                </c:pt>
                <c:pt idx="342">
                  <c:v>505.666</c:v>
                </c:pt>
                <c:pt idx="343">
                  <c:v>523.05199999999911</c:v>
                </c:pt>
                <c:pt idx="344">
                  <c:v>571.43599999999947</c:v>
                </c:pt>
                <c:pt idx="345">
                  <c:v>576.53199999999947</c:v>
                </c:pt>
                <c:pt idx="346">
                  <c:v>578.79300000000103</c:v>
                </c:pt>
                <c:pt idx="347">
                  <c:v>598.21299999999997</c:v>
                </c:pt>
                <c:pt idx="348">
                  <c:v>601.65199999999948</c:v>
                </c:pt>
                <c:pt idx="349">
                  <c:v>610.76800000000003</c:v>
                </c:pt>
                <c:pt idx="350">
                  <c:v>562.97799999999938</c:v>
                </c:pt>
                <c:pt idx="351">
                  <c:v>542.51099999999997</c:v>
                </c:pt>
                <c:pt idx="352">
                  <c:v>536.16800000000001</c:v>
                </c:pt>
                <c:pt idx="353">
                  <c:v>552.42399999999998</c:v>
                </c:pt>
                <c:pt idx="354">
                  <c:v>538.97199999999998</c:v>
                </c:pt>
                <c:pt idx="355">
                  <c:v>529.96499999999946</c:v>
                </c:pt>
                <c:pt idx="356">
                  <c:v>543.69400000000053</c:v>
                </c:pt>
                <c:pt idx="357">
                  <c:v>556.69200000000001</c:v>
                </c:pt>
                <c:pt idx="358">
                  <c:v>551.15899999999999</c:v>
                </c:pt>
                <c:pt idx="359">
                  <c:v>539.49900000000002</c:v>
                </c:pt>
                <c:pt idx="360">
                  <c:v>540.47500000000002</c:v>
                </c:pt>
                <c:pt idx="361">
                  <c:v>559.77500000000055</c:v>
                </c:pt>
                <c:pt idx="362">
                  <c:v>571.98299999999949</c:v>
                </c:pt>
                <c:pt idx="363">
                  <c:v>574.49199999999996</c:v>
                </c:pt>
                <c:pt idx="364">
                  <c:v>589.71299999999997</c:v>
                </c:pt>
                <c:pt idx="365">
                  <c:v>595.69000000000005</c:v>
                </c:pt>
                <c:pt idx="366">
                  <c:v>599.755</c:v>
                </c:pt>
                <c:pt idx="367">
                  <c:v>599.04999999999939</c:v>
                </c:pt>
                <c:pt idx="368">
                  <c:v>599.38599999999997</c:v>
                </c:pt>
                <c:pt idx="369">
                  <c:v>599.92899999999997</c:v>
                </c:pt>
                <c:pt idx="370">
                  <c:v>605.65899999999999</c:v>
                </c:pt>
                <c:pt idx="371">
                  <c:v>610.47699999999998</c:v>
                </c:pt>
                <c:pt idx="372">
                  <c:v>614.94899999999996</c:v>
                </c:pt>
                <c:pt idx="373">
                  <c:v>609.25199999999938</c:v>
                </c:pt>
                <c:pt idx="374">
                  <c:v>609.57000000000005</c:v>
                </c:pt>
                <c:pt idx="375">
                  <c:v>613.53099999999949</c:v>
                </c:pt>
                <c:pt idx="376">
                  <c:v>617.4369999999991</c:v>
                </c:pt>
                <c:pt idx="377">
                  <c:v>622.99300000000005</c:v>
                </c:pt>
                <c:pt idx="378">
                  <c:v>667.4</c:v>
                </c:pt>
                <c:pt idx="379">
                  <c:v>657.28500000000054</c:v>
                </c:pt>
                <c:pt idx="380">
                  <c:v>645.25699999999949</c:v>
                </c:pt>
                <c:pt idx="381">
                  <c:v>630.55599999999947</c:v>
                </c:pt>
                <c:pt idx="382">
                  <c:v>617.60199999999998</c:v>
                </c:pt>
                <c:pt idx="383">
                  <c:v>627.68499999999995</c:v>
                </c:pt>
                <c:pt idx="384">
                  <c:v>630.59500000000003</c:v>
                </c:pt>
                <c:pt idx="385">
                  <c:v>615.57500000000005</c:v>
                </c:pt>
                <c:pt idx="386">
                  <c:v>605.91</c:v>
                </c:pt>
                <c:pt idx="387">
                  <c:v>595.375</c:v>
                </c:pt>
                <c:pt idx="388">
                  <c:v>608.88099999999997</c:v>
                </c:pt>
                <c:pt idx="389">
                  <c:v>621.904</c:v>
                </c:pt>
                <c:pt idx="390">
                  <c:v>622.40699999999947</c:v>
                </c:pt>
                <c:pt idx="391">
                  <c:v>631.21600000000001</c:v>
                </c:pt>
                <c:pt idx="392">
                  <c:v>618.87099999999998</c:v>
                </c:pt>
                <c:pt idx="393">
                  <c:v>595.67499999999995</c:v>
                </c:pt>
                <c:pt idx="394">
                  <c:v>565.39199999999948</c:v>
                </c:pt>
                <c:pt idx="395">
                  <c:v>552.58600000000001</c:v>
                </c:pt>
                <c:pt idx="396">
                  <c:v>568.428</c:v>
                </c:pt>
                <c:pt idx="397">
                  <c:v>559.91899999999998</c:v>
                </c:pt>
                <c:pt idx="398">
                  <c:v>560.61599999999999</c:v>
                </c:pt>
                <c:pt idx="399">
                  <c:v>562.51300000000003</c:v>
                </c:pt>
                <c:pt idx="400">
                  <c:v>562.62099999999998</c:v>
                </c:pt>
                <c:pt idx="401">
                  <c:v>565.64499999999998</c:v>
                </c:pt>
                <c:pt idx="402">
                  <c:v>569.16199999999947</c:v>
                </c:pt>
                <c:pt idx="403">
                  <c:v>579.72500000000002</c:v>
                </c:pt>
                <c:pt idx="404">
                  <c:v>584.16199999999947</c:v>
                </c:pt>
                <c:pt idx="405">
                  <c:v>589.32399999999996</c:v>
                </c:pt>
                <c:pt idx="406">
                  <c:v>589.16199999999947</c:v>
                </c:pt>
                <c:pt idx="407">
                  <c:v>582.99</c:v>
                </c:pt>
                <c:pt idx="408">
                  <c:v>588.21</c:v>
                </c:pt>
                <c:pt idx="409">
                  <c:v>591.524</c:v>
                </c:pt>
                <c:pt idx="410">
                  <c:v>595.83799999999871</c:v>
                </c:pt>
                <c:pt idx="411">
                  <c:v>602.46299999999871</c:v>
                </c:pt>
                <c:pt idx="412">
                  <c:v>598.99400000000003</c:v>
                </c:pt>
                <c:pt idx="413">
                  <c:v>585.28200000000004</c:v>
                </c:pt>
                <c:pt idx="414">
                  <c:v>574.73900000000003</c:v>
                </c:pt>
                <c:pt idx="415">
                  <c:v>573.64499999999998</c:v>
                </c:pt>
                <c:pt idx="416">
                  <c:v>571.29999999999995</c:v>
                </c:pt>
                <c:pt idx="417">
                  <c:v>576.90599999999949</c:v>
                </c:pt>
                <c:pt idx="418">
                  <c:v>580.85699999999872</c:v>
                </c:pt>
                <c:pt idx="419">
                  <c:v>579.74199999999996</c:v>
                </c:pt>
                <c:pt idx="420">
                  <c:v>586.67499999999995</c:v>
                </c:pt>
                <c:pt idx="421">
                  <c:v>592.31999999999948</c:v>
                </c:pt>
                <c:pt idx="422">
                  <c:v>596.94499999999948</c:v>
                </c:pt>
                <c:pt idx="423">
                  <c:v>604.86300000000006</c:v>
                </c:pt>
                <c:pt idx="424">
                  <c:v>600.05699999999911</c:v>
                </c:pt>
                <c:pt idx="425">
                  <c:v>589.75099999999998</c:v>
                </c:pt>
                <c:pt idx="426">
                  <c:v>578.13300000000004</c:v>
                </c:pt>
                <c:pt idx="427">
                  <c:v>577.88300000000004</c:v>
                </c:pt>
                <c:pt idx="428">
                  <c:v>586.23699999999997</c:v>
                </c:pt>
                <c:pt idx="429">
                  <c:v>617.16300000000001</c:v>
                </c:pt>
                <c:pt idx="430">
                  <c:v>613.09100000000001</c:v>
                </c:pt>
                <c:pt idx="431">
                  <c:v>605.8359999999991</c:v>
                </c:pt>
                <c:pt idx="432">
                  <c:v>618.12</c:v>
                </c:pt>
                <c:pt idx="433">
                  <c:v>602.34699999999884</c:v>
                </c:pt>
                <c:pt idx="434">
                  <c:v>609.11500000000001</c:v>
                </c:pt>
                <c:pt idx="435">
                  <c:v>622.38800000000003</c:v>
                </c:pt>
                <c:pt idx="436">
                  <c:v>642.19100000000003</c:v>
                </c:pt>
                <c:pt idx="437">
                  <c:v>625.39699999999948</c:v>
                </c:pt>
                <c:pt idx="438">
                  <c:v>599.54199999999946</c:v>
                </c:pt>
                <c:pt idx="439">
                  <c:v>577.4</c:v>
                </c:pt>
                <c:pt idx="440">
                  <c:v>531.03199999999947</c:v>
                </c:pt>
                <c:pt idx="441">
                  <c:v>522.99699999999996</c:v>
                </c:pt>
                <c:pt idx="442">
                  <c:v>509.16300000000001</c:v>
                </c:pt>
                <c:pt idx="443">
                  <c:v>516.69100000000003</c:v>
                </c:pt>
                <c:pt idx="444">
                  <c:v>531.47699999999998</c:v>
                </c:pt>
                <c:pt idx="445">
                  <c:v>534.85499999999911</c:v>
                </c:pt>
                <c:pt idx="446">
                  <c:v>546.26499999999999</c:v>
                </c:pt>
                <c:pt idx="447">
                  <c:v>570.50900000000001</c:v>
                </c:pt>
                <c:pt idx="448">
                  <c:v>609.31999999999948</c:v>
                </c:pt>
                <c:pt idx="449">
                  <c:v>596.24199999999996</c:v>
                </c:pt>
                <c:pt idx="450">
                  <c:v>622.73599999999999</c:v>
                </c:pt>
                <c:pt idx="451">
                  <c:v>643.41699999999946</c:v>
                </c:pt>
                <c:pt idx="452">
                  <c:v>643.00199999999938</c:v>
                </c:pt>
                <c:pt idx="453">
                  <c:v>641.15300000000002</c:v>
                </c:pt>
                <c:pt idx="454">
                  <c:v>663.24400000000003</c:v>
                </c:pt>
                <c:pt idx="455">
                  <c:v>663.49099999999999</c:v>
                </c:pt>
                <c:pt idx="456">
                  <c:v>656.82999999999947</c:v>
                </c:pt>
                <c:pt idx="457">
                  <c:v>661.16699999999946</c:v>
                </c:pt>
                <c:pt idx="458">
                  <c:v>657.06899999999996</c:v>
                </c:pt>
                <c:pt idx="459">
                  <c:v>662.35899999999947</c:v>
                </c:pt>
                <c:pt idx="460">
                  <c:v>642.11800000000005</c:v>
                </c:pt>
                <c:pt idx="461">
                  <c:v>651.27000000000055</c:v>
                </c:pt>
                <c:pt idx="462">
                  <c:v>654.495</c:v>
                </c:pt>
                <c:pt idx="463">
                  <c:v>681.97199999999998</c:v>
                </c:pt>
                <c:pt idx="464">
                  <c:v>670.23699999999997</c:v>
                </c:pt>
                <c:pt idx="465">
                  <c:v>660.67000000000053</c:v>
                </c:pt>
                <c:pt idx="466">
                  <c:v>643.83999999999946</c:v>
                </c:pt>
                <c:pt idx="467">
                  <c:v>631.13300000000004</c:v>
                </c:pt>
                <c:pt idx="468">
                  <c:v>601.09900000000005</c:v>
                </c:pt>
                <c:pt idx="469">
                  <c:v>611.39800000000002</c:v>
                </c:pt>
                <c:pt idx="470">
                  <c:v>619.98500000000001</c:v>
                </c:pt>
                <c:pt idx="471">
                  <c:v>626.65300000000002</c:v>
                </c:pt>
                <c:pt idx="472">
                  <c:v>639.00900000000001</c:v>
                </c:pt>
                <c:pt idx="473">
                  <c:v>655.86199999999872</c:v>
                </c:pt>
                <c:pt idx="474">
                  <c:v>661.61500000000001</c:v>
                </c:pt>
                <c:pt idx="475">
                  <c:v>662.01400000000001</c:v>
                </c:pt>
                <c:pt idx="476">
                  <c:v>670.3669999999986</c:v>
                </c:pt>
                <c:pt idx="477">
                  <c:v>675.79600000000005</c:v>
                </c:pt>
                <c:pt idx="478">
                  <c:v>675.80699999999911</c:v>
                </c:pt>
                <c:pt idx="479">
                  <c:v>669.07799999999997</c:v>
                </c:pt>
                <c:pt idx="480">
                  <c:v>670.99099999999999</c:v>
                </c:pt>
                <c:pt idx="481">
                  <c:v>671.64400000000001</c:v>
                </c:pt>
                <c:pt idx="482">
                  <c:v>641.80399999999997</c:v>
                </c:pt>
                <c:pt idx="483">
                  <c:v>649.95999999999947</c:v>
                </c:pt>
                <c:pt idx="484">
                  <c:v>649.15599999999949</c:v>
                </c:pt>
                <c:pt idx="485">
                  <c:v>682.67499999999995</c:v>
                </c:pt>
                <c:pt idx="486">
                  <c:v>690.83799999999871</c:v>
                </c:pt>
                <c:pt idx="487">
                  <c:v>707.94099999999946</c:v>
                </c:pt>
                <c:pt idx="488">
                  <c:v>739.66499999999996</c:v>
                </c:pt>
                <c:pt idx="489">
                  <c:v>725.47299999999996</c:v>
                </c:pt>
                <c:pt idx="490">
                  <c:v>767.65499999999997</c:v>
                </c:pt>
                <c:pt idx="491">
                  <c:v>804.46899999999948</c:v>
                </c:pt>
                <c:pt idx="492">
                  <c:v>770.71500000000003</c:v>
                </c:pt>
                <c:pt idx="493">
                  <c:v>774.22699999999998</c:v>
                </c:pt>
                <c:pt idx="494">
                  <c:v>731.29700000000003</c:v>
                </c:pt>
                <c:pt idx="495">
                  <c:v>762.21</c:v>
                </c:pt>
                <c:pt idx="496">
                  <c:v>799.35499999999911</c:v>
                </c:pt>
                <c:pt idx="497">
                  <c:v>807.08100000000002</c:v>
                </c:pt>
                <c:pt idx="498">
                  <c:v>823.93499999999949</c:v>
                </c:pt>
                <c:pt idx="499">
                  <c:v>795.40300000000002</c:v>
                </c:pt>
                <c:pt idx="500">
                  <c:v>783.76099999999997</c:v>
                </c:pt>
                <c:pt idx="501">
                  <c:v>769.27599999999995</c:v>
                </c:pt>
                <c:pt idx="502">
                  <c:v>762.02099999999996</c:v>
                </c:pt>
                <c:pt idx="503">
                  <c:v>728.75300000000004</c:v>
                </c:pt>
                <c:pt idx="504">
                  <c:v>738.18200000000002</c:v>
                </c:pt>
                <c:pt idx="505">
                  <c:v>837.64199999999948</c:v>
                </c:pt>
                <c:pt idx="506">
                  <c:v>855.65499999999997</c:v>
                </c:pt>
                <c:pt idx="507">
                  <c:v>899.9</c:v>
                </c:pt>
                <c:pt idx="508">
                  <c:v>1007.643</c:v>
                </c:pt>
                <c:pt idx="509">
                  <c:v>994.77900000000091</c:v>
                </c:pt>
                <c:pt idx="510">
                  <c:v>1057.972</c:v>
                </c:pt>
                <c:pt idx="511">
                  <c:v>1082.8119999999999</c:v>
                </c:pt>
                <c:pt idx="512">
                  <c:v>1128.8909999999998</c:v>
                </c:pt>
                <c:pt idx="513">
                  <c:v>1191.501</c:v>
                </c:pt>
                <c:pt idx="514">
                  <c:v>1162.165</c:v>
                </c:pt>
                <c:pt idx="515">
                  <c:v>1060.011</c:v>
                </c:pt>
                <c:pt idx="516">
                  <c:v>913.85799999999847</c:v>
                </c:pt>
                <c:pt idx="517">
                  <c:v>870.03800000000001</c:v>
                </c:pt>
                <c:pt idx="518">
                  <c:v>902.60699999999997</c:v>
                </c:pt>
                <c:pt idx="519">
                  <c:v>875.93399999999997</c:v>
                </c:pt>
                <c:pt idx="520">
                  <c:v>838.51800000000003</c:v>
                </c:pt>
                <c:pt idx="521">
                  <c:v>778.27100000000053</c:v>
                </c:pt>
                <c:pt idx="522">
                  <c:v>789.83799999999871</c:v>
                </c:pt>
                <c:pt idx="523">
                  <c:v>816.52499999999998</c:v>
                </c:pt>
                <c:pt idx="524">
                  <c:v>842.06299999999896</c:v>
                </c:pt>
                <c:pt idx="525">
                  <c:v>850.34799999999859</c:v>
                </c:pt>
                <c:pt idx="526">
                  <c:v>842.70500000000004</c:v>
                </c:pt>
                <c:pt idx="527">
                  <c:v>774.32299999999884</c:v>
                </c:pt>
                <c:pt idx="528">
                  <c:v>747.48500000000001</c:v>
                </c:pt>
                <c:pt idx="529">
                  <c:v>759.18600000000004</c:v>
                </c:pt>
                <c:pt idx="530">
                  <c:v>790.3669999999986</c:v>
                </c:pt>
                <c:pt idx="531">
                  <c:v>788.45599999999911</c:v>
                </c:pt>
                <c:pt idx="532">
                  <c:v>752.70799999999997</c:v>
                </c:pt>
                <c:pt idx="533">
                  <c:v>736.98400000000004</c:v>
                </c:pt>
                <c:pt idx="534">
                  <c:v>754.49199999999996</c:v>
                </c:pt>
                <c:pt idx="535">
                  <c:v>761.95999999999947</c:v>
                </c:pt>
                <c:pt idx="536">
                  <c:v>786.36799999999869</c:v>
                </c:pt>
                <c:pt idx="537">
                  <c:v>797.99900000000002</c:v>
                </c:pt>
                <c:pt idx="538">
                  <c:v>817.17800000000091</c:v>
                </c:pt>
                <c:pt idx="539">
                  <c:v>839.08</c:v>
                </c:pt>
                <c:pt idx="540">
                  <c:v>843.59199999999998</c:v>
                </c:pt>
                <c:pt idx="541">
                  <c:v>837.00699999999949</c:v>
                </c:pt>
                <c:pt idx="542">
                  <c:v>829.43999999999949</c:v>
                </c:pt>
                <c:pt idx="543">
                  <c:v>826.10500000000002</c:v>
                </c:pt>
                <c:pt idx="544">
                  <c:v>810.476</c:v>
                </c:pt>
                <c:pt idx="545">
                  <c:v>769.41300000000001</c:v>
                </c:pt>
                <c:pt idx="546">
                  <c:v>780.69299999999998</c:v>
                </c:pt>
                <c:pt idx="547">
                  <c:v>795.88300000000004</c:v>
                </c:pt>
                <c:pt idx="548">
                  <c:v>845.048</c:v>
                </c:pt>
                <c:pt idx="549">
                  <c:v>837.00800000000004</c:v>
                </c:pt>
                <c:pt idx="550">
                  <c:v>821.25199999999938</c:v>
                </c:pt>
                <c:pt idx="551">
                  <c:v>830.23099999999999</c:v>
                </c:pt>
                <c:pt idx="552">
                  <c:v>870.62400000000002</c:v>
                </c:pt>
                <c:pt idx="553">
                  <c:v>912.90899999999999</c:v>
                </c:pt>
                <c:pt idx="554">
                  <c:v>912.90899999999999</c:v>
                </c:pt>
              </c:numCache>
            </c:numRef>
          </c:val>
          <c:smooth val="0"/>
        </c:ser>
        <c:ser>
          <c:idx val="2"/>
          <c:order val="2"/>
          <c:tx>
            <c:v>Spain</c:v>
          </c:tx>
          <c:spPr>
            <a:ln>
              <a:solidFill>
                <a:schemeClr val="accent1">
                  <a:lumMod val="60000"/>
                  <a:lumOff val="40000"/>
                </a:schemeClr>
              </a:solidFill>
            </a:ln>
          </c:spPr>
          <c:marker>
            <c:symbol val="none"/>
          </c:marker>
          <c:cat>
            <c:numRef>
              <c:f>CDS!$Q$2500:$Q$3500</c:f>
              <c:numCache>
                <c:formatCode>dd/mm/yy</c:formatCode>
                <c:ptCount val="1001"/>
                <c:pt idx="0">
                  <c:v>40023</c:v>
                </c:pt>
                <c:pt idx="1">
                  <c:v>40024</c:v>
                </c:pt>
                <c:pt idx="2">
                  <c:v>40025</c:v>
                </c:pt>
                <c:pt idx="3">
                  <c:v>40028</c:v>
                </c:pt>
                <c:pt idx="4">
                  <c:v>40029</c:v>
                </c:pt>
                <c:pt idx="5">
                  <c:v>40030</c:v>
                </c:pt>
                <c:pt idx="6">
                  <c:v>40031</c:v>
                </c:pt>
                <c:pt idx="7">
                  <c:v>40032</c:v>
                </c:pt>
                <c:pt idx="8">
                  <c:v>40035</c:v>
                </c:pt>
                <c:pt idx="9">
                  <c:v>40036</c:v>
                </c:pt>
                <c:pt idx="10">
                  <c:v>40037</c:v>
                </c:pt>
                <c:pt idx="11">
                  <c:v>40038</c:v>
                </c:pt>
                <c:pt idx="12">
                  <c:v>40039</c:v>
                </c:pt>
                <c:pt idx="13">
                  <c:v>40042</c:v>
                </c:pt>
                <c:pt idx="14">
                  <c:v>40043</c:v>
                </c:pt>
                <c:pt idx="15">
                  <c:v>40044</c:v>
                </c:pt>
                <c:pt idx="16">
                  <c:v>40045</c:v>
                </c:pt>
                <c:pt idx="17">
                  <c:v>40046</c:v>
                </c:pt>
                <c:pt idx="18">
                  <c:v>40049</c:v>
                </c:pt>
                <c:pt idx="19">
                  <c:v>40050</c:v>
                </c:pt>
                <c:pt idx="20">
                  <c:v>40051</c:v>
                </c:pt>
                <c:pt idx="21">
                  <c:v>40052</c:v>
                </c:pt>
                <c:pt idx="22">
                  <c:v>40053</c:v>
                </c:pt>
                <c:pt idx="23">
                  <c:v>40056</c:v>
                </c:pt>
                <c:pt idx="24">
                  <c:v>40057</c:v>
                </c:pt>
                <c:pt idx="25">
                  <c:v>40058</c:v>
                </c:pt>
                <c:pt idx="26">
                  <c:v>40059</c:v>
                </c:pt>
                <c:pt idx="27">
                  <c:v>40060</c:v>
                </c:pt>
                <c:pt idx="28">
                  <c:v>40063</c:v>
                </c:pt>
                <c:pt idx="29">
                  <c:v>40064</c:v>
                </c:pt>
                <c:pt idx="30">
                  <c:v>40065</c:v>
                </c:pt>
                <c:pt idx="31">
                  <c:v>40066</c:v>
                </c:pt>
                <c:pt idx="32">
                  <c:v>40067</c:v>
                </c:pt>
                <c:pt idx="33">
                  <c:v>40070</c:v>
                </c:pt>
                <c:pt idx="34">
                  <c:v>40071</c:v>
                </c:pt>
                <c:pt idx="35">
                  <c:v>40072</c:v>
                </c:pt>
                <c:pt idx="36">
                  <c:v>40073</c:v>
                </c:pt>
                <c:pt idx="37">
                  <c:v>40074</c:v>
                </c:pt>
                <c:pt idx="38">
                  <c:v>40077</c:v>
                </c:pt>
                <c:pt idx="39">
                  <c:v>40078</c:v>
                </c:pt>
                <c:pt idx="40">
                  <c:v>40079</c:v>
                </c:pt>
                <c:pt idx="41">
                  <c:v>40080</c:v>
                </c:pt>
                <c:pt idx="42">
                  <c:v>40081</c:v>
                </c:pt>
                <c:pt idx="43">
                  <c:v>40084</c:v>
                </c:pt>
                <c:pt idx="44">
                  <c:v>40085</c:v>
                </c:pt>
                <c:pt idx="45">
                  <c:v>40086</c:v>
                </c:pt>
                <c:pt idx="46">
                  <c:v>40087</c:v>
                </c:pt>
                <c:pt idx="47">
                  <c:v>40088</c:v>
                </c:pt>
                <c:pt idx="48">
                  <c:v>40091</c:v>
                </c:pt>
                <c:pt idx="49">
                  <c:v>40092</c:v>
                </c:pt>
                <c:pt idx="50">
                  <c:v>40093</c:v>
                </c:pt>
                <c:pt idx="51">
                  <c:v>40094</c:v>
                </c:pt>
                <c:pt idx="52">
                  <c:v>40095</c:v>
                </c:pt>
                <c:pt idx="53">
                  <c:v>40098</c:v>
                </c:pt>
                <c:pt idx="54">
                  <c:v>40099</c:v>
                </c:pt>
                <c:pt idx="55">
                  <c:v>40100</c:v>
                </c:pt>
                <c:pt idx="56">
                  <c:v>40101</c:v>
                </c:pt>
                <c:pt idx="57">
                  <c:v>40102</c:v>
                </c:pt>
                <c:pt idx="58">
                  <c:v>40105</c:v>
                </c:pt>
                <c:pt idx="59">
                  <c:v>40106</c:v>
                </c:pt>
                <c:pt idx="60">
                  <c:v>40107</c:v>
                </c:pt>
                <c:pt idx="61">
                  <c:v>40108</c:v>
                </c:pt>
                <c:pt idx="62">
                  <c:v>40109</c:v>
                </c:pt>
                <c:pt idx="63">
                  <c:v>40112</c:v>
                </c:pt>
                <c:pt idx="64">
                  <c:v>40113</c:v>
                </c:pt>
                <c:pt idx="65">
                  <c:v>40114</c:v>
                </c:pt>
                <c:pt idx="66">
                  <c:v>40115</c:v>
                </c:pt>
                <c:pt idx="67">
                  <c:v>40116</c:v>
                </c:pt>
                <c:pt idx="68">
                  <c:v>40119</c:v>
                </c:pt>
                <c:pt idx="69">
                  <c:v>40120</c:v>
                </c:pt>
                <c:pt idx="70">
                  <c:v>40121</c:v>
                </c:pt>
                <c:pt idx="71">
                  <c:v>40122</c:v>
                </c:pt>
                <c:pt idx="72">
                  <c:v>40123</c:v>
                </c:pt>
                <c:pt idx="73">
                  <c:v>40126</c:v>
                </c:pt>
                <c:pt idx="74">
                  <c:v>40127</c:v>
                </c:pt>
                <c:pt idx="75">
                  <c:v>40128</c:v>
                </c:pt>
                <c:pt idx="76">
                  <c:v>40129</c:v>
                </c:pt>
                <c:pt idx="77">
                  <c:v>40130</c:v>
                </c:pt>
                <c:pt idx="78">
                  <c:v>40133</c:v>
                </c:pt>
                <c:pt idx="79">
                  <c:v>40134</c:v>
                </c:pt>
                <c:pt idx="80">
                  <c:v>40135</c:v>
                </c:pt>
                <c:pt idx="81">
                  <c:v>40136</c:v>
                </c:pt>
                <c:pt idx="82">
                  <c:v>40137</c:v>
                </c:pt>
                <c:pt idx="83">
                  <c:v>40140</c:v>
                </c:pt>
                <c:pt idx="84">
                  <c:v>40141</c:v>
                </c:pt>
                <c:pt idx="85">
                  <c:v>40142</c:v>
                </c:pt>
                <c:pt idx="86">
                  <c:v>40143</c:v>
                </c:pt>
                <c:pt idx="87">
                  <c:v>40144</c:v>
                </c:pt>
                <c:pt idx="88">
                  <c:v>40147</c:v>
                </c:pt>
                <c:pt idx="89">
                  <c:v>40148</c:v>
                </c:pt>
                <c:pt idx="90">
                  <c:v>40149</c:v>
                </c:pt>
                <c:pt idx="91">
                  <c:v>40150</c:v>
                </c:pt>
                <c:pt idx="92">
                  <c:v>40151</c:v>
                </c:pt>
                <c:pt idx="93">
                  <c:v>40154</c:v>
                </c:pt>
                <c:pt idx="94">
                  <c:v>40155</c:v>
                </c:pt>
                <c:pt idx="95">
                  <c:v>40156</c:v>
                </c:pt>
                <c:pt idx="96">
                  <c:v>40157</c:v>
                </c:pt>
                <c:pt idx="97">
                  <c:v>40158</c:v>
                </c:pt>
                <c:pt idx="98">
                  <c:v>40161</c:v>
                </c:pt>
                <c:pt idx="99">
                  <c:v>40162</c:v>
                </c:pt>
                <c:pt idx="100">
                  <c:v>40163</c:v>
                </c:pt>
                <c:pt idx="101">
                  <c:v>40164</c:v>
                </c:pt>
                <c:pt idx="102">
                  <c:v>40165</c:v>
                </c:pt>
                <c:pt idx="103">
                  <c:v>40168</c:v>
                </c:pt>
                <c:pt idx="104">
                  <c:v>40169</c:v>
                </c:pt>
                <c:pt idx="105">
                  <c:v>40170</c:v>
                </c:pt>
                <c:pt idx="106">
                  <c:v>40171</c:v>
                </c:pt>
                <c:pt idx="107">
                  <c:v>40172</c:v>
                </c:pt>
                <c:pt idx="108">
                  <c:v>40175</c:v>
                </c:pt>
                <c:pt idx="109">
                  <c:v>40176</c:v>
                </c:pt>
                <c:pt idx="110">
                  <c:v>40177</c:v>
                </c:pt>
                <c:pt idx="111">
                  <c:v>40178</c:v>
                </c:pt>
                <c:pt idx="112">
                  <c:v>40179</c:v>
                </c:pt>
                <c:pt idx="113">
                  <c:v>40182</c:v>
                </c:pt>
                <c:pt idx="114">
                  <c:v>40183</c:v>
                </c:pt>
                <c:pt idx="115">
                  <c:v>40184</c:v>
                </c:pt>
                <c:pt idx="116">
                  <c:v>40185</c:v>
                </c:pt>
                <c:pt idx="117">
                  <c:v>40186</c:v>
                </c:pt>
                <c:pt idx="118">
                  <c:v>40189</c:v>
                </c:pt>
                <c:pt idx="119">
                  <c:v>40190</c:v>
                </c:pt>
                <c:pt idx="120">
                  <c:v>40191</c:v>
                </c:pt>
                <c:pt idx="121">
                  <c:v>40192</c:v>
                </c:pt>
                <c:pt idx="122">
                  <c:v>40193</c:v>
                </c:pt>
                <c:pt idx="123">
                  <c:v>40196</c:v>
                </c:pt>
                <c:pt idx="124">
                  <c:v>40197</c:v>
                </c:pt>
                <c:pt idx="125">
                  <c:v>40198</c:v>
                </c:pt>
                <c:pt idx="126">
                  <c:v>40199</c:v>
                </c:pt>
                <c:pt idx="127">
                  <c:v>40200</c:v>
                </c:pt>
                <c:pt idx="128">
                  <c:v>40203</c:v>
                </c:pt>
                <c:pt idx="129">
                  <c:v>40204</c:v>
                </c:pt>
                <c:pt idx="130">
                  <c:v>40205</c:v>
                </c:pt>
                <c:pt idx="131">
                  <c:v>40206</c:v>
                </c:pt>
                <c:pt idx="132">
                  <c:v>40207</c:v>
                </c:pt>
                <c:pt idx="133">
                  <c:v>40210</c:v>
                </c:pt>
                <c:pt idx="134">
                  <c:v>40211</c:v>
                </c:pt>
                <c:pt idx="135">
                  <c:v>40212</c:v>
                </c:pt>
                <c:pt idx="136">
                  <c:v>40213</c:v>
                </c:pt>
                <c:pt idx="137">
                  <c:v>40214</c:v>
                </c:pt>
                <c:pt idx="138">
                  <c:v>40217</c:v>
                </c:pt>
                <c:pt idx="139">
                  <c:v>40218</c:v>
                </c:pt>
                <c:pt idx="140">
                  <c:v>40219</c:v>
                </c:pt>
                <c:pt idx="141">
                  <c:v>40220</c:v>
                </c:pt>
                <c:pt idx="142">
                  <c:v>40221</c:v>
                </c:pt>
                <c:pt idx="143">
                  <c:v>40224</c:v>
                </c:pt>
                <c:pt idx="144">
                  <c:v>40225</c:v>
                </c:pt>
                <c:pt idx="145">
                  <c:v>40226</c:v>
                </c:pt>
                <c:pt idx="146">
                  <c:v>40227</c:v>
                </c:pt>
                <c:pt idx="147">
                  <c:v>40228</c:v>
                </c:pt>
                <c:pt idx="148">
                  <c:v>40231</c:v>
                </c:pt>
                <c:pt idx="149">
                  <c:v>40232</c:v>
                </c:pt>
                <c:pt idx="150">
                  <c:v>40233</c:v>
                </c:pt>
                <c:pt idx="151">
                  <c:v>40234</c:v>
                </c:pt>
                <c:pt idx="152">
                  <c:v>40235</c:v>
                </c:pt>
                <c:pt idx="153">
                  <c:v>40238</c:v>
                </c:pt>
                <c:pt idx="154">
                  <c:v>40239</c:v>
                </c:pt>
                <c:pt idx="155">
                  <c:v>40240</c:v>
                </c:pt>
                <c:pt idx="156">
                  <c:v>40241</c:v>
                </c:pt>
                <c:pt idx="157">
                  <c:v>40242</c:v>
                </c:pt>
                <c:pt idx="158">
                  <c:v>40245</c:v>
                </c:pt>
                <c:pt idx="159">
                  <c:v>40246</c:v>
                </c:pt>
                <c:pt idx="160">
                  <c:v>40247</c:v>
                </c:pt>
                <c:pt idx="161">
                  <c:v>40248</c:v>
                </c:pt>
                <c:pt idx="162">
                  <c:v>40249</c:v>
                </c:pt>
                <c:pt idx="163">
                  <c:v>40252</c:v>
                </c:pt>
                <c:pt idx="164">
                  <c:v>40253</c:v>
                </c:pt>
                <c:pt idx="165">
                  <c:v>40254</c:v>
                </c:pt>
                <c:pt idx="166">
                  <c:v>40255</c:v>
                </c:pt>
                <c:pt idx="167">
                  <c:v>40256</c:v>
                </c:pt>
                <c:pt idx="168">
                  <c:v>40259</c:v>
                </c:pt>
                <c:pt idx="169">
                  <c:v>40260</c:v>
                </c:pt>
                <c:pt idx="170">
                  <c:v>40261</c:v>
                </c:pt>
                <c:pt idx="171">
                  <c:v>40262</c:v>
                </c:pt>
                <c:pt idx="172">
                  <c:v>40263</c:v>
                </c:pt>
                <c:pt idx="173">
                  <c:v>40266</c:v>
                </c:pt>
                <c:pt idx="174">
                  <c:v>40267</c:v>
                </c:pt>
                <c:pt idx="175">
                  <c:v>40268</c:v>
                </c:pt>
                <c:pt idx="176">
                  <c:v>40269</c:v>
                </c:pt>
                <c:pt idx="177">
                  <c:v>40270</c:v>
                </c:pt>
                <c:pt idx="178">
                  <c:v>40273</c:v>
                </c:pt>
                <c:pt idx="179">
                  <c:v>40274</c:v>
                </c:pt>
                <c:pt idx="180">
                  <c:v>40275</c:v>
                </c:pt>
                <c:pt idx="181">
                  <c:v>40276</c:v>
                </c:pt>
                <c:pt idx="182">
                  <c:v>40277</c:v>
                </c:pt>
                <c:pt idx="183">
                  <c:v>40280</c:v>
                </c:pt>
                <c:pt idx="184">
                  <c:v>40281</c:v>
                </c:pt>
                <c:pt idx="185">
                  <c:v>40282</c:v>
                </c:pt>
                <c:pt idx="186">
                  <c:v>40283</c:v>
                </c:pt>
                <c:pt idx="187">
                  <c:v>40284</c:v>
                </c:pt>
                <c:pt idx="188">
                  <c:v>40287</c:v>
                </c:pt>
                <c:pt idx="189">
                  <c:v>40288</c:v>
                </c:pt>
                <c:pt idx="190">
                  <c:v>40289</c:v>
                </c:pt>
                <c:pt idx="191">
                  <c:v>40290</c:v>
                </c:pt>
                <c:pt idx="192">
                  <c:v>40291</c:v>
                </c:pt>
                <c:pt idx="193">
                  <c:v>40294</c:v>
                </c:pt>
                <c:pt idx="194">
                  <c:v>40295</c:v>
                </c:pt>
                <c:pt idx="195">
                  <c:v>40296</c:v>
                </c:pt>
                <c:pt idx="196">
                  <c:v>40297</c:v>
                </c:pt>
                <c:pt idx="197">
                  <c:v>40298</c:v>
                </c:pt>
                <c:pt idx="198">
                  <c:v>40301</c:v>
                </c:pt>
                <c:pt idx="199">
                  <c:v>40302</c:v>
                </c:pt>
                <c:pt idx="200">
                  <c:v>40303</c:v>
                </c:pt>
                <c:pt idx="201">
                  <c:v>40304</c:v>
                </c:pt>
                <c:pt idx="202">
                  <c:v>40305</c:v>
                </c:pt>
                <c:pt idx="203">
                  <c:v>40308</c:v>
                </c:pt>
                <c:pt idx="204">
                  <c:v>40309</c:v>
                </c:pt>
                <c:pt idx="205">
                  <c:v>40310</c:v>
                </c:pt>
                <c:pt idx="206">
                  <c:v>40311</c:v>
                </c:pt>
                <c:pt idx="207">
                  <c:v>40312</c:v>
                </c:pt>
                <c:pt idx="208">
                  <c:v>40315</c:v>
                </c:pt>
                <c:pt idx="209">
                  <c:v>40316</c:v>
                </c:pt>
                <c:pt idx="210">
                  <c:v>40317</c:v>
                </c:pt>
                <c:pt idx="211">
                  <c:v>40318</c:v>
                </c:pt>
                <c:pt idx="212">
                  <c:v>40319</c:v>
                </c:pt>
                <c:pt idx="213">
                  <c:v>40322</c:v>
                </c:pt>
                <c:pt idx="214">
                  <c:v>40323</c:v>
                </c:pt>
                <c:pt idx="215">
                  <c:v>40324</c:v>
                </c:pt>
                <c:pt idx="216">
                  <c:v>40325</c:v>
                </c:pt>
                <c:pt idx="217">
                  <c:v>40326</c:v>
                </c:pt>
                <c:pt idx="218">
                  <c:v>40329</c:v>
                </c:pt>
                <c:pt idx="219">
                  <c:v>40330</c:v>
                </c:pt>
                <c:pt idx="220">
                  <c:v>40331</c:v>
                </c:pt>
                <c:pt idx="221">
                  <c:v>40332</c:v>
                </c:pt>
                <c:pt idx="222">
                  <c:v>40333</c:v>
                </c:pt>
                <c:pt idx="223">
                  <c:v>40336</c:v>
                </c:pt>
                <c:pt idx="224">
                  <c:v>40337</c:v>
                </c:pt>
                <c:pt idx="225">
                  <c:v>40338</c:v>
                </c:pt>
                <c:pt idx="226">
                  <c:v>40339</c:v>
                </c:pt>
                <c:pt idx="227">
                  <c:v>40340</c:v>
                </c:pt>
                <c:pt idx="228">
                  <c:v>40343</c:v>
                </c:pt>
                <c:pt idx="229">
                  <c:v>40344</c:v>
                </c:pt>
                <c:pt idx="230">
                  <c:v>40345</c:v>
                </c:pt>
                <c:pt idx="231">
                  <c:v>40346</c:v>
                </c:pt>
                <c:pt idx="232">
                  <c:v>40347</c:v>
                </c:pt>
                <c:pt idx="233">
                  <c:v>40350</c:v>
                </c:pt>
                <c:pt idx="234">
                  <c:v>40351</c:v>
                </c:pt>
                <c:pt idx="235">
                  <c:v>40352</c:v>
                </c:pt>
                <c:pt idx="236">
                  <c:v>40353</c:v>
                </c:pt>
                <c:pt idx="237">
                  <c:v>40354</c:v>
                </c:pt>
                <c:pt idx="238">
                  <c:v>40357</c:v>
                </c:pt>
                <c:pt idx="239">
                  <c:v>40358</c:v>
                </c:pt>
                <c:pt idx="240">
                  <c:v>40359</c:v>
                </c:pt>
                <c:pt idx="241">
                  <c:v>40360</c:v>
                </c:pt>
                <c:pt idx="242">
                  <c:v>40361</c:v>
                </c:pt>
                <c:pt idx="243">
                  <c:v>40364</c:v>
                </c:pt>
                <c:pt idx="244">
                  <c:v>40365</c:v>
                </c:pt>
                <c:pt idx="245">
                  <c:v>40366</c:v>
                </c:pt>
                <c:pt idx="246">
                  <c:v>40367</c:v>
                </c:pt>
                <c:pt idx="247">
                  <c:v>40368</c:v>
                </c:pt>
                <c:pt idx="248">
                  <c:v>40371</c:v>
                </c:pt>
                <c:pt idx="249">
                  <c:v>40372</c:v>
                </c:pt>
                <c:pt idx="250">
                  <c:v>40373</c:v>
                </c:pt>
                <c:pt idx="251">
                  <c:v>40374</c:v>
                </c:pt>
                <c:pt idx="252">
                  <c:v>40375</c:v>
                </c:pt>
                <c:pt idx="253">
                  <c:v>40378</c:v>
                </c:pt>
                <c:pt idx="254">
                  <c:v>40379</c:v>
                </c:pt>
                <c:pt idx="255">
                  <c:v>40380</c:v>
                </c:pt>
                <c:pt idx="256">
                  <c:v>40381</c:v>
                </c:pt>
                <c:pt idx="257">
                  <c:v>40382</c:v>
                </c:pt>
                <c:pt idx="258">
                  <c:v>40385</c:v>
                </c:pt>
                <c:pt idx="259">
                  <c:v>40386</c:v>
                </c:pt>
                <c:pt idx="260">
                  <c:v>40387</c:v>
                </c:pt>
                <c:pt idx="261">
                  <c:v>40388</c:v>
                </c:pt>
                <c:pt idx="262">
                  <c:v>40389</c:v>
                </c:pt>
                <c:pt idx="263">
                  <c:v>40392</c:v>
                </c:pt>
                <c:pt idx="264">
                  <c:v>40393</c:v>
                </c:pt>
                <c:pt idx="265">
                  <c:v>40394</c:v>
                </c:pt>
                <c:pt idx="266">
                  <c:v>40395</c:v>
                </c:pt>
                <c:pt idx="267">
                  <c:v>40396</c:v>
                </c:pt>
                <c:pt idx="268">
                  <c:v>40399</c:v>
                </c:pt>
                <c:pt idx="269">
                  <c:v>40400</c:v>
                </c:pt>
                <c:pt idx="270">
                  <c:v>40401</c:v>
                </c:pt>
                <c:pt idx="271">
                  <c:v>40402</c:v>
                </c:pt>
                <c:pt idx="272">
                  <c:v>40403</c:v>
                </c:pt>
                <c:pt idx="273">
                  <c:v>40406</c:v>
                </c:pt>
                <c:pt idx="274">
                  <c:v>40407</c:v>
                </c:pt>
                <c:pt idx="275">
                  <c:v>40408</c:v>
                </c:pt>
                <c:pt idx="276">
                  <c:v>40409</c:v>
                </c:pt>
                <c:pt idx="277">
                  <c:v>40410</c:v>
                </c:pt>
                <c:pt idx="278">
                  <c:v>40413</c:v>
                </c:pt>
                <c:pt idx="279">
                  <c:v>40414</c:v>
                </c:pt>
                <c:pt idx="280">
                  <c:v>40415</c:v>
                </c:pt>
                <c:pt idx="281">
                  <c:v>40416</c:v>
                </c:pt>
                <c:pt idx="282">
                  <c:v>40417</c:v>
                </c:pt>
                <c:pt idx="283">
                  <c:v>40420</c:v>
                </c:pt>
                <c:pt idx="284">
                  <c:v>40421</c:v>
                </c:pt>
                <c:pt idx="285">
                  <c:v>40422</c:v>
                </c:pt>
                <c:pt idx="286">
                  <c:v>40423</c:v>
                </c:pt>
                <c:pt idx="287">
                  <c:v>40424</c:v>
                </c:pt>
                <c:pt idx="288">
                  <c:v>40427</c:v>
                </c:pt>
                <c:pt idx="289">
                  <c:v>40428</c:v>
                </c:pt>
                <c:pt idx="290">
                  <c:v>40429</c:v>
                </c:pt>
                <c:pt idx="291">
                  <c:v>40430</c:v>
                </c:pt>
                <c:pt idx="292">
                  <c:v>40431</c:v>
                </c:pt>
                <c:pt idx="293">
                  <c:v>40434</c:v>
                </c:pt>
                <c:pt idx="294">
                  <c:v>40435</c:v>
                </c:pt>
                <c:pt idx="295">
                  <c:v>40436</c:v>
                </c:pt>
                <c:pt idx="296">
                  <c:v>40437</c:v>
                </c:pt>
                <c:pt idx="297">
                  <c:v>40438</c:v>
                </c:pt>
                <c:pt idx="298">
                  <c:v>40441</c:v>
                </c:pt>
                <c:pt idx="299">
                  <c:v>40442</c:v>
                </c:pt>
                <c:pt idx="300">
                  <c:v>40443</c:v>
                </c:pt>
                <c:pt idx="301">
                  <c:v>40444</c:v>
                </c:pt>
                <c:pt idx="302">
                  <c:v>40445</c:v>
                </c:pt>
                <c:pt idx="303">
                  <c:v>40448</c:v>
                </c:pt>
                <c:pt idx="304">
                  <c:v>40449</c:v>
                </c:pt>
                <c:pt idx="305">
                  <c:v>40450</c:v>
                </c:pt>
                <c:pt idx="306">
                  <c:v>40451</c:v>
                </c:pt>
                <c:pt idx="307">
                  <c:v>40452</c:v>
                </c:pt>
                <c:pt idx="308">
                  <c:v>40455</c:v>
                </c:pt>
                <c:pt idx="309">
                  <c:v>40456</c:v>
                </c:pt>
                <c:pt idx="310">
                  <c:v>40457</c:v>
                </c:pt>
                <c:pt idx="311">
                  <c:v>40458</c:v>
                </c:pt>
                <c:pt idx="312">
                  <c:v>40459</c:v>
                </c:pt>
                <c:pt idx="313">
                  <c:v>40462</c:v>
                </c:pt>
                <c:pt idx="314">
                  <c:v>40463</c:v>
                </c:pt>
                <c:pt idx="315">
                  <c:v>40464</c:v>
                </c:pt>
                <c:pt idx="316">
                  <c:v>40465</c:v>
                </c:pt>
                <c:pt idx="317">
                  <c:v>40466</c:v>
                </c:pt>
                <c:pt idx="318">
                  <c:v>40469</c:v>
                </c:pt>
                <c:pt idx="319">
                  <c:v>40470</c:v>
                </c:pt>
                <c:pt idx="320">
                  <c:v>40471</c:v>
                </c:pt>
                <c:pt idx="321">
                  <c:v>40472</c:v>
                </c:pt>
                <c:pt idx="322">
                  <c:v>40473</c:v>
                </c:pt>
                <c:pt idx="323">
                  <c:v>40476</c:v>
                </c:pt>
                <c:pt idx="324">
                  <c:v>40477</c:v>
                </c:pt>
                <c:pt idx="325">
                  <c:v>40478</c:v>
                </c:pt>
                <c:pt idx="326">
                  <c:v>40479</c:v>
                </c:pt>
                <c:pt idx="327">
                  <c:v>40480</c:v>
                </c:pt>
                <c:pt idx="328">
                  <c:v>40483</c:v>
                </c:pt>
                <c:pt idx="329">
                  <c:v>40484</c:v>
                </c:pt>
                <c:pt idx="330">
                  <c:v>40485</c:v>
                </c:pt>
                <c:pt idx="331">
                  <c:v>40486</c:v>
                </c:pt>
                <c:pt idx="332">
                  <c:v>40487</c:v>
                </c:pt>
                <c:pt idx="333">
                  <c:v>40490</c:v>
                </c:pt>
                <c:pt idx="334">
                  <c:v>40491</c:v>
                </c:pt>
                <c:pt idx="335">
                  <c:v>40492</c:v>
                </c:pt>
                <c:pt idx="336">
                  <c:v>40493</c:v>
                </c:pt>
                <c:pt idx="337">
                  <c:v>40494</c:v>
                </c:pt>
                <c:pt idx="338">
                  <c:v>40497</c:v>
                </c:pt>
                <c:pt idx="339">
                  <c:v>40498</c:v>
                </c:pt>
                <c:pt idx="340">
                  <c:v>40499</c:v>
                </c:pt>
                <c:pt idx="341">
                  <c:v>40500</c:v>
                </c:pt>
                <c:pt idx="342">
                  <c:v>40501</c:v>
                </c:pt>
                <c:pt idx="343">
                  <c:v>40504</c:v>
                </c:pt>
                <c:pt idx="344">
                  <c:v>40505</c:v>
                </c:pt>
                <c:pt idx="345">
                  <c:v>40506</c:v>
                </c:pt>
                <c:pt idx="346">
                  <c:v>40507</c:v>
                </c:pt>
                <c:pt idx="347">
                  <c:v>40508</c:v>
                </c:pt>
                <c:pt idx="348">
                  <c:v>40511</c:v>
                </c:pt>
                <c:pt idx="349">
                  <c:v>40512</c:v>
                </c:pt>
                <c:pt idx="350">
                  <c:v>40513</c:v>
                </c:pt>
                <c:pt idx="351">
                  <c:v>40514</c:v>
                </c:pt>
                <c:pt idx="352">
                  <c:v>40515</c:v>
                </c:pt>
                <c:pt idx="353">
                  <c:v>40518</c:v>
                </c:pt>
                <c:pt idx="354">
                  <c:v>40519</c:v>
                </c:pt>
                <c:pt idx="355">
                  <c:v>40520</c:v>
                </c:pt>
                <c:pt idx="356">
                  <c:v>40521</c:v>
                </c:pt>
                <c:pt idx="357">
                  <c:v>40522</c:v>
                </c:pt>
                <c:pt idx="358">
                  <c:v>40525</c:v>
                </c:pt>
                <c:pt idx="359">
                  <c:v>40526</c:v>
                </c:pt>
                <c:pt idx="360">
                  <c:v>40527</c:v>
                </c:pt>
                <c:pt idx="361">
                  <c:v>40528</c:v>
                </c:pt>
                <c:pt idx="362">
                  <c:v>40529</c:v>
                </c:pt>
                <c:pt idx="363">
                  <c:v>40532</c:v>
                </c:pt>
                <c:pt idx="364">
                  <c:v>40533</c:v>
                </c:pt>
                <c:pt idx="365">
                  <c:v>40534</c:v>
                </c:pt>
                <c:pt idx="366">
                  <c:v>40535</c:v>
                </c:pt>
                <c:pt idx="367">
                  <c:v>40536</c:v>
                </c:pt>
                <c:pt idx="368">
                  <c:v>40539</c:v>
                </c:pt>
                <c:pt idx="369">
                  <c:v>40540</c:v>
                </c:pt>
                <c:pt idx="370">
                  <c:v>40541</c:v>
                </c:pt>
                <c:pt idx="371">
                  <c:v>40542</c:v>
                </c:pt>
                <c:pt idx="372">
                  <c:v>40543</c:v>
                </c:pt>
                <c:pt idx="373">
                  <c:v>40546</c:v>
                </c:pt>
                <c:pt idx="374">
                  <c:v>40547</c:v>
                </c:pt>
                <c:pt idx="375">
                  <c:v>40548</c:v>
                </c:pt>
                <c:pt idx="376">
                  <c:v>40549</c:v>
                </c:pt>
                <c:pt idx="377">
                  <c:v>40550</c:v>
                </c:pt>
                <c:pt idx="378">
                  <c:v>40553</c:v>
                </c:pt>
                <c:pt idx="379">
                  <c:v>40554</c:v>
                </c:pt>
                <c:pt idx="380">
                  <c:v>40555</c:v>
                </c:pt>
                <c:pt idx="381">
                  <c:v>40556</c:v>
                </c:pt>
                <c:pt idx="382">
                  <c:v>40557</c:v>
                </c:pt>
                <c:pt idx="383">
                  <c:v>40560</c:v>
                </c:pt>
                <c:pt idx="384">
                  <c:v>40561</c:v>
                </c:pt>
                <c:pt idx="385">
                  <c:v>40562</c:v>
                </c:pt>
                <c:pt idx="386">
                  <c:v>40563</c:v>
                </c:pt>
                <c:pt idx="387">
                  <c:v>40564</c:v>
                </c:pt>
                <c:pt idx="388">
                  <c:v>40567</c:v>
                </c:pt>
                <c:pt idx="389">
                  <c:v>40568</c:v>
                </c:pt>
                <c:pt idx="390">
                  <c:v>40569</c:v>
                </c:pt>
                <c:pt idx="391">
                  <c:v>40570</c:v>
                </c:pt>
                <c:pt idx="392">
                  <c:v>40571</c:v>
                </c:pt>
                <c:pt idx="393">
                  <c:v>40574</c:v>
                </c:pt>
                <c:pt idx="394">
                  <c:v>40575</c:v>
                </c:pt>
                <c:pt idx="395">
                  <c:v>40576</c:v>
                </c:pt>
                <c:pt idx="396">
                  <c:v>40577</c:v>
                </c:pt>
                <c:pt idx="397">
                  <c:v>40578</c:v>
                </c:pt>
                <c:pt idx="398">
                  <c:v>40581</c:v>
                </c:pt>
                <c:pt idx="399">
                  <c:v>40582</c:v>
                </c:pt>
                <c:pt idx="400">
                  <c:v>40583</c:v>
                </c:pt>
                <c:pt idx="401">
                  <c:v>40584</c:v>
                </c:pt>
                <c:pt idx="402">
                  <c:v>40585</c:v>
                </c:pt>
                <c:pt idx="403">
                  <c:v>40588</c:v>
                </c:pt>
                <c:pt idx="404">
                  <c:v>40589</c:v>
                </c:pt>
                <c:pt idx="405">
                  <c:v>40590</c:v>
                </c:pt>
                <c:pt idx="406">
                  <c:v>40591</c:v>
                </c:pt>
                <c:pt idx="407">
                  <c:v>40592</c:v>
                </c:pt>
                <c:pt idx="408">
                  <c:v>40595</c:v>
                </c:pt>
                <c:pt idx="409">
                  <c:v>40596</c:v>
                </c:pt>
                <c:pt idx="410">
                  <c:v>40597</c:v>
                </c:pt>
                <c:pt idx="411">
                  <c:v>40598</c:v>
                </c:pt>
                <c:pt idx="412">
                  <c:v>40599</c:v>
                </c:pt>
                <c:pt idx="413">
                  <c:v>40602</c:v>
                </c:pt>
                <c:pt idx="414">
                  <c:v>40603</c:v>
                </c:pt>
                <c:pt idx="415">
                  <c:v>40604</c:v>
                </c:pt>
                <c:pt idx="416">
                  <c:v>40605</c:v>
                </c:pt>
                <c:pt idx="417">
                  <c:v>40606</c:v>
                </c:pt>
                <c:pt idx="418">
                  <c:v>40609</c:v>
                </c:pt>
                <c:pt idx="419">
                  <c:v>40610</c:v>
                </c:pt>
                <c:pt idx="420">
                  <c:v>40611</c:v>
                </c:pt>
                <c:pt idx="421">
                  <c:v>40612</c:v>
                </c:pt>
                <c:pt idx="422">
                  <c:v>40613</c:v>
                </c:pt>
                <c:pt idx="423">
                  <c:v>40616</c:v>
                </c:pt>
                <c:pt idx="424">
                  <c:v>40617</c:v>
                </c:pt>
                <c:pt idx="425">
                  <c:v>40618</c:v>
                </c:pt>
                <c:pt idx="426">
                  <c:v>40619</c:v>
                </c:pt>
                <c:pt idx="427">
                  <c:v>40620</c:v>
                </c:pt>
                <c:pt idx="428">
                  <c:v>40623</c:v>
                </c:pt>
                <c:pt idx="429">
                  <c:v>40624</c:v>
                </c:pt>
                <c:pt idx="430">
                  <c:v>40625</c:v>
                </c:pt>
                <c:pt idx="431">
                  <c:v>40626</c:v>
                </c:pt>
                <c:pt idx="432">
                  <c:v>40627</c:v>
                </c:pt>
                <c:pt idx="433">
                  <c:v>40630</c:v>
                </c:pt>
                <c:pt idx="434">
                  <c:v>40631</c:v>
                </c:pt>
                <c:pt idx="435">
                  <c:v>40632</c:v>
                </c:pt>
                <c:pt idx="436">
                  <c:v>40633</c:v>
                </c:pt>
                <c:pt idx="437">
                  <c:v>40634</c:v>
                </c:pt>
                <c:pt idx="438">
                  <c:v>40637</c:v>
                </c:pt>
                <c:pt idx="439">
                  <c:v>40638</c:v>
                </c:pt>
                <c:pt idx="440">
                  <c:v>40639</c:v>
                </c:pt>
                <c:pt idx="441">
                  <c:v>40640</c:v>
                </c:pt>
                <c:pt idx="442">
                  <c:v>40641</c:v>
                </c:pt>
                <c:pt idx="443">
                  <c:v>40644</c:v>
                </c:pt>
                <c:pt idx="444">
                  <c:v>40645</c:v>
                </c:pt>
                <c:pt idx="445">
                  <c:v>40646</c:v>
                </c:pt>
                <c:pt idx="446">
                  <c:v>40647</c:v>
                </c:pt>
                <c:pt idx="447">
                  <c:v>40648</c:v>
                </c:pt>
                <c:pt idx="448">
                  <c:v>40651</c:v>
                </c:pt>
                <c:pt idx="449">
                  <c:v>40652</c:v>
                </c:pt>
                <c:pt idx="450">
                  <c:v>40653</c:v>
                </c:pt>
                <c:pt idx="451">
                  <c:v>40654</c:v>
                </c:pt>
                <c:pt idx="452">
                  <c:v>40655</c:v>
                </c:pt>
                <c:pt idx="453">
                  <c:v>40658</c:v>
                </c:pt>
                <c:pt idx="454">
                  <c:v>40659</c:v>
                </c:pt>
                <c:pt idx="455">
                  <c:v>40660</c:v>
                </c:pt>
                <c:pt idx="456">
                  <c:v>40661</c:v>
                </c:pt>
                <c:pt idx="457">
                  <c:v>40662</c:v>
                </c:pt>
                <c:pt idx="458">
                  <c:v>40665</c:v>
                </c:pt>
                <c:pt idx="459">
                  <c:v>40666</c:v>
                </c:pt>
                <c:pt idx="460">
                  <c:v>40667</c:v>
                </c:pt>
                <c:pt idx="461">
                  <c:v>40668</c:v>
                </c:pt>
                <c:pt idx="462">
                  <c:v>40669</c:v>
                </c:pt>
                <c:pt idx="463">
                  <c:v>40672</c:v>
                </c:pt>
                <c:pt idx="464">
                  <c:v>40673</c:v>
                </c:pt>
                <c:pt idx="465">
                  <c:v>40674</c:v>
                </c:pt>
                <c:pt idx="466">
                  <c:v>40675</c:v>
                </c:pt>
                <c:pt idx="467">
                  <c:v>40676</c:v>
                </c:pt>
                <c:pt idx="468">
                  <c:v>40679</c:v>
                </c:pt>
                <c:pt idx="469">
                  <c:v>40680</c:v>
                </c:pt>
                <c:pt idx="470">
                  <c:v>40681</c:v>
                </c:pt>
                <c:pt idx="471">
                  <c:v>40682</c:v>
                </c:pt>
                <c:pt idx="472">
                  <c:v>40683</c:v>
                </c:pt>
                <c:pt idx="473">
                  <c:v>40686</c:v>
                </c:pt>
                <c:pt idx="474">
                  <c:v>40687</c:v>
                </c:pt>
                <c:pt idx="475">
                  <c:v>40688</c:v>
                </c:pt>
                <c:pt idx="476">
                  <c:v>40689</c:v>
                </c:pt>
                <c:pt idx="477">
                  <c:v>40690</c:v>
                </c:pt>
                <c:pt idx="478">
                  <c:v>40693</c:v>
                </c:pt>
                <c:pt idx="479">
                  <c:v>40694</c:v>
                </c:pt>
                <c:pt idx="480">
                  <c:v>40695</c:v>
                </c:pt>
                <c:pt idx="481">
                  <c:v>40696</c:v>
                </c:pt>
                <c:pt idx="482">
                  <c:v>40697</c:v>
                </c:pt>
                <c:pt idx="483">
                  <c:v>40700</c:v>
                </c:pt>
                <c:pt idx="484">
                  <c:v>40701</c:v>
                </c:pt>
                <c:pt idx="485">
                  <c:v>40702</c:v>
                </c:pt>
                <c:pt idx="486">
                  <c:v>40703</c:v>
                </c:pt>
                <c:pt idx="487">
                  <c:v>40704</c:v>
                </c:pt>
                <c:pt idx="488">
                  <c:v>40707</c:v>
                </c:pt>
                <c:pt idx="489">
                  <c:v>40708</c:v>
                </c:pt>
                <c:pt idx="490">
                  <c:v>40709</c:v>
                </c:pt>
                <c:pt idx="491">
                  <c:v>40710</c:v>
                </c:pt>
                <c:pt idx="492">
                  <c:v>40711</c:v>
                </c:pt>
                <c:pt idx="493">
                  <c:v>40714</c:v>
                </c:pt>
                <c:pt idx="494">
                  <c:v>40715</c:v>
                </c:pt>
                <c:pt idx="495">
                  <c:v>40716</c:v>
                </c:pt>
                <c:pt idx="496">
                  <c:v>40717</c:v>
                </c:pt>
                <c:pt idx="497">
                  <c:v>40718</c:v>
                </c:pt>
                <c:pt idx="498">
                  <c:v>40721</c:v>
                </c:pt>
                <c:pt idx="499">
                  <c:v>40722</c:v>
                </c:pt>
                <c:pt idx="500">
                  <c:v>40723</c:v>
                </c:pt>
                <c:pt idx="501">
                  <c:v>40724</c:v>
                </c:pt>
                <c:pt idx="502">
                  <c:v>40725</c:v>
                </c:pt>
                <c:pt idx="503">
                  <c:v>40728</c:v>
                </c:pt>
                <c:pt idx="504">
                  <c:v>40729</c:v>
                </c:pt>
                <c:pt idx="505">
                  <c:v>40730</c:v>
                </c:pt>
                <c:pt idx="506">
                  <c:v>40731</c:v>
                </c:pt>
                <c:pt idx="507">
                  <c:v>40732</c:v>
                </c:pt>
                <c:pt idx="508">
                  <c:v>40735</c:v>
                </c:pt>
                <c:pt idx="509">
                  <c:v>40736</c:v>
                </c:pt>
                <c:pt idx="510">
                  <c:v>40737</c:v>
                </c:pt>
                <c:pt idx="511">
                  <c:v>40738</c:v>
                </c:pt>
                <c:pt idx="512">
                  <c:v>40739</c:v>
                </c:pt>
                <c:pt idx="513">
                  <c:v>40742</c:v>
                </c:pt>
                <c:pt idx="514">
                  <c:v>40743</c:v>
                </c:pt>
                <c:pt idx="515">
                  <c:v>40744</c:v>
                </c:pt>
                <c:pt idx="516">
                  <c:v>40745</c:v>
                </c:pt>
                <c:pt idx="517">
                  <c:v>40746</c:v>
                </c:pt>
                <c:pt idx="518">
                  <c:v>40749</c:v>
                </c:pt>
                <c:pt idx="519">
                  <c:v>40750</c:v>
                </c:pt>
                <c:pt idx="520">
                  <c:v>40751</c:v>
                </c:pt>
                <c:pt idx="521">
                  <c:v>40752</c:v>
                </c:pt>
                <c:pt idx="522">
                  <c:v>40753</c:v>
                </c:pt>
                <c:pt idx="523">
                  <c:v>40756</c:v>
                </c:pt>
                <c:pt idx="524">
                  <c:v>40757</c:v>
                </c:pt>
                <c:pt idx="525">
                  <c:v>40758</c:v>
                </c:pt>
                <c:pt idx="526">
                  <c:v>40759</c:v>
                </c:pt>
                <c:pt idx="527">
                  <c:v>40760</c:v>
                </c:pt>
                <c:pt idx="528">
                  <c:v>40763</c:v>
                </c:pt>
                <c:pt idx="529">
                  <c:v>40764</c:v>
                </c:pt>
                <c:pt idx="530">
                  <c:v>40765</c:v>
                </c:pt>
                <c:pt idx="531">
                  <c:v>40766</c:v>
                </c:pt>
                <c:pt idx="532">
                  <c:v>40767</c:v>
                </c:pt>
                <c:pt idx="533">
                  <c:v>40770</c:v>
                </c:pt>
                <c:pt idx="534">
                  <c:v>40771</c:v>
                </c:pt>
                <c:pt idx="535">
                  <c:v>40772</c:v>
                </c:pt>
                <c:pt idx="536">
                  <c:v>40773</c:v>
                </c:pt>
                <c:pt idx="537">
                  <c:v>40774</c:v>
                </c:pt>
                <c:pt idx="538">
                  <c:v>40777</c:v>
                </c:pt>
                <c:pt idx="539">
                  <c:v>40778</c:v>
                </c:pt>
                <c:pt idx="540">
                  <c:v>40779</c:v>
                </c:pt>
                <c:pt idx="541">
                  <c:v>40780</c:v>
                </c:pt>
                <c:pt idx="542">
                  <c:v>40781</c:v>
                </c:pt>
                <c:pt idx="543">
                  <c:v>40784</c:v>
                </c:pt>
                <c:pt idx="544">
                  <c:v>40785</c:v>
                </c:pt>
                <c:pt idx="545">
                  <c:v>40786</c:v>
                </c:pt>
                <c:pt idx="546">
                  <c:v>40787</c:v>
                </c:pt>
                <c:pt idx="547">
                  <c:v>40788</c:v>
                </c:pt>
                <c:pt idx="548">
                  <c:v>40791</c:v>
                </c:pt>
                <c:pt idx="549">
                  <c:v>40792</c:v>
                </c:pt>
                <c:pt idx="550">
                  <c:v>40793</c:v>
                </c:pt>
                <c:pt idx="551">
                  <c:v>40794</c:v>
                </c:pt>
                <c:pt idx="552">
                  <c:v>40795</c:v>
                </c:pt>
                <c:pt idx="553">
                  <c:v>40798</c:v>
                </c:pt>
                <c:pt idx="554">
                  <c:v>40799</c:v>
                </c:pt>
              </c:numCache>
            </c:numRef>
          </c:cat>
          <c:val>
            <c:numRef>
              <c:f>CDS!$AS$2500:$AS$3500</c:f>
              <c:numCache>
                <c:formatCode>General</c:formatCode>
                <c:ptCount val="1001"/>
                <c:pt idx="0">
                  <c:v>64.361000000000004</c:v>
                </c:pt>
                <c:pt idx="1">
                  <c:v>60.981999999999999</c:v>
                </c:pt>
                <c:pt idx="2">
                  <c:v>58.868000000000002</c:v>
                </c:pt>
                <c:pt idx="3">
                  <c:v>56.607000000000006</c:v>
                </c:pt>
                <c:pt idx="4">
                  <c:v>56.309000000000005</c:v>
                </c:pt>
                <c:pt idx="5">
                  <c:v>57.513000000000005</c:v>
                </c:pt>
                <c:pt idx="6">
                  <c:v>57.371000000000002</c:v>
                </c:pt>
                <c:pt idx="7">
                  <c:v>59.96</c:v>
                </c:pt>
                <c:pt idx="8">
                  <c:v>53.690000000000012</c:v>
                </c:pt>
                <c:pt idx="9">
                  <c:v>60.026000000000003</c:v>
                </c:pt>
                <c:pt idx="10">
                  <c:v>62.643000000000001</c:v>
                </c:pt>
                <c:pt idx="11">
                  <c:v>63.17</c:v>
                </c:pt>
                <c:pt idx="12">
                  <c:v>67.114000000000004</c:v>
                </c:pt>
                <c:pt idx="13">
                  <c:v>71</c:v>
                </c:pt>
                <c:pt idx="14">
                  <c:v>71.818000000000012</c:v>
                </c:pt>
                <c:pt idx="15">
                  <c:v>73.568000000000012</c:v>
                </c:pt>
                <c:pt idx="16">
                  <c:v>71.284000000000006</c:v>
                </c:pt>
                <c:pt idx="17">
                  <c:v>68.691000000000003</c:v>
                </c:pt>
                <c:pt idx="18">
                  <c:v>64.974000000000004</c:v>
                </c:pt>
                <c:pt idx="19">
                  <c:v>66.326999999999998</c:v>
                </c:pt>
                <c:pt idx="20">
                  <c:v>66.149000000000001</c:v>
                </c:pt>
                <c:pt idx="21">
                  <c:v>66.573999999999998</c:v>
                </c:pt>
                <c:pt idx="22">
                  <c:v>66.241000000000113</c:v>
                </c:pt>
                <c:pt idx="23">
                  <c:v>65.807000000000002</c:v>
                </c:pt>
                <c:pt idx="24">
                  <c:v>68.807000000000002</c:v>
                </c:pt>
                <c:pt idx="25">
                  <c:v>70.712999999999994</c:v>
                </c:pt>
                <c:pt idx="26">
                  <c:v>72.095000000000013</c:v>
                </c:pt>
                <c:pt idx="27">
                  <c:v>72.510999999999996</c:v>
                </c:pt>
                <c:pt idx="28">
                  <c:v>72.792000000000002</c:v>
                </c:pt>
                <c:pt idx="29">
                  <c:v>72.715000000000003</c:v>
                </c:pt>
                <c:pt idx="30">
                  <c:v>72.688000000000002</c:v>
                </c:pt>
                <c:pt idx="31">
                  <c:v>70.16</c:v>
                </c:pt>
                <c:pt idx="32">
                  <c:v>66.694999999999993</c:v>
                </c:pt>
                <c:pt idx="33">
                  <c:v>65.81</c:v>
                </c:pt>
                <c:pt idx="34">
                  <c:v>64.524999999999991</c:v>
                </c:pt>
                <c:pt idx="35">
                  <c:v>62.498000000000012</c:v>
                </c:pt>
                <c:pt idx="36">
                  <c:v>63.549000000000007</c:v>
                </c:pt>
                <c:pt idx="37">
                  <c:v>65.215000000000003</c:v>
                </c:pt>
                <c:pt idx="38">
                  <c:v>66.218000000000004</c:v>
                </c:pt>
                <c:pt idx="39">
                  <c:v>66.412999999999997</c:v>
                </c:pt>
                <c:pt idx="40">
                  <c:v>65.63</c:v>
                </c:pt>
                <c:pt idx="41">
                  <c:v>66.600999999999999</c:v>
                </c:pt>
                <c:pt idx="42">
                  <c:v>66.926000000000002</c:v>
                </c:pt>
                <c:pt idx="43">
                  <c:v>69.042000000000002</c:v>
                </c:pt>
                <c:pt idx="44">
                  <c:v>68.366</c:v>
                </c:pt>
                <c:pt idx="45">
                  <c:v>67.715999999999994</c:v>
                </c:pt>
                <c:pt idx="46">
                  <c:v>67.926000000000002</c:v>
                </c:pt>
                <c:pt idx="47">
                  <c:v>70.872999999999948</c:v>
                </c:pt>
                <c:pt idx="48">
                  <c:v>67.760999999999996</c:v>
                </c:pt>
                <c:pt idx="49">
                  <c:v>68.409000000000006</c:v>
                </c:pt>
                <c:pt idx="50">
                  <c:v>68.888999999999982</c:v>
                </c:pt>
                <c:pt idx="51">
                  <c:v>68.424000000000007</c:v>
                </c:pt>
                <c:pt idx="52">
                  <c:v>66.536000000000001</c:v>
                </c:pt>
                <c:pt idx="53">
                  <c:v>68.52</c:v>
                </c:pt>
                <c:pt idx="54">
                  <c:v>69.090999999999994</c:v>
                </c:pt>
                <c:pt idx="55">
                  <c:v>69.045000000000002</c:v>
                </c:pt>
                <c:pt idx="56">
                  <c:v>65.887999999999991</c:v>
                </c:pt>
                <c:pt idx="57">
                  <c:v>66.48</c:v>
                </c:pt>
                <c:pt idx="58">
                  <c:v>68.411000000000129</c:v>
                </c:pt>
                <c:pt idx="59">
                  <c:v>68.075999999999979</c:v>
                </c:pt>
                <c:pt idx="60">
                  <c:v>68.048000000000002</c:v>
                </c:pt>
                <c:pt idx="61">
                  <c:v>68.236000000000004</c:v>
                </c:pt>
                <c:pt idx="62">
                  <c:v>66.391000000000005</c:v>
                </c:pt>
                <c:pt idx="63">
                  <c:v>67.983000000000004</c:v>
                </c:pt>
                <c:pt idx="64">
                  <c:v>68.736000000000004</c:v>
                </c:pt>
                <c:pt idx="65">
                  <c:v>70.069000000000003</c:v>
                </c:pt>
                <c:pt idx="66">
                  <c:v>69.19</c:v>
                </c:pt>
                <c:pt idx="67">
                  <c:v>70.337999999999994</c:v>
                </c:pt>
                <c:pt idx="68">
                  <c:v>73.063999999999993</c:v>
                </c:pt>
                <c:pt idx="69">
                  <c:v>73.063999999999993</c:v>
                </c:pt>
                <c:pt idx="70">
                  <c:v>72.399000000000001</c:v>
                </c:pt>
                <c:pt idx="71">
                  <c:v>72.728999999999999</c:v>
                </c:pt>
                <c:pt idx="72">
                  <c:v>72.816999999999993</c:v>
                </c:pt>
                <c:pt idx="73">
                  <c:v>73.569000000000003</c:v>
                </c:pt>
                <c:pt idx="74">
                  <c:v>73.789000000000001</c:v>
                </c:pt>
                <c:pt idx="75">
                  <c:v>73.763999999999996</c:v>
                </c:pt>
                <c:pt idx="76">
                  <c:v>74.569000000000003</c:v>
                </c:pt>
                <c:pt idx="77">
                  <c:v>76.048000000000002</c:v>
                </c:pt>
                <c:pt idx="78">
                  <c:v>82.733999999999995</c:v>
                </c:pt>
                <c:pt idx="79">
                  <c:v>80.872999999999948</c:v>
                </c:pt>
                <c:pt idx="80">
                  <c:v>82.03</c:v>
                </c:pt>
                <c:pt idx="81">
                  <c:v>88.295000000000002</c:v>
                </c:pt>
                <c:pt idx="82">
                  <c:v>82.86999999999999</c:v>
                </c:pt>
                <c:pt idx="83">
                  <c:v>84.715000000000003</c:v>
                </c:pt>
                <c:pt idx="84">
                  <c:v>84.799000000000007</c:v>
                </c:pt>
                <c:pt idx="85">
                  <c:v>84.715000000000003</c:v>
                </c:pt>
                <c:pt idx="86">
                  <c:v>89.486999999999995</c:v>
                </c:pt>
                <c:pt idx="87">
                  <c:v>85.912999999999997</c:v>
                </c:pt>
                <c:pt idx="88">
                  <c:v>86.637</c:v>
                </c:pt>
                <c:pt idx="89">
                  <c:v>84.325000000000003</c:v>
                </c:pt>
                <c:pt idx="90">
                  <c:v>85.409000000000006</c:v>
                </c:pt>
                <c:pt idx="91">
                  <c:v>83.706000000000003</c:v>
                </c:pt>
                <c:pt idx="92">
                  <c:v>83.164000000000001</c:v>
                </c:pt>
                <c:pt idx="93">
                  <c:v>85.2</c:v>
                </c:pt>
                <c:pt idx="94">
                  <c:v>88.424000000000007</c:v>
                </c:pt>
                <c:pt idx="95">
                  <c:v>95.672999999999988</c:v>
                </c:pt>
                <c:pt idx="96">
                  <c:v>94.212999999999994</c:v>
                </c:pt>
                <c:pt idx="97">
                  <c:v>92.248000000000005</c:v>
                </c:pt>
                <c:pt idx="98">
                  <c:v>93.02</c:v>
                </c:pt>
                <c:pt idx="99">
                  <c:v>94.046999999999997</c:v>
                </c:pt>
                <c:pt idx="100">
                  <c:v>93.443000000000026</c:v>
                </c:pt>
                <c:pt idx="101">
                  <c:v>104.492</c:v>
                </c:pt>
                <c:pt idx="102">
                  <c:v>106.117</c:v>
                </c:pt>
                <c:pt idx="103">
                  <c:v>109.476</c:v>
                </c:pt>
                <c:pt idx="104">
                  <c:v>114.94000000000011</c:v>
                </c:pt>
                <c:pt idx="105">
                  <c:v>113.58199999999999</c:v>
                </c:pt>
                <c:pt idx="106">
                  <c:v>110.235</c:v>
                </c:pt>
                <c:pt idx="107">
                  <c:v>109.962</c:v>
                </c:pt>
                <c:pt idx="108">
                  <c:v>109.962</c:v>
                </c:pt>
                <c:pt idx="109">
                  <c:v>112.76100000000002</c:v>
                </c:pt>
                <c:pt idx="110">
                  <c:v>111.87499999999999</c:v>
                </c:pt>
                <c:pt idx="111">
                  <c:v>110.818</c:v>
                </c:pt>
                <c:pt idx="112">
                  <c:v>110.485</c:v>
                </c:pt>
                <c:pt idx="113">
                  <c:v>112.83199999999999</c:v>
                </c:pt>
                <c:pt idx="114">
                  <c:v>102.657</c:v>
                </c:pt>
                <c:pt idx="115">
                  <c:v>99.964000000000027</c:v>
                </c:pt>
                <c:pt idx="116">
                  <c:v>104.01700000000002</c:v>
                </c:pt>
                <c:pt idx="117">
                  <c:v>107.366</c:v>
                </c:pt>
                <c:pt idx="118">
                  <c:v>114.01</c:v>
                </c:pt>
                <c:pt idx="119">
                  <c:v>115.07299999999998</c:v>
                </c:pt>
                <c:pt idx="120">
                  <c:v>118.732</c:v>
                </c:pt>
                <c:pt idx="121">
                  <c:v>123.465</c:v>
                </c:pt>
                <c:pt idx="122">
                  <c:v>126.27200000000001</c:v>
                </c:pt>
                <c:pt idx="123">
                  <c:v>122.036</c:v>
                </c:pt>
                <c:pt idx="124">
                  <c:v>123.87799999999999</c:v>
                </c:pt>
                <c:pt idx="125">
                  <c:v>131.87800000000001</c:v>
                </c:pt>
                <c:pt idx="126">
                  <c:v>137.19999999999999</c:v>
                </c:pt>
                <c:pt idx="127">
                  <c:v>129.62</c:v>
                </c:pt>
                <c:pt idx="128">
                  <c:v>121.00700000000002</c:v>
                </c:pt>
                <c:pt idx="129">
                  <c:v>111.319</c:v>
                </c:pt>
                <c:pt idx="130">
                  <c:v>129.68</c:v>
                </c:pt>
                <c:pt idx="131">
                  <c:v>143.33200000000022</c:v>
                </c:pt>
                <c:pt idx="132">
                  <c:v>123.998</c:v>
                </c:pt>
                <c:pt idx="133">
                  <c:v>130.16800000000001</c:v>
                </c:pt>
                <c:pt idx="134">
                  <c:v>135.04499999999999</c:v>
                </c:pt>
                <c:pt idx="135">
                  <c:v>151.47</c:v>
                </c:pt>
                <c:pt idx="136">
                  <c:v>169.929</c:v>
                </c:pt>
                <c:pt idx="137">
                  <c:v>160.142</c:v>
                </c:pt>
                <c:pt idx="138">
                  <c:v>173.79499999999999</c:v>
                </c:pt>
                <c:pt idx="139">
                  <c:v>149.78200000000001</c:v>
                </c:pt>
                <c:pt idx="140">
                  <c:v>139.477</c:v>
                </c:pt>
                <c:pt idx="141">
                  <c:v>136.81399999999999</c:v>
                </c:pt>
                <c:pt idx="142">
                  <c:v>131.60900000000001</c:v>
                </c:pt>
                <c:pt idx="143">
                  <c:v>138.82700000000023</c:v>
                </c:pt>
                <c:pt idx="144">
                  <c:v>138.08100000000007</c:v>
                </c:pt>
                <c:pt idx="145">
                  <c:v>128.864</c:v>
                </c:pt>
                <c:pt idx="146">
                  <c:v>131.32800000000026</c:v>
                </c:pt>
                <c:pt idx="147">
                  <c:v>116.29700000000011</c:v>
                </c:pt>
                <c:pt idx="148">
                  <c:v>124.25700000000002</c:v>
                </c:pt>
                <c:pt idx="149">
                  <c:v>128.49700000000001</c:v>
                </c:pt>
                <c:pt idx="150">
                  <c:v>132.57399999999998</c:v>
                </c:pt>
                <c:pt idx="151">
                  <c:v>141.62200000000001</c:v>
                </c:pt>
                <c:pt idx="152">
                  <c:v>135.24899999999997</c:v>
                </c:pt>
                <c:pt idx="153">
                  <c:v>123.381</c:v>
                </c:pt>
                <c:pt idx="154">
                  <c:v>104.21400000000011</c:v>
                </c:pt>
                <c:pt idx="155">
                  <c:v>104.60299999999998</c:v>
                </c:pt>
                <c:pt idx="156">
                  <c:v>104.848</c:v>
                </c:pt>
                <c:pt idx="157">
                  <c:v>101.962</c:v>
                </c:pt>
                <c:pt idx="158">
                  <c:v>98.34</c:v>
                </c:pt>
                <c:pt idx="159">
                  <c:v>98.52</c:v>
                </c:pt>
                <c:pt idx="160">
                  <c:v>93.807000000000002</c:v>
                </c:pt>
                <c:pt idx="161">
                  <c:v>96.385999999999981</c:v>
                </c:pt>
                <c:pt idx="162">
                  <c:v>95.090999999999994</c:v>
                </c:pt>
                <c:pt idx="163">
                  <c:v>94.572999999999979</c:v>
                </c:pt>
                <c:pt idx="164">
                  <c:v>94.930999999999997</c:v>
                </c:pt>
                <c:pt idx="165">
                  <c:v>94.60899999999998</c:v>
                </c:pt>
                <c:pt idx="166">
                  <c:v>94.35</c:v>
                </c:pt>
                <c:pt idx="167">
                  <c:v>107.77200000000001</c:v>
                </c:pt>
                <c:pt idx="168">
                  <c:v>109.95</c:v>
                </c:pt>
                <c:pt idx="169">
                  <c:v>104.65300000000001</c:v>
                </c:pt>
                <c:pt idx="170">
                  <c:v>103.24600000000002</c:v>
                </c:pt>
                <c:pt idx="171">
                  <c:v>110.081</c:v>
                </c:pt>
                <c:pt idx="172">
                  <c:v>105.40300000000002</c:v>
                </c:pt>
                <c:pt idx="173">
                  <c:v>111.748</c:v>
                </c:pt>
                <c:pt idx="174">
                  <c:v>114.59699999999999</c:v>
                </c:pt>
                <c:pt idx="175">
                  <c:v>119.27500000000001</c:v>
                </c:pt>
                <c:pt idx="176">
                  <c:v>111.08499999999999</c:v>
                </c:pt>
                <c:pt idx="177">
                  <c:v>118.10499999999999</c:v>
                </c:pt>
                <c:pt idx="178">
                  <c:v>117.18799999999999</c:v>
                </c:pt>
                <c:pt idx="179">
                  <c:v>123.506</c:v>
                </c:pt>
                <c:pt idx="180">
                  <c:v>130.08200000000022</c:v>
                </c:pt>
                <c:pt idx="181">
                  <c:v>135.81900000000002</c:v>
                </c:pt>
                <c:pt idx="182">
                  <c:v>129.67099999999999</c:v>
                </c:pt>
                <c:pt idx="183">
                  <c:v>127.3</c:v>
                </c:pt>
                <c:pt idx="184">
                  <c:v>128.22999999999999</c:v>
                </c:pt>
                <c:pt idx="185">
                  <c:v>139.875</c:v>
                </c:pt>
                <c:pt idx="186">
                  <c:v>143.816</c:v>
                </c:pt>
                <c:pt idx="187">
                  <c:v>149.00800000000001</c:v>
                </c:pt>
                <c:pt idx="188">
                  <c:v>151.22499999999999</c:v>
                </c:pt>
                <c:pt idx="189">
                  <c:v>146.41200000000001</c:v>
                </c:pt>
                <c:pt idx="190">
                  <c:v>157.16300000000001</c:v>
                </c:pt>
                <c:pt idx="191">
                  <c:v>171.126</c:v>
                </c:pt>
                <c:pt idx="192">
                  <c:v>175.79</c:v>
                </c:pt>
                <c:pt idx="193">
                  <c:v>186.51300000000001</c:v>
                </c:pt>
                <c:pt idx="194">
                  <c:v>207.06900000000002</c:v>
                </c:pt>
                <c:pt idx="195">
                  <c:v>190.20099999999999</c:v>
                </c:pt>
                <c:pt idx="196">
                  <c:v>175.49300000000002</c:v>
                </c:pt>
                <c:pt idx="197">
                  <c:v>159.08600000000001</c:v>
                </c:pt>
                <c:pt idx="198">
                  <c:v>156.566</c:v>
                </c:pt>
                <c:pt idx="199">
                  <c:v>201.38100000000023</c:v>
                </c:pt>
                <c:pt idx="200">
                  <c:v>223.06200000000001</c:v>
                </c:pt>
                <c:pt idx="201">
                  <c:v>267.31099999999969</c:v>
                </c:pt>
                <c:pt idx="202">
                  <c:v>238.738</c:v>
                </c:pt>
                <c:pt idx="203">
                  <c:v>164.84399999999999</c:v>
                </c:pt>
                <c:pt idx="204">
                  <c:v>164.30500000000001</c:v>
                </c:pt>
                <c:pt idx="205">
                  <c:v>150.28399999999999</c:v>
                </c:pt>
                <c:pt idx="206">
                  <c:v>151.61199999999999</c:v>
                </c:pt>
                <c:pt idx="207">
                  <c:v>179.53900000000002</c:v>
                </c:pt>
                <c:pt idx="208">
                  <c:v>189.833</c:v>
                </c:pt>
                <c:pt idx="209">
                  <c:v>175.393</c:v>
                </c:pt>
                <c:pt idx="210">
                  <c:v>183.23699999999999</c:v>
                </c:pt>
                <c:pt idx="211">
                  <c:v>206.32700000000023</c:v>
                </c:pt>
                <c:pt idx="212">
                  <c:v>201.91499999999999</c:v>
                </c:pt>
                <c:pt idx="213">
                  <c:v>209.21299999999999</c:v>
                </c:pt>
                <c:pt idx="214">
                  <c:v>244.95700000000022</c:v>
                </c:pt>
                <c:pt idx="215">
                  <c:v>237.084</c:v>
                </c:pt>
                <c:pt idx="216">
                  <c:v>234.77599999999998</c:v>
                </c:pt>
                <c:pt idx="217">
                  <c:v>216.44800000000001</c:v>
                </c:pt>
                <c:pt idx="218">
                  <c:v>213.94300000000001</c:v>
                </c:pt>
                <c:pt idx="219">
                  <c:v>248.47800000000001</c:v>
                </c:pt>
                <c:pt idx="220">
                  <c:v>253.01599999999999</c:v>
                </c:pt>
                <c:pt idx="221">
                  <c:v>253.28100000000001</c:v>
                </c:pt>
                <c:pt idx="222">
                  <c:v>256.92799999999943</c:v>
                </c:pt>
                <c:pt idx="223">
                  <c:v>272.041</c:v>
                </c:pt>
                <c:pt idx="224">
                  <c:v>270.029</c:v>
                </c:pt>
                <c:pt idx="225">
                  <c:v>245.471</c:v>
                </c:pt>
                <c:pt idx="226">
                  <c:v>205.584</c:v>
                </c:pt>
                <c:pt idx="227">
                  <c:v>205.726</c:v>
                </c:pt>
                <c:pt idx="228">
                  <c:v>223.87100000000001</c:v>
                </c:pt>
                <c:pt idx="229">
                  <c:v>248.251</c:v>
                </c:pt>
                <c:pt idx="230">
                  <c:v>255.06900000000002</c:v>
                </c:pt>
                <c:pt idx="231">
                  <c:v>242.517</c:v>
                </c:pt>
                <c:pt idx="232">
                  <c:v>210.99800000000022</c:v>
                </c:pt>
                <c:pt idx="233">
                  <c:v>220.77599999999998</c:v>
                </c:pt>
                <c:pt idx="234">
                  <c:v>246.084</c:v>
                </c:pt>
                <c:pt idx="235">
                  <c:v>263.64499999999998</c:v>
                </c:pt>
                <c:pt idx="236">
                  <c:v>265.67599999999999</c:v>
                </c:pt>
                <c:pt idx="237">
                  <c:v>250.869</c:v>
                </c:pt>
                <c:pt idx="238">
                  <c:v>266.11099999999999</c:v>
                </c:pt>
                <c:pt idx="239">
                  <c:v>274.87</c:v>
                </c:pt>
                <c:pt idx="240">
                  <c:v>265.44499999999999</c:v>
                </c:pt>
                <c:pt idx="241">
                  <c:v>262.41799999999949</c:v>
                </c:pt>
                <c:pt idx="242">
                  <c:v>241.85100000000023</c:v>
                </c:pt>
                <c:pt idx="243">
                  <c:v>262.98099999999937</c:v>
                </c:pt>
                <c:pt idx="244">
                  <c:v>255.554</c:v>
                </c:pt>
                <c:pt idx="245">
                  <c:v>251.00899999999999</c:v>
                </c:pt>
                <c:pt idx="246">
                  <c:v>240.916</c:v>
                </c:pt>
                <c:pt idx="247">
                  <c:v>213.13200000000001</c:v>
                </c:pt>
                <c:pt idx="248">
                  <c:v>219.869</c:v>
                </c:pt>
                <c:pt idx="249">
                  <c:v>209.64599999999999</c:v>
                </c:pt>
                <c:pt idx="250">
                  <c:v>217.684</c:v>
                </c:pt>
                <c:pt idx="251">
                  <c:v>224.50700000000001</c:v>
                </c:pt>
                <c:pt idx="252">
                  <c:v>220.30100000000004</c:v>
                </c:pt>
                <c:pt idx="253">
                  <c:v>219.59300000000002</c:v>
                </c:pt>
                <c:pt idx="254">
                  <c:v>212.92000000000004</c:v>
                </c:pt>
                <c:pt idx="255">
                  <c:v>204.17599999999999</c:v>
                </c:pt>
                <c:pt idx="256">
                  <c:v>203.27399999999992</c:v>
                </c:pt>
                <c:pt idx="257">
                  <c:v>201.559</c:v>
                </c:pt>
                <c:pt idx="258">
                  <c:v>194.172</c:v>
                </c:pt>
                <c:pt idx="259">
                  <c:v>176.72399999999999</c:v>
                </c:pt>
                <c:pt idx="260">
                  <c:v>179.46900000000002</c:v>
                </c:pt>
                <c:pt idx="261">
                  <c:v>178.53800000000001</c:v>
                </c:pt>
                <c:pt idx="262">
                  <c:v>175.59</c:v>
                </c:pt>
                <c:pt idx="263">
                  <c:v>180.56399999999999</c:v>
                </c:pt>
                <c:pt idx="264">
                  <c:v>179.88000000000022</c:v>
                </c:pt>
                <c:pt idx="265">
                  <c:v>183.286</c:v>
                </c:pt>
                <c:pt idx="266">
                  <c:v>189.74299999999999</c:v>
                </c:pt>
                <c:pt idx="267">
                  <c:v>192.904</c:v>
                </c:pt>
                <c:pt idx="268">
                  <c:v>192.90600000000001</c:v>
                </c:pt>
                <c:pt idx="269">
                  <c:v>202.46800000000007</c:v>
                </c:pt>
                <c:pt idx="270">
                  <c:v>212.56</c:v>
                </c:pt>
                <c:pt idx="271">
                  <c:v>214.24399999999977</c:v>
                </c:pt>
                <c:pt idx="272">
                  <c:v>217.61899999999997</c:v>
                </c:pt>
                <c:pt idx="273">
                  <c:v>220.92200000000022</c:v>
                </c:pt>
                <c:pt idx="274">
                  <c:v>212.07900000000001</c:v>
                </c:pt>
                <c:pt idx="275">
                  <c:v>211.76</c:v>
                </c:pt>
                <c:pt idx="276">
                  <c:v>216.30500000000001</c:v>
                </c:pt>
                <c:pt idx="277">
                  <c:v>227.31399999999999</c:v>
                </c:pt>
                <c:pt idx="278">
                  <c:v>225.93600000000001</c:v>
                </c:pt>
                <c:pt idx="279">
                  <c:v>231.262</c:v>
                </c:pt>
                <c:pt idx="280">
                  <c:v>242.36800000000022</c:v>
                </c:pt>
                <c:pt idx="281">
                  <c:v>244.43100000000001</c:v>
                </c:pt>
                <c:pt idx="282">
                  <c:v>246.15300000000002</c:v>
                </c:pt>
                <c:pt idx="283">
                  <c:v>245.82900000000001</c:v>
                </c:pt>
                <c:pt idx="284">
                  <c:v>244.20599999999999</c:v>
                </c:pt>
                <c:pt idx="285">
                  <c:v>230.495</c:v>
                </c:pt>
                <c:pt idx="286">
                  <c:v>223.71199999999999</c:v>
                </c:pt>
                <c:pt idx="287">
                  <c:v>222.34300000000002</c:v>
                </c:pt>
                <c:pt idx="288">
                  <c:v>225.76399999999998</c:v>
                </c:pt>
                <c:pt idx="289">
                  <c:v>240.38100000000023</c:v>
                </c:pt>
                <c:pt idx="290">
                  <c:v>234.49300000000002</c:v>
                </c:pt>
                <c:pt idx="291">
                  <c:v>234.446</c:v>
                </c:pt>
                <c:pt idx="292">
                  <c:v>227.12800000000001</c:v>
                </c:pt>
                <c:pt idx="293">
                  <c:v>219.94399999999999</c:v>
                </c:pt>
                <c:pt idx="294">
                  <c:v>231.06100000000001</c:v>
                </c:pt>
                <c:pt idx="295">
                  <c:v>233.26499999999999</c:v>
                </c:pt>
                <c:pt idx="296">
                  <c:v>230.09900000000002</c:v>
                </c:pt>
                <c:pt idx="297">
                  <c:v>235.303</c:v>
                </c:pt>
                <c:pt idx="298">
                  <c:v>235.124</c:v>
                </c:pt>
                <c:pt idx="299">
                  <c:v>233.78200000000001</c:v>
                </c:pt>
                <c:pt idx="300">
                  <c:v>236.28</c:v>
                </c:pt>
                <c:pt idx="301">
                  <c:v>229.45700000000022</c:v>
                </c:pt>
                <c:pt idx="302">
                  <c:v>225.25</c:v>
                </c:pt>
                <c:pt idx="303">
                  <c:v>229.054</c:v>
                </c:pt>
                <c:pt idx="304">
                  <c:v>233.685</c:v>
                </c:pt>
                <c:pt idx="305">
                  <c:v>229.524</c:v>
                </c:pt>
                <c:pt idx="306">
                  <c:v>229.82400000000001</c:v>
                </c:pt>
                <c:pt idx="307">
                  <c:v>226.79900000000001</c:v>
                </c:pt>
                <c:pt idx="308">
                  <c:v>228.874</c:v>
                </c:pt>
                <c:pt idx="309">
                  <c:v>228.05800000000022</c:v>
                </c:pt>
                <c:pt idx="310">
                  <c:v>230.39600000000004</c:v>
                </c:pt>
                <c:pt idx="311">
                  <c:v>227.96900000000002</c:v>
                </c:pt>
                <c:pt idx="312">
                  <c:v>218.69399999999999</c:v>
                </c:pt>
                <c:pt idx="313">
                  <c:v>213.63300000000001</c:v>
                </c:pt>
                <c:pt idx="314">
                  <c:v>211.571</c:v>
                </c:pt>
                <c:pt idx="315">
                  <c:v>202.73</c:v>
                </c:pt>
                <c:pt idx="316">
                  <c:v>200.92600000000004</c:v>
                </c:pt>
                <c:pt idx="317">
                  <c:v>200.911</c:v>
                </c:pt>
                <c:pt idx="318">
                  <c:v>198.84900000000002</c:v>
                </c:pt>
                <c:pt idx="319">
                  <c:v>200.899</c:v>
                </c:pt>
                <c:pt idx="320">
                  <c:v>201.73099999999999</c:v>
                </c:pt>
                <c:pt idx="321">
                  <c:v>201.38700000000023</c:v>
                </c:pt>
                <c:pt idx="322">
                  <c:v>204.57499999999999</c:v>
                </c:pt>
                <c:pt idx="323">
                  <c:v>200.30800000000022</c:v>
                </c:pt>
                <c:pt idx="324">
                  <c:v>201.00299999999999</c:v>
                </c:pt>
                <c:pt idx="325">
                  <c:v>206.31900000000002</c:v>
                </c:pt>
                <c:pt idx="326">
                  <c:v>210.37800000000001</c:v>
                </c:pt>
                <c:pt idx="327">
                  <c:v>215.41300000000001</c:v>
                </c:pt>
                <c:pt idx="328">
                  <c:v>225.56300000000002</c:v>
                </c:pt>
                <c:pt idx="329">
                  <c:v>225.88200000000029</c:v>
                </c:pt>
                <c:pt idx="330">
                  <c:v>229.56399999999999</c:v>
                </c:pt>
                <c:pt idx="331">
                  <c:v>235.35100000000023</c:v>
                </c:pt>
                <c:pt idx="332">
                  <c:v>248.47399999999999</c:v>
                </c:pt>
                <c:pt idx="333">
                  <c:v>264.79499999999956</c:v>
                </c:pt>
                <c:pt idx="334">
                  <c:v>265.10599999999999</c:v>
                </c:pt>
                <c:pt idx="335">
                  <c:v>276.16000000000008</c:v>
                </c:pt>
                <c:pt idx="336">
                  <c:v>277.49199999999917</c:v>
                </c:pt>
                <c:pt idx="337">
                  <c:v>267.02199999999937</c:v>
                </c:pt>
                <c:pt idx="338">
                  <c:v>255.95600000000007</c:v>
                </c:pt>
                <c:pt idx="339">
                  <c:v>258.858</c:v>
                </c:pt>
                <c:pt idx="340">
                  <c:v>257.60899999999964</c:v>
                </c:pt>
                <c:pt idx="341">
                  <c:v>257.9779999999995</c:v>
                </c:pt>
                <c:pt idx="342">
                  <c:v>261.83699999999936</c:v>
                </c:pt>
                <c:pt idx="343">
                  <c:v>282.22499999999957</c:v>
                </c:pt>
                <c:pt idx="344">
                  <c:v>301.43099999999924</c:v>
                </c:pt>
                <c:pt idx="345">
                  <c:v>296.66300000000001</c:v>
                </c:pt>
                <c:pt idx="346">
                  <c:v>301.57299999999969</c:v>
                </c:pt>
                <c:pt idx="347">
                  <c:v>323.70299999999969</c:v>
                </c:pt>
                <c:pt idx="348">
                  <c:v>350.35399999999993</c:v>
                </c:pt>
                <c:pt idx="349">
                  <c:v>365.34800000000001</c:v>
                </c:pt>
                <c:pt idx="350">
                  <c:v>316.60300000000001</c:v>
                </c:pt>
                <c:pt idx="351">
                  <c:v>296.34100000000001</c:v>
                </c:pt>
                <c:pt idx="352">
                  <c:v>294.09500000000003</c:v>
                </c:pt>
                <c:pt idx="353">
                  <c:v>313.52799999999957</c:v>
                </c:pt>
                <c:pt idx="354">
                  <c:v>307.51499999999999</c:v>
                </c:pt>
                <c:pt idx="355">
                  <c:v>304.54000000000002</c:v>
                </c:pt>
                <c:pt idx="356">
                  <c:v>324.666</c:v>
                </c:pt>
                <c:pt idx="357">
                  <c:v>334.85700000000008</c:v>
                </c:pt>
                <c:pt idx="358">
                  <c:v>334.97899999999925</c:v>
                </c:pt>
                <c:pt idx="359">
                  <c:v>324.27999999999969</c:v>
                </c:pt>
                <c:pt idx="360">
                  <c:v>319.06</c:v>
                </c:pt>
                <c:pt idx="361">
                  <c:v>324.05399999999969</c:v>
                </c:pt>
                <c:pt idx="362">
                  <c:v>331.77799999999957</c:v>
                </c:pt>
                <c:pt idx="363">
                  <c:v>340.20299999999969</c:v>
                </c:pt>
                <c:pt idx="364">
                  <c:v>343.40799999999956</c:v>
                </c:pt>
                <c:pt idx="365">
                  <c:v>347.81700000000001</c:v>
                </c:pt>
                <c:pt idx="366">
                  <c:v>346.17</c:v>
                </c:pt>
                <c:pt idx="367">
                  <c:v>345.09399999999937</c:v>
                </c:pt>
                <c:pt idx="368">
                  <c:v>346.55399999999969</c:v>
                </c:pt>
                <c:pt idx="369">
                  <c:v>347.27299999999963</c:v>
                </c:pt>
                <c:pt idx="370">
                  <c:v>349.79799999999949</c:v>
                </c:pt>
                <c:pt idx="371">
                  <c:v>349.44499999999999</c:v>
                </c:pt>
                <c:pt idx="372">
                  <c:v>349.51</c:v>
                </c:pt>
                <c:pt idx="373">
                  <c:v>349.00599999999969</c:v>
                </c:pt>
                <c:pt idx="374">
                  <c:v>345.90499999999969</c:v>
                </c:pt>
                <c:pt idx="375">
                  <c:v>343.245</c:v>
                </c:pt>
                <c:pt idx="376">
                  <c:v>347.697</c:v>
                </c:pt>
                <c:pt idx="377">
                  <c:v>352.41199999999918</c:v>
                </c:pt>
                <c:pt idx="378">
                  <c:v>360.548</c:v>
                </c:pt>
                <c:pt idx="379">
                  <c:v>350.41999999999956</c:v>
                </c:pt>
                <c:pt idx="380">
                  <c:v>332.42399999999918</c:v>
                </c:pt>
                <c:pt idx="381">
                  <c:v>307.57900000000001</c:v>
                </c:pt>
                <c:pt idx="382">
                  <c:v>300.19499999999999</c:v>
                </c:pt>
                <c:pt idx="383">
                  <c:v>300.06799999999993</c:v>
                </c:pt>
                <c:pt idx="384">
                  <c:v>299.02999999999969</c:v>
                </c:pt>
                <c:pt idx="385">
                  <c:v>282.95400000000001</c:v>
                </c:pt>
                <c:pt idx="386">
                  <c:v>277.505</c:v>
                </c:pt>
                <c:pt idx="387">
                  <c:v>265.59899999999936</c:v>
                </c:pt>
                <c:pt idx="388">
                  <c:v>255.27399999999992</c:v>
                </c:pt>
                <c:pt idx="389">
                  <c:v>266.75200000000001</c:v>
                </c:pt>
                <c:pt idx="390">
                  <c:v>269.77299999999963</c:v>
                </c:pt>
                <c:pt idx="391">
                  <c:v>275.68200000000002</c:v>
                </c:pt>
                <c:pt idx="392">
                  <c:v>265.83999999999969</c:v>
                </c:pt>
                <c:pt idx="393">
                  <c:v>248.905</c:v>
                </c:pt>
                <c:pt idx="394">
                  <c:v>228.041</c:v>
                </c:pt>
                <c:pt idx="395">
                  <c:v>222.06200000000001</c:v>
                </c:pt>
                <c:pt idx="396">
                  <c:v>227.303</c:v>
                </c:pt>
                <c:pt idx="397">
                  <c:v>222.64299999999997</c:v>
                </c:pt>
                <c:pt idx="398">
                  <c:v>230.63300000000001</c:v>
                </c:pt>
                <c:pt idx="399">
                  <c:v>234.91300000000001</c:v>
                </c:pt>
                <c:pt idx="400">
                  <c:v>235.761</c:v>
                </c:pt>
                <c:pt idx="401">
                  <c:v>236.065</c:v>
                </c:pt>
                <c:pt idx="402">
                  <c:v>241.65100000000001</c:v>
                </c:pt>
                <c:pt idx="403">
                  <c:v>253.167</c:v>
                </c:pt>
                <c:pt idx="404">
                  <c:v>251.38500000000022</c:v>
                </c:pt>
                <c:pt idx="405">
                  <c:v>248.99300000000002</c:v>
                </c:pt>
                <c:pt idx="406">
                  <c:v>249.63300000000001</c:v>
                </c:pt>
                <c:pt idx="407">
                  <c:v>248.584</c:v>
                </c:pt>
                <c:pt idx="408">
                  <c:v>254.49200000000022</c:v>
                </c:pt>
                <c:pt idx="409">
                  <c:v>257.26299999999969</c:v>
                </c:pt>
                <c:pt idx="410">
                  <c:v>264.03500000000003</c:v>
                </c:pt>
                <c:pt idx="411">
                  <c:v>271.69600000000003</c:v>
                </c:pt>
                <c:pt idx="412">
                  <c:v>264.584</c:v>
                </c:pt>
                <c:pt idx="413">
                  <c:v>249.37300000000002</c:v>
                </c:pt>
                <c:pt idx="414">
                  <c:v>245.36</c:v>
                </c:pt>
                <c:pt idx="415">
                  <c:v>242.62</c:v>
                </c:pt>
                <c:pt idx="416">
                  <c:v>238.60499999999999</c:v>
                </c:pt>
                <c:pt idx="417">
                  <c:v>237.68100000000001</c:v>
                </c:pt>
                <c:pt idx="418">
                  <c:v>238.684</c:v>
                </c:pt>
                <c:pt idx="419">
                  <c:v>240.74699999999999</c:v>
                </c:pt>
                <c:pt idx="420">
                  <c:v>252.63900000000001</c:v>
                </c:pt>
                <c:pt idx="421">
                  <c:v>257.18599999999969</c:v>
                </c:pt>
                <c:pt idx="422">
                  <c:v>256.91499999999957</c:v>
                </c:pt>
                <c:pt idx="423">
                  <c:v>240.64499999999998</c:v>
                </c:pt>
                <c:pt idx="424">
                  <c:v>238.77199999999999</c:v>
                </c:pt>
                <c:pt idx="425">
                  <c:v>227.20699999999999</c:v>
                </c:pt>
                <c:pt idx="426">
                  <c:v>222.68</c:v>
                </c:pt>
                <c:pt idx="427">
                  <c:v>213.68800000000007</c:v>
                </c:pt>
                <c:pt idx="428">
                  <c:v>210</c:v>
                </c:pt>
                <c:pt idx="429">
                  <c:v>216.42700000000022</c:v>
                </c:pt>
                <c:pt idx="430">
                  <c:v>219.74899999999997</c:v>
                </c:pt>
                <c:pt idx="431">
                  <c:v>218.101</c:v>
                </c:pt>
                <c:pt idx="432">
                  <c:v>226.84399999999999</c:v>
                </c:pt>
                <c:pt idx="433">
                  <c:v>212.68</c:v>
                </c:pt>
                <c:pt idx="434">
                  <c:v>218.59900000000002</c:v>
                </c:pt>
                <c:pt idx="435">
                  <c:v>218.64899999999997</c:v>
                </c:pt>
                <c:pt idx="436">
                  <c:v>233.46</c:v>
                </c:pt>
                <c:pt idx="437">
                  <c:v>218.05600000000001</c:v>
                </c:pt>
                <c:pt idx="438">
                  <c:v>223.98400000000001</c:v>
                </c:pt>
                <c:pt idx="439">
                  <c:v>220.59100000000001</c:v>
                </c:pt>
                <c:pt idx="440">
                  <c:v>201.14599999999999</c:v>
                </c:pt>
                <c:pt idx="441">
                  <c:v>203.83</c:v>
                </c:pt>
                <c:pt idx="442">
                  <c:v>197.16499999999999</c:v>
                </c:pt>
                <c:pt idx="443">
                  <c:v>200.78100000000001</c:v>
                </c:pt>
                <c:pt idx="444">
                  <c:v>210.98500000000001</c:v>
                </c:pt>
                <c:pt idx="445">
                  <c:v>222.06300000000002</c:v>
                </c:pt>
                <c:pt idx="446">
                  <c:v>219.55700000000004</c:v>
                </c:pt>
                <c:pt idx="447">
                  <c:v>235.27099999999999</c:v>
                </c:pt>
                <c:pt idx="448">
                  <c:v>247.29599999999999</c:v>
                </c:pt>
                <c:pt idx="449">
                  <c:v>241.19</c:v>
                </c:pt>
                <c:pt idx="450">
                  <c:v>243</c:v>
                </c:pt>
                <c:pt idx="451">
                  <c:v>248.815</c:v>
                </c:pt>
                <c:pt idx="452">
                  <c:v>248.1</c:v>
                </c:pt>
                <c:pt idx="453">
                  <c:v>248.15200000000004</c:v>
                </c:pt>
                <c:pt idx="454">
                  <c:v>253.929</c:v>
                </c:pt>
                <c:pt idx="455">
                  <c:v>251.63499999999999</c:v>
                </c:pt>
                <c:pt idx="456">
                  <c:v>242.24299999999999</c:v>
                </c:pt>
                <c:pt idx="457">
                  <c:v>236.88200000000029</c:v>
                </c:pt>
                <c:pt idx="458">
                  <c:v>235.77499999999998</c:v>
                </c:pt>
                <c:pt idx="459">
                  <c:v>233.27899999999997</c:v>
                </c:pt>
                <c:pt idx="460">
                  <c:v>226.667</c:v>
                </c:pt>
                <c:pt idx="461">
                  <c:v>236.36600000000001</c:v>
                </c:pt>
                <c:pt idx="462">
                  <c:v>242.72900000000001</c:v>
                </c:pt>
                <c:pt idx="463">
                  <c:v>259.30700000000002</c:v>
                </c:pt>
                <c:pt idx="464">
                  <c:v>248.09</c:v>
                </c:pt>
                <c:pt idx="465">
                  <c:v>244.131</c:v>
                </c:pt>
                <c:pt idx="466">
                  <c:v>242.268</c:v>
                </c:pt>
                <c:pt idx="467">
                  <c:v>235.44399999999999</c:v>
                </c:pt>
                <c:pt idx="468">
                  <c:v>225.5</c:v>
                </c:pt>
                <c:pt idx="469">
                  <c:v>233.929</c:v>
                </c:pt>
                <c:pt idx="470">
                  <c:v>240.95500000000001</c:v>
                </c:pt>
                <c:pt idx="471">
                  <c:v>242.50299999999999</c:v>
                </c:pt>
                <c:pt idx="472">
                  <c:v>259.97000000000003</c:v>
                </c:pt>
                <c:pt idx="473">
                  <c:v>273.25299999999999</c:v>
                </c:pt>
                <c:pt idx="474">
                  <c:v>260.33499999999964</c:v>
                </c:pt>
                <c:pt idx="475">
                  <c:v>256.34699999999964</c:v>
                </c:pt>
                <c:pt idx="476">
                  <c:v>253.03200000000001</c:v>
                </c:pt>
                <c:pt idx="477">
                  <c:v>254.548</c:v>
                </c:pt>
                <c:pt idx="478">
                  <c:v>254.529</c:v>
                </c:pt>
                <c:pt idx="479">
                  <c:v>251.01300000000001</c:v>
                </c:pt>
                <c:pt idx="480">
                  <c:v>252.43700000000001</c:v>
                </c:pt>
                <c:pt idx="481">
                  <c:v>254.18100000000001</c:v>
                </c:pt>
                <c:pt idx="482">
                  <c:v>237.155</c:v>
                </c:pt>
                <c:pt idx="483">
                  <c:v>240.04</c:v>
                </c:pt>
                <c:pt idx="484">
                  <c:v>241.67299999999997</c:v>
                </c:pt>
                <c:pt idx="485">
                  <c:v>253.59200000000001</c:v>
                </c:pt>
                <c:pt idx="486">
                  <c:v>258.697</c:v>
                </c:pt>
                <c:pt idx="487">
                  <c:v>273.0259999999995</c:v>
                </c:pt>
                <c:pt idx="488">
                  <c:v>283.69600000000003</c:v>
                </c:pt>
                <c:pt idx="489">
                  <c:v>273.05900000000008</c:v>
                </c:pt>
                <c:pt idx="490">
                  <c:v>288.55799999999999</c:v>
                </c:pt>
                <c:pt idx="491">
                  <c:v>300.19400000000002</c:v>
                </c:pt>
                <c:pt idx="492">
                  <c:v>288.71799999999956</c:v>
                </c:pt>
                <c:pt idx="493">
                  <c:v>291.76299999999969</c:v>
                </c:pt>
                <c:pt idx="494">
                  <c:v>262.541</c:v>
                </c:pt>
                <c:pt idx="495">
                  <c:v>284.82499999999999</c:v>
                </c:pt>
                <c:pt idx="496">
                  <c:v>293.9899999999995</c:v>
                </c:pt>
                <c:pt idx="497">
                  <c:v>298.00400000000002</c:v>
                </c:pt>
                <c:pt idx="498">
                  <c:v>296.68</c:v>
                </c:pt>
                <c:pt idx="499">
                  <c:v>286.29399999999919</c:v>
                </c:pt>
                <c:pt idx="500">
                  <c:v>280.49899999999923</c:v>
                </c:pt>
                <c:pt idx="501">
                  <c:v>269.90899999999937</c:v>
                </c:pt>
                <c:pt idx="502">
                  <c:v>267.351</c:v>
                </c:pt>
                <c:pt idx="503">
                  <c:v>262.4129999999995</c:v>
                </c:pt>
                <c:pt idx="504">
                  <c:v>269.90899999999937</c:v>
                </c:pt>
                <c:pt idx="505">
                  <c:v>294.08999999999969</c:v>
                </c:pt>
                <c:pt idx="506">
                  <c:v>301.73200000000003</c:v>
                </c:pt>
                <c:pt idx="507">
                  <c:v>314.15899999999999</c:v>
                </c:pt>
                <c:pt idx="508">
                  <c:v>331.303</c:v>
                </c:pt>
                <c:pt idx="509">
                  <c:v>317.16699999999969</c:v>
                </c:pt>
                <c:pt idx="510">
                  <c:v>318.58300000000003</c:v>
                </c:pt>
                <c:pt idx="511">
                  <c:v>323.37900000000002</c:v>
                </c:pt>
                <c:pt idx="512">
                  <c:v>345.98499999999956</c:v>
                </c:pt>
                <c:pt idx="513">
                  <c:v>381.60199999999969</c:v>
                </c:pt>
                <c:pt idx="514">
                  <c:v>355.827</c:v>
                </c:pt>
                <c:pt idx="515">
                  <c:v>341.06599999999969</c:v>
                </c:pt>
                <c:pt idx="516">
                  <c:v>309.33999999999969</c:v>
                </c:pt>
                <c:pt idx="517">
                  <c:v>308.99499999999949</c:v>
                </c:pt>
                <c:pt idx="518">
                  <c:v>336.33699999999936</c:v>
                </c:pt>
                <c:pt idx="519">
                  <c:v>302.75099999999969</c:v>
                </c:pt>
                <c:pt idx="520">
                  <c:v>314.49799999999937</c:v>
                </c:pt>
                <c:pt idx="521">
                  <c:v>345.65800000000002</c:v>
                </c:pt>
                <c:pt idx="522">
                  <c:v>362.9899999999995</c:v>
                </c:pt>
                <c:pt idx="523">
                  <c:v>386.089</c:v>
                </c:pt>
                <c:pt idx="524">
                  <c:v>405.512</c:v>
                </c:pt>
                <c:pt idx="525">
                  <c:v>419.55399999999969</c:v>
                </c:pt>
                <c:pt idx="526">
                  <c:v>429.53</c:v>
                </c:pt>
                <c:pt idx="527">
                  <c:v>405.024</c:v>
                </c:pt>
                <c:pt idx="528">
                  <c:v>352.33199999999937</c:v>
                </c:pt>
                <c:pt idx="529">
                  <c:v>348.45</c:v>
                </c:pt>
                <c:pt idx="530">
                  <c:v>369.524</c:v>
                </c:pt>
                <c:pt idx="531">
                  <c:v>368.77299999999963</c:v>
                </c:pt>
                <c:pt idx="532">
                  <c:v>354.59199999999925</c:v>
                </c:pt>
                <c:pt idx="533">
                  <c:v>330.31</c:v>
                </c:pt>
                <c:pt idx="534">
                  <c:v>354.43400000000003</c:v>
                </c:pt>
                <c:pt idx="535">
                  <c:v>331.11200000000002</c:v>
                </c:pt>
                <c:pt idx="536">
                  <c:v>361.94900000000001</c:v>
                </c:pt>
                <c:pt idx="537">
                  <c:v>364.43400000000003</c:v>
                </c:pt>
                <c:pt idx="538">
                  <c:v>358.51299999999969</c:v>
                </c:pt>
                <c:pt idx="539">
                  <c:v>377.26900000000001</c:v>
                </c:pt>
                <c:pt idx="540">
                  <c:v>375.79499999999956</c:v>
                </c:pt>
                <c:pt idx="541">
                  <c:v>375.64299999999997</c:v>
                </c:pt>
                <c:pt idx="542">
                  <c:v>377.58199999999937</c:v>
                </c:pt>
                <c:pt idx="543">
                  <c:v>374.27199999999937</c:v>
                </c:pt>
                <c:pt idx="544">
                  <c:v>370.875</c:v>
                </c:pt>
                <c:pt idx="545">
                  <c:v>357.55700000000002</c:v>
                </c:pt>
                <c:pt idx="546">
                  <c:v>375.65800000000002</c:v>
                </c:pt>
                <c:pt idx="547">
                  <c:v>391.49699999999916</c:v>
                </c:pt>
                <c:pt idx="548">
                  <c:v>423.09299999999956</c:v>
                </c:pt>
                <c:pt idx="549">
                  <c:v>422.13200000000001</c:v>
                </c:pt>
                <c:pt idx="550">
                  <c:v>368.7</c:v>
                </c:pt>
                <c:pt idx="551">
                  <c:v>391.2759999999995</c:v>
                </c:pt>
                <c:pt idx="552">
                  <c:v>412.803</c:v>
                </c:pt>
                <c:pt idx="553">
                  <c:v>427.56</c:v>
                </c:pt>
                <c:pt idx="554">
                  <c:v>427.56</c:v>
                </c:pt>
              </c:numCache>
            </c:numRef>
          </c:val>
          <c:smooth val="0"/>
        </c:ser>
        <c:ser>
          <c:idx val="3"/>
          <c:order val="3"/>
          <c:tx>
            <c:v>Portugal</c:v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CDS!$Q$2500:$Q$3100</c:f>
              <c:numCache>
                <c:formatCode>dd/mm/yy</c:formatCode>
                <c:ptCount val="601"/>
                <c:pt idx="0">
                  <c:v>40023</c:v>
                </c:pt>
                <c:pt idx="1">
                  <c:v>40024</c:v>
                </c:pt>
                <c:pt idx="2">
                  <c:v>40025</c:v>
                </c:pt>
                <c:pt idx="3">
                  <c:v>40028</c:v>
                </c:pt>
                <c:pt idx="4">
                  <c:v>40029</c:v>
                </c:pt>
                <c:pt idx="5">
                  <c:v>40030</c:v>
                </c:pt>
                <c:pt idx="6">
                  <c:v>40031</c:v>
                </c:pt>
                <c:pt idx="7">
                  <c:v>40032</c:v>
                </c:pt>
                <c:pt idx="8">
                  <c:v>40035</c:v>
                </c:pt>
                <c:pt idx="9">
                  <c:v>40036</c:v>
                </c:pt>
                <c:pt idx="10">
                  <c:v>40037</c:v>
                </c:pt>
                <c:pt idx="11">
                  <c:v>40038</c:v>
                </c:pt>
                <c:pt idx="12">
                  <c:v>40039</c:v>
                </c:pt>
                <c:pt idx="13">
                  <c:v>40042</c:v>
                </c:pt>
                <c:pt idx="14">
                  <c:v>40043</c:v>
                </c:pt>
                <c:pt idx="15">
                  <c:v>40044</c:v>
                </c:pt>
                <c:pt idx="16">
                  <c:v>40045</c:v>
                </c:pt>
                <c:pt idx="17">
                  <c:v>40046</c:v>
                </c:pt>
                <c:pt idx="18">
                  <c:v>40049</c:v>
                </c:pt>
                <c:pt idx="19">
                  <c:v>40050</c:v>
                </c:pt>
                <c:pt idx="20">
                  <c:v>40051</c:v>
                </c:pt>
                <c:pt idx="21">
                  <c:v>40052</c:v>
                </c:pt>
                <c:pt idx="22">
                  <c:v>40053</c:v>
                </c:pt>
                <c:pt idx="23">
                  <c:v>40056</c:v>
                </c:pt>
                <c:pt idx="24">
                  <c:v>40057</c:v>
                </c:pt>
                <c:pt idx="25">
                  <c:v>40058</c:v>
                </c:pt>
                <c:pt idx="26">
                  <c:v>40059</c:v>
                </c:pt>
                <c:pt idx="27">
                  <c:v>40060</c:v>
                </c:pt>
                <c:pt idx="28">
                  <c:v>40063</c:v>
                </c:pt>
                <c:pt idx="29">
                  <c:v>40064</c:v>
                </c:pt>
                <c:pt idx="30">
                  <c:v>40065</c:v>
                </c:pt>
                <c:pt idx="31">
                  <c:v>40066</c:v>
                </c:pt>
                <c:pt idx="32">
                  <c:v>40067</c:v>
                </c:pt>
                <c:pt idx="33">
                  <c:v>40070</c:v>
                </c:pt>
                <c:pt idx="34">
                  <c:v>40071</c:v>
                </c:pt>
                <c:pt idx="35">
                  <c:v>40072</c:v>
                </c:pt>
                <c:pt idx="36">
                  <c:v>40073</c:v>
                </c:pt>
                <c:pt idx="37">
                  <c:v>40074</c:v>
                </c:pt>
                <c:pt idx="38">
                  <c:v>40077</c:v>
                </c:pt>
                <c:pt idx="39">
                  <c:v>40078</c:v>
                </c:pt>
                <c:pt idx="40">
                  <c:v>40079</c:v>
                </c:pt>
                <c:pt idx="41">
                  <c:v>40080</c:v>
                </c:pt>
                <c:pt idx="42">
                  <c:v>40081</c:v>
                </c:pt>
                <c:pt idx="43">
                  <c:v>40084</c:v>
                </c:pt>
                <c:pt idx="44">
                  <c:v>40085</c:v>
                </c:pt>
                <c:pt idx="45">
                  <c:v>40086</c:v>
                </c:pt>
                <c:pt idx="46">
                  <c:v>40087</c:v>
                </c:pt>
                <c:pt idx="47">
                  <c:v>40088</c:v>
                </c:pt>
                <c:pt idx="48">
                  <c:v>40091</c:v>
                </c:pt>
                <c:pt idx="49">
                  <c:v>40092</c:v>
                </c:pt>
                <c:pt idx="50">
                  <c:v>40093</c:v>
                </c:pt>
                <c:pt idx="51">
                  <c:v>40094</c:v>
                </c:pt>
                <c:pt idx="52">
                  <c:v>40095</c:v>
                </c:pt>
                <c:pt idx="53">
                  <c:v>40098</c:v>
                </c:pt>
                <c:pt idx="54">
                  <c:v>40099</c:v>
                </c:pt>
                <c:pt idx="55">
                  <c:v>40100</c:v>
                </c:pt>
                <c:pt idx="56">
                  <c:v>40101</c:v>
                </c:pt>
                <c:pt idx="57">
                  <c:v>40102</c:v>
                </c:pt>
                <c:pt idx="58">
                  <c:v>40105</c:v>
                </c:pt>
                <c:pt idx="59">
                  <c:v>40106</c:v>
                </c:pt>
                <c:pt idx="60">
                  <c:v>40107</c:v>
                </c:pt>
                <c:pt idx="61">
                  <c:v>40108</c:v>
                </c:pt>
                <c:pt idx="62">
                  <c:v>40109</c:v>
                </c:pt>
                <c:pt idx="63">
                  <c:v>40112</c:v>
                </c:pt>
                <c:pt idx="64">
                  <c:v>40113</c:v>
                </c:pt>
                <c:pt idx="65">
                  <c:v>40114</c:v>
                </c:pt>
                <c:pt idx="66">
                  <c:v>40115</c:v>
                </c:pt>
                <c:pt idx="67">
                  <c:v>40116</c:v>
                </c:pt>
                <c:pt idx="68">
                  <c:v>40119</c:v>
                </c:pt>
                <c:pt idx="69">
                  <c:v>40120</c:v>
                </c:pt>
                <c:pt idx="70">
                  <c:v>40121</c:v>
                </c:pt>
                <c:pt idx="71">
                  <c:v>40122</c:v>
                </c:pt>
                <c:pt idx="72">
                  <c:v>40123</c:v>
                </c:pt>
                <c:pt idx="73">
                  <c:v>40126</c:v>
                </c:pt>
                <c:pt idx="74">
                  <c:v>40127</c:v>
                </c:pt>
                <c:pt idx="75">
                  <c:v>40128</c:v>
                </c:pt>
                <c:pt idx="76">
                  <c:v>40129</c:v>
                </c:pt>
                <c:pt idx="77">
                  <c:v>40130</c:v>
                </c:pt>
                <c:pt idx="78">
                  <c:v>40133</c:v>
                </c:pt>
                <c:pt idx="79">
                  <c:v>40134</c:v>
                </c:pt>
                <c:pt idx="80">
                  <c:v>40135</c:v>
                </c:pt>
                <c:pt idx="81">
                  <c:v>40136</c:v>
                </c:pt>
                <c:pt idx="82">
                  <c:v>40137</c:v>
                </c:pt>
                <c:pt idx="83">
                  <c:v>40140</c:v>
                </c:pt>
                <c:pt idx="84">
                  <c:v>40141</c:v>
                </c:pt>
                <c:pt idx="85">
                  <c:v>40142</c:v>
                </c:pt>
                <c:pt idx="86">
                  <c:v>40143</c:v>
                </c:pt>
                <c:pt idx="87">
                  <c:v>40144</c:v>
                </c:pt>
                <c:pt idx="88">
                  <c:v>40147</c:v>
                </c:pt>
                <c:pt idx="89">
                  <c:v>40148</c:v>
                </c:pt>
                <c:pt idx="90">
                  <c:v>40149</c:v>
                </c:pt>
                <c:pt idx="91">
                  <c:v>40150</c:v>
                </c:pt>
                <c:pt idx="92">
                  <c:v>40151</c:v>
                </c:pt>
                <c:pt idx="93">
                  <c:v>40154</c:v>
                </c:pt>
                <c:pt idx="94">
                  <c:v>40155</c:v>
                </c:pt>
                <c:pt idx="95">
                  <c:v>40156</c:v>
                </c:pt>
                <c:pt idx="96">
                  <c:v>40157</c:v>
                </c:pt>
                <c:pt idx="97">
                  <c:v>40158</c:v>
                </c:pt>
                <c:pt idx="98">
                  <c:v>40161</c:v>
                </c:pt>
                <c:pt idx="99">
                  <c:v>40162</c:v>
                </c:pt>
                <c:pt idx="100">
                  <c:v>40163</c:v>
                </c:pt>
                <c:pt idx="101">
                  <c:v>40164</c:v>
                </c:pt>
                <c:pt idx="102">
                  <c:v>40165</c:v>
                </c:pt>
                <c:pt idx="103">
                  <c:v>40168</c:v>
                </c:pt>
                <c:pt idx="104">
                  <c:v>40169</c:v>
                </c:pt>
                <c:pt idx="105">
                  <c:v>40170</c:v>
                </c:pt>
                <c:pt idx="106">
                  <c:v>40171</c:v>
                </c:pt>
                <c:pt idx="107">
                  <c:v>40172</c:v>
                </c:pt>
                <c:pt idx="108">
                  <c:v>40175</c:v>
                </c:pt>
                <c:pt idx="109">
                  <c:v>40176</c:v>
                </c:pt>
                <c:pt idx="110">
                  <c:v>40177</c:v>
                </c:pt>
                <c:pt idx="111">
                  <c:v>40178</c:v>
                </c:pt>
                <c:pt idx="112">
                  <c:v>40179</c:v>
                </c:pt>
                <c:pt idx="113">
                  <c:v>40182</c:v>
                </c:pt>
                <c:pt idx="114">
                  <c:v>40183</c:v>
                </c:pt>
                <c:pt idx="115">
                  <c:v>40184</c:v>
                </c:pt>
                <c:pt idx="116">
                  <c:v>40185</c:v>
                </c:pt>
                <c:pt idx="117">
                  <c:v>40186</c:v>
                </c:pt>
                <c:pt idx="118">
                  <c:v>40189</c:v>
                </c:pt>
                <c:pt idx="119">
                  <c:v>40190</c:v>
                </c:pt>
                <c:pt idx="120">
                  <c:v>40191</c:v>
                </c:pt>
                <c:pt idx="121">
                  <c:v>40192</c:v>
                </c:pt>
                <c:pt idx="122">
                  <c:v>40193</c:v>
                </c:pt>
                <c:pt idx="123">
                  <c:v>40196</c:v>
                </c:pt>
                <c:pt idx="124">
                  <c:v>40197</c:v>
                </c:pt>
                <c:pt idx="125">
                  <c:v>40198</c:v>
                </c:pt>
                <c:pt idx="126">
                  <c:v>40199</c:v>
                </c:pt>
                <c:pt idx="127">
                  <c:v>40200</c:v>
                </c:pt>
                <c:pt idx="128">
                  <c:v>40203</c:v>
                </c:pt>
                <c:pt idx="129">
                  <c:v>40204</c:v>
                </c:pt>
                <c:pt idx="130">
                  <c:v>40205</c:v>
                </c:pt>
                <c:pt idx="131">
                  <c:v>40206</c:v>
                </c:pt>
                <c:pt idx="132">
                  <c:v>40207</c:v>
                </c:pt>
                <c:pt idx="133">
                  <c:v>40210</c:v>
                </c:pt>
                <c:pt idx="134">
                  <c:v>40211</c:v>
                </c:pt>
                <c:pt idx="135">
                  <c:v>40212</c:v>
                </c:pt>
                <c:pt idx="136">
                  <c:v>40213</c:v>
                </c:pt>
                <c:pt idx="137">
                  <c:v>40214</c:v>
                </c:pt>
                <c:pt idx="138">
                  <c:v>40217</c:v>
                </c:pt>
                <c:pt idx="139">
                  <c:v>40218</c:v>
                </c:pt>
                <c:pt idx="140">
                  <c:v>40219</c:v>
                </c:pt>
                <c:pt idx="141">
                  <c:v>40220</c:v>
                </c:pt>
                <c:pt idx="142">
                  <c:v>40221</c:v>
                </c:pt>
                <c:pt idx="143">
                  <c:v>40224</c:v>
                </c:pt>
                <c:pt idx="144">
                  <c:v>40225</c:v>
                </c:pt>
                <c:pt idx="145">
                  <c:v>40226</c:v>
                </c:pt>
                <c:pt idx="146">
                  <c:v>40227</c:v>
                </c:pt>
                <c:pt idx="147">
                  <c:v>40228</c:v>
                </c:pt>
                <c:pt idx="148">
                  <c:v>40231</c:v>
                </c:pt>
                <c:pt idx="149">
                  <c:v>40232</c:v>
                </c:pt>
                <c:pt idx="150">
                  <c:v>40233</c:v>
                </c:pt>
                <c:pt idx="151">
                  <c:v>40234</c:v>
                </c:pt>
                <c:pt idx="152">
                  <c:v>40235</c:v>
                </c:pt>
                <c:pt idx="153">
                  <c:v>40238</c:v>
                </c:pt>
                <c:pt idx="154">
                  <c:v>40239</c:v>
                </c:pt>
                <c:pt idx="155">
                  <c:v>40240</c:v>
                </c:pt>
                <c:pt idx="156">
                  <c:v>40241</c:v>
                </c:pt>
                <c:pt idx="157">
                  <c:v>40242</c:v>
                </c:pt>
                <c:pt idx="158">
                  <c:v>40245</c:v>
                </c:pt>
                <c:pt idx="159">
                  <c:v>40246</c:v>
                </c:pt>
                <c:pt idx="160">
                  <c:v>40247</c:v>
                </c:pt>
                <c:pt idx="161">
                  <c:v>40248</c:v>
                </c:pt>
                <c:pt idx="162">
                  <c:v>40249</c:v>
                </c:pt>
                <c:pt idx="163">
                  <c:v>40252</c:v>
                </c:pt>
                <c:pt idx="164">
                  <c:v>40253</c:v>
                </c:pt>
                <c:pt idx="165">
                  <c:v>40254</c:v>
                </c:pt>
                <c:pt idx="166">
                  <c:v>40255</c:v>
                </c:pt>
                <c:pt idx="167">
                  <c:v>40256</c:v>
                </c:pt>
                <c:pt idx="168">
                  <c:v>40259</c:v>
                </c:pt>
                <c:pt idx="169">
                  <c:v>40260</c:v>
                </c:pt>
                <c:pt idx="170">
                  <c:v>40261</c:v>
                </c:pt>
                <c:pt idx="171">
                  <c:v>40262</c:v>
                </c:pt>
                <c:pt idx="172">
                  <c:v>40263</c:v>
                </c:pt>
                <c:pt idx="173">
                  <c:v>40266</c:v>
                </c:pt>
                <c:pt idx="174">
                  <c:v>40267</c:v>
                </c:pt>
                <c:pt idx="175">
                  <c:v>40268</c:v>
                </c:pt>
                <c:pt idx="176">
                  <c:v>40269</c:v>
                </c:pt>
                <c:pt idx="177">
                  <c:v>40270</c:v>
                </c:pt>
                <c:pt idx="178">
                  <c:v>40273</c:v>
                </c:pt>
                <c:pt idx="179">
                  <c:v>40274</c:v>
                </c:pt>
                <c:pt idx="180">
                  <c:v>40275</c:v>
                </c:pt>
                <c:pt idx="181">
                  <c:v>40276</c:v>
                </c:pt>
                <c:pt idx="182">
                  <c:v>40277</c:v>
                </c:pt>
                <c:pt idx="183">
                  <c:v>40280</c:v>
                </c:pt>
                <c:pt idx="184">
                  <c:v>40281</c:v>
                </c:pt>
                <c:pt idx="185">
                  <c:v>40282</c:v>
                </c:pt>
                <c:pt idx="186">
                  <c:v>40283</c:v>
                </c:pt>
                <c:pt idx="187">
                  <c:v>40284</c:v>
                </c:pt>
                <c:pt idx="188">
                  <c:v>40287</c:v>
                </c:pt>
                <c:pt idx="189">
                  <c:v>40288</c:v>
                </c:pt>
                <c:pt idx="190">
                  <c:v>40289</c:v>
                </c:pt>
                <c:pt idx="191">
                  <c:v>40290</c:v>
                </c:pt>
                <c:pt idx="192">
                  <c:v>40291</c:v>
                </c:pt>
                <c:pt idx="193">
                  <c:v>40294</c:v>
                </c:pt>
                <c:pt idx="194">
                  <c:v>40295</c:v>
                </c:pt>
                <c:pt idx="195">
                  <c:v>40296</c:v>
                </c:pt>
                <c:pt idx="196">
                  <c:v>40297</c:v>
                </c:pt>
                <c:pt idx="197">
                  <c:v>40298</c:v>
                </c:pt>
                <c:pt idx="198">
                  <c:v>40301</c:v>
                </c:pt>
                <c:pt idx="199">
                  <c:v>40302</c:v>
                </c:pt>
                <c:pt idx="200">
                  <c:v>40303</c:v>
                </c:pt>
                <c:pt idx="201">
                  <c:v>40304</c:v>
                </c:pt>
                <c:pt idx="202">
                  <c:v>40305</c:v>
                </c:pt>
                <c:pt idx="203">
                  <c:v>40308</c:v>
                </c:pt>
                <c:pt idx="204">
                  <c:v>40309</c:v>
                </c:pt>
                <c:pt idx="205">
                  <c:v>40310</c:v>
                </c:pt>
                <c:pt idx="206">
                  <c:v>40311</c:v>
                </c:pt>
                <c:pt idx="207">
                  <c:v>40312</c:v>
                </c:pt>
                <c:pt idx="208">
                  <c:v>40315</c:v>
                </c:pt>
                <c:pt idx="209">
                  <c:v>40316</c:v>
                </c:pt>
                <c:pt idx="210">
                  <c:v>40317</c:v>
                </c:pt>
                <c:pt idx="211">
                  <c:v>40318</c:v>
                </c:pt>
                <c:pt idx="212">
                  <c:v>40319</c:v>
                </c:pt>
                <c:pt idx="213">
                  <c:v>40322</c:v>
                </c:pt>
                <c:pt idx="214">
                  <c:v>40323</c:v>
                </c:pt>
                <c:pt idx="215">
                  <c:v>40324</c:v>
                </c:pt>
                <c:pt idx="216">
                  <c:v>40325</c:v>
                </c:pt>
                <c:pt idx="217">
                  <c:v>40326</c:v>
                </c:pt>
                <c:pt idx="218">
                  <c:v>40329</c:v>
                </c:pt>
                <c:pt idx="219">
                  <c:v>40330</c:v>
                </c:pt>
                <c:pt idx="220">
                  <c:v>40331</c:v>
                </c:pt>
                <c:pt idx="221">
                  <c:v>40332</c:v>
                </c:pt>
                <c:pt idx="222">
                  <c:v>40333</c:v>
                </c:pt>
                <c:pt idx="223">
                  <c:v>40336</c:v>
                </c:pt>
                <c:pt idx="224">
                  <c:v>40337</c:v>
                </c:pt>
                <c:pt idx="225">
                  <c:v>40338</c:v>
                </c:pt>
                <c:pt idx="226">
                  <c:v>40339</c:v>
                </c:pt>
                <c:pt idx="227">
                  <c:v>40340</c:v>
                </c:pt>
                <c:pt idx="228">
                  <c:v>40343</c:v>
                </c:pt>
                <c:pt idx="229">
                  <c:v>40344</c:v>
                </c:pt>
                <c:pt idx="230">
                  <c:v>40345</c:v>
                </c:pt>
                <c:pt idx="231">
                  <c:v>40346</c:v>
                </c:pt>
                <c:pt idx="232">
                  <c:v>40347</c:v>
                </c:pt>
                <c:pt idx="233">
                  <c:v>40350</c:v>
                </c:pt>
                <c:pt idx="234">
                  <c:v>40351</c:v>
                </c:pt>
                <c:pt idx="235">
                  <c:v>40352</c:v>
                </c:pt>
                <c:pt idx="236">
                  <c:v>40353</c:v>
                </c:pt>
                <c:pt idx="237">
                  <c:v>40354</c:v>
                </c:pt>
                <c:pt idx="238">
                  <c:v>40357</c:v>
                </c:pt>
                <c:pt idx="239">
                  <c:v>40358</c:v>
                </c:pt>
                <c:pt idx="240">
                  <c:v>40359</c:v>
                </c:pt>
                <c:pt idx="241">
                  <c:v>40360</c:v>
                </c:pt>
                <c:pt idx="242">
                  <c:v>40361</c:v>
                </c:pt>
                <c:pt idx="243">
                  <c:v>40364</c:v>
                </c:pt>
                <c:pt idx="244">
                  <c:v>40365</c:v>
                </c:pt>
                <c:pt idx="245">
                  <c:v>40366</c:v>
                </c:pt>
                <c:pt idx="246">
                  <c:v>40367</c:v>
                </c:pt>
                <c:pt idx="247">
                  <c:v>40368</c:v>
                </c:pt>
                <c:pt idx="248">
                  <c:v>40371</c:v>
                </c:pt>
                <c:pt idx="249">
                  <c:v>40372</c:v>
                </c:pt>
                <c:pt idx="250">
                  <c:v>40373</c:v>
                </c:pt>
                <c:pt idx="251">
                  <c:v>40374</c:v>
                </c:pt>
                <c:pt idx="252">
                  <c:v>40375</c:v>
                </c:pt>
                <c:pt idx="253">
                  <c:v>40378</c:v>
                </c:pt>
                <c:pt idx="254">
                  <c:v>40379</c:v>
                </c:pt>
                <c:pt idx="255">
                  <c:v>40380</c:v>
                </c:pt>
                <c:pt idx="256">
                  <c:v>40381</c:v>
                </c:pt>
                <c:pt idx="257">
                  <c:v>40382</c:v>
                </c:pt>
                <c:pt idx="258">
                  <c:v>40385</c:v>
                </c:pt>
                <c:pt idx="259">
                  <c:v>40386</c:v>
                </c:pt>
                <c:pt idx="260">
                  <c:v>40387</c:v>
                </c:pt>
                <c:pt idx="261">
                  <c:v>40388</c:v>
                </c:pt>
                <c:pt idx="262">
                  <c:v>40389</c:v>
                </c:pt>
                <c:pt idx="263">
                  <c:v>40392</c:v>
                </c:pt>
                <c:pt idx="264">
                  <c:v>40393</c:v>
                </c:pt>
                <c:pt idx="265">
                  <c:v>40394</c:v>
                </c:pt>
                <c:pt idx="266">
                  <c:v>40395</c:v>
                </c:pt>
                <c:pt idx="267">
                  <c:v>40396</c:v>
                </c:pt>
                <c:pt idx="268">
                  <c:v>40399</c:v>
                </c:pt>
                <c:pt idx="269">
                  <c:v>40400</c:v>
                </c:pt>
                <c:pt idx="270">
                  <c:v>40401</c:v>
                </c:pt>
                <c:pt idx="271">
                  <c:v>40402</c:v>
                </c:pt>
                <c:pt idx="272">
                  <c:v>40403</c:v>
                </c:pt>
                <c:pt idx="273">
                  <c:v>40406</c:v>
                </c:pt>
                <c:pt idx="274">
                  <c:v>40407</c:v>
                </c:pt>
                <c:pt idx="275">
                  <c:v>40408</c:v>
                </c:pt>
                <c:pt idx="276">
                  <c:v>40409</c:v>
                </c:pt>
                <c:pt idx="277">
                  <c:v>40410</c:v>
                </c:pt>
                <c:pt idx="278">
                  <c:v>40413</c:v>
                </c:pt>
                <c:pt idx="279">
                  <c:v>40414</c:v>
                </c:pt>
                <c:pt idx="280">
                  <c:v>40415</c:v>
                </c:pt>
                <c:pt idx="281">
                  <c:v>40416</c:v>
                </c:pt>
                <c:pt idx="282">
                  <c:v>40417</c:v>
                </c:pt>
                <c:pt idx="283">
                  <c:v>40420</c:v>
                </c:pt>
                <c:pt idx="284">
                  <c:v>40421</c:v>
                </c:pt>
                <c:pt idx="285">
                  <c:v>40422</c:v>
                </c:pt>
                <c:pt idx="286">
                  <c:v>40423</c:v>
                </c:pt>
                <c:pt idx="287">
                  <c:v>40424</c:v>
                </c:pt>
                <c:pt idx="288">
                  <c:v>40427</c:v>
                </c:pt>
                <c:pt idx="289">
                  <c:v>40428</c:v>
                </c:pt>
                <c:pt idx="290">
                  <c:v>40429</c:v>
                </c:pt>
                <c:pt idx="291">
                  <c:v>40430</c:v>
                </c:pt>
                <c:pt idx="292">
                  <c:v>40431</c:v>
                </c:pt>
                <c:pt idx="293">
                  <c:v>40434</c:v>
                </c:pt>
                <c:pt idx="294">
                  <c:v>40435</c:v>
                </c:pt>
                <c:pt idx="295">
                  <c:v>40436</c:v>
                </c:pt>
                <c:pt idx="296">
                  <c:v>40437</c:v>
                </c:pt>
                <c:pt idx="297">
                  <c:v>40438</c:v>
                </c:pt>
                <c:pt idx="298">
                  <c:v>40441</c:v>
                </c:pt>
                <c:pt idx="299">
                  <c:v>40442</c:v>
                </c:pt>
                <c:pt idx="300">
                  <c:v>40443</c:v>
                </c:pt>
                <c:pt idx="301">
                  <c:v>40444</c:v>
                </c:pt>
                <c:pt idx="302">
                  <c:v>40445</c:v>
                </c:pt>
                <c:pt idx="303">
                  <c:v>40448</c:v>
                </c:pt>
                <c:pt idx="304">
                  <c:v>40449</c:v>
                </c:pt>
                <c:pt idx="305">
                  <c:v>40450</c:v>
                </c:pt>
                <c:pt idx="306">
                  <c:v>40451</c:v>
                </c:pt>
                <c:pt idx="307">
                  <c:v>40452</c:v>
                </c:pt>
                <c:pt idx="308">
                  <c:v>40455</c:v>
                </c:pt>
                <c:pt idx="309">
                  <c:v>40456</c:v>
                </c:pt>
                <c:pt idx="310">
                  <c:v>40457</c:v>
                </c:pt>
                <c:pt idx="311">
                  <c:v>40458</c:v>
                </c:pt>
                <c:pt idx="312">
                  <c:v>40459</c:v>
                </c:pt>
                <c:pt idx="313">
                  <c:v>40462</c:v>
                </c:pt>
                <c:pt idx="314">
                  <c:v>40463</c:v>
                </c:pt>
                <c:pt idx="315">
                  <c:v>40464</c:v>
                </c:pt>
                <c:pt idx="316">
                  <c:v>40465</c:v>
                </c:pt>
                <c:pt idx="317">
                  <c:v>40466</c:v>
                </c:pt>
                <c:pt idx="318">
                  <c:v>40469</c:v>
                </c:pt>
                <c:pt idx="319">
                  <c:v>40470</c:v>
                </c:pt>
                <c:pt idx="320">
                  <c:v>40471</c:v>
                </c:pt>
                <c:pt idx="321">
                  <c:v>40472</c:v>
                </c:pt>
                <c:pt idx="322">
                  <c:v>40473</c:v>
                </c:pt>
                <c:pt idx="323">
                  <c:v>40476</c:v>
                </c:pt>
                <c:pt idx="324">
                  <c:v>40477</c:v>
                </c:pt>
                <c:pt idx="325">
                  <c:v>40478</c:v>
                </c:pt>
                <c:pt idx="326">
                  <c:v>40479</c:v>
                </c:pt>
                <c:pt idx="327">
                  <c:v>40480</c:v>
                </c:pt>
                <c:pt idx="328">
                  <c:v>40483</c:v>
                </c:pt>
                <c:pt idx="329">
                  <c:v>40484</c:v>
                </c:pt>
                <c:pt idx="330">
                  <c:v>40485</c:v>
                </c:pt>
                <c:pt idx="331">
                  <c:v>40486</c:v>
                </c:pt>
                <c:pt idx="332">
                  <c:v>40487</c:v>
                </c:pt>
                <c:pt idx="333">
                  <c:v>40490</c:v>
                </c:pt>
                <c:pt idx="334">
                  <c:v>40491</c:v>
                </c:pt>
                <c:pt idx="335">
                  <c:v>40492</c:v>
                </c:pt>
                <c:pt idx="336">
                  <c:v>40493</c:v>
                </c:pt>
                <c:pt idx="337">
                  <c:v>40494</c:v>
                </c:pt>
                <c:pt idx="338">
                  <c:v>40497</c:v>
                </c:pt>
                <c:pt idx="339">
                  <c:v>40498</c:v>
                </c:pt>
                <c:pt idx="340">
                  <c:v>40499</c:v>
                </c:pt>
                <c:pt idx="341">
                  <c:v>40500</c:v>
                </c:pt>
                <c:pt idx="342">
                  <c:v>40501</c:v>
                </c:pt>
                <c:pt idx="343">
                  <c:v>40504</c:v>
                </c:pt>
                <c:pt idx="344">
                  <c:v>40505</c:v>
                </c:pt>
                <c:pt idx="345">
                  <c:v>40506</c:v>
                </c:pt>
                <c:pt idx="346">
                  <c:v>40507</c:v>
                </c:pt>
                <c:pt idx="347">
                  <c:v>40508</c:v>
                </c:pt>
                <c:pt idx="348">
                  <c:v>40511</c:v>
                </c:pt>
                <c:pt idx="349">
                  <c:v>40512</c:v>
                </c:pt>
                <c:pt idx="350">
                  <c:v>40513</c:v>
                </c:pt>
                <c:pt idx="351">
                  <c:v>40514</c:v>
                </c:pt>
                <c:pt idx="352">
                  <c:v>40515</c:v>
                </c:pt>
                <c:pt idx="353">
                  <c:v>40518</c:v>
                </c:pt>
                <c:pt idx="354">
                  <c:v>40519</c:v>
                </c:pt>
                <c:pt idx="355">
                  <c:v>40520</c:v>
                </c:pt>
                <c:pt idx="356">
                  <c:v>40521</c:v>
                </c:pt>
                <c:pt idx="357">
                  <c:v>40522</c:v>
                </c:pt>
                <c:pt idx="358">
                  <c:v>40525</c:v>
                </c:pt>
                <c:pt idx="359">
                  <c:v>40526</c:v>
                </c:pt>
                <c:pt idx="360">
                  <c:v>40527</c:v>
                </c:pt>
                <c:pt idx="361">
                  <c:v>40528</c:v>
                </c:pt>
                <c:pt idx="362">
                  <c:v>40529</c:v>
                </c:pt>
                <c:pt idx="363">
                  <c:v>40532</c:v>
                </c:pt>
                <c:pt idx="364">
                  <c:v>40533</c:v>
                </c:pt>
                <c:pt idx="365">
                  <c:v>40534</c:v>
                </c:pt>
                <c:pt idx="366">
                  <c:v>40535</c:v>
                </c:pt>
                <c:pt idx="367">
                  <c:v>40536</c:v>
                </c:pt>
                <c:pt idx="368">
                  <c:v>40539</c:v>
                </c:pt>
                <c:pt idx="369">
                  <c:v>40540</c:v>
                </c:pt>
                <c:pt idx="370">
                  <c:v>40541</c:v>
                </c:pt>
                <c:pt idx="371">
                  <c:v>40542</c:v>
                </c:pt>
                <c:pt idx="372">
                  <c:v>40543</c:v>
                </c:pt>
                <c:pt idx="373">
                  <c:v>40546</c:v>
                </c:pt>
                <c:pt idx="374">
                  <c:v>40547</c:v>
                </c:pt>
                <c:pt idx="375">
                  <c:v>40548</c:v>
                </c:pt>
                <c:pt idx="376">
                  <c:v>40549</c:v>
                </c:pt>
                <c:pt idx="377">
                  <c:v>40550</c:v>
                </c:pt>
                <c:pt idx="378">
                  <c:v>40553</c:v>
                </c:pt>
                <c:pt idx="379">
                  <c:v>40554</c:v>
                </c:pt>
                <c:pt idx="380">
                  <c:v>40555</c:v>
                </c:pt>
                <c:pt idx="381">
                  <c:v>40556</c:v>
                </c:pt>
                <c:pt idx="382">
                  <c:v>40557</c:v>
                </c:pt>
                <c:pt idx="383">
                  <c:v>40560</c:v>
                </c:pt>
                <c:pt idx="384">
                  <c:v>40561</c:v>
                </c:pt>
                <c:pt idx="385">
                  <c:v>40562</c:v>
                </c:pt>
                <c:pt idx="386">
                  <c:v>40563</c:v>
                </c:pt>
                <c:pt idx="387">
                  <c:v>40564</c:v>
                </c:pt>
                <c:pt idx="388">
                  <c:v>40567</c:v>
                </c:pt>
                <c:pt idx="389">
                  <c:v>40568</c:v>
                </c:pt>
                <c:pt idx="390">
                  <c:v>40569</c:v>
                </c:pt>
                <c:pt idx="391">
                  <c:v>40570</c:v>
                </c:pt>
                <c:pt idx="392">
                  <c:v>40571</c:v>
                </c:pt>
                <c:pt idx="393">
                  <c:v>40574</c:v>
                </c:pt>
                <c:pt idx="394">
                  <c:v>40575</c:v>
                </c:pt>
                <c:pt idx="395">
                  <c:v>40576</c:v>
                </c:pt>
                <c:pt idx="396">
                  <c:v>40577</c:v>
                </c:pt>
                <c:pt idx="397">
                  <c:v>40578</c:v>
                </c:pt>
                <c:pt idx="398">
                  <c:v>40581</c:v>
                </c:pt>
                <c:pt idx="399">
                  <c:v>40582</c:v>
                </c:pt>
                <c:pt idx="400">
                  <c:v>40583</c:v>
                </c:pt>
                <c:pt idx="401">
                  <c:v>40584</c:v>
                </c:pt>
                <c:pt idx="402">
                  <c:v>40585</c:v>
                </c:pt>
                <c:pt idx="403">
                  <c:v>40588</c:v>
                </c:pt>
                <c:pt idx="404">
                  <c:v>40589</c:v>
                </c:pt>
                <c:pt idx="405">
                  <c:v>40590</c:v>
                </c:pt>
                <c:pt idx="406">
                  <c:v>40591</c:v>
                </c:pt>
                <c:pt idx="407">
                  <c:v>40592</c:v>
                </c:pt>
                <c:pt idx="408">
                  <c:v>40595</c:v>
                </c:pt>
                <c:pt idx="409">
                  <c:v>40596</c:v>
                </c:pt>
                <c:pt idx="410">
                  <c:v>40597</c:v>
                </c:pt>
                <c:pt idx="411">
                  <c:v>40598</c:v>
                </c:pt>
                <c:pt idx="412">
                  <c:v>40599</c:v>
                </c:pt>
                <c:pt idx="413">
                  <c:v>40602</c:v>
                </c:pt>
                <c:pt idx="414">
                  <c:v>40603</c:v>
                </c:pt>
                <c:pt idx="415">
                  <c:v>40604</c:v>
                </c:pt>
                <c:pt idx="416">
                  <c:v>40605</c:v>
                </c:pt>
                <c:pt idx="417">
                  <c:v>40606</c:v>
                </c:pt>
                <c:pt idx="418">
                  <c:v>40609</c:v>
                </c:pt>
                <c:pt idx="419">
                  <c:v>40610</c:v>
                </c:pt>
                <c:pt idx="420">
                  <c:v>40611</c:v>
                </c:pt>
                <c:pt idx="421">
                  <c:v>40612</c:v>
                </c:pt>
                <c:pt idx="422">
                  <c:v>40613</c:v>
                </c:pt>
                <c:pt idx="423">
                  <c:v>40616</c:v>
                </c:pt>
                <c:pt idx="424">
                  <c:v>40617</c:v>
                </c:pt>
                <c:pt idx="425">
                  <c:v>40618</c:v>
                </c:pt>
                <c:pt idx="426">
                  <c:v>40619</c:v>
                </c:pt>
                <c:pt idx="427">
                  <c:v>40620</c:v>
                </c:pt>
                <c:pt idx="428">
                  <c:v>40623</c:v>
                </c:pt>
                <c:pt idx="429">
                  <c:v>40624</c:v>
                </c:pt>
                <c:pt idx="430">
                  <c:v>40625</c:v>
                </c:pt>
                <c:pt idx="431">
                  <c:v>40626</c:v>
                </c:pt>
                <c:pt idx="432">
                  <c:v>40627</c:v>
                </c:pt>
                <c:pt idx="433">
                  <c:v>40630</c:v>
                </c:pt>
                <c:pt idx="434">
                  <c:v>40631</c:v>
                </c:pt>
                <c:pt idx="435">
                  <c:v>40632</c:v>
                </c:pt>
                <c:pt idx="436">
                  <c:v>40633</c:v>
                </c:pt>
                <c:pt idx="437">
                  <c:v>40634</c:v>
                </c:pt>
                <c:pt idx="438">
                  <c:v>40637</c:v>
                </c:pt>
                <c:pt idx="439">
                  <c:v>40638</c:v>
                </c:pt>
                <c:pt idx="440">
                  <c:v>40639</c:v>
                </c:pt>
                <c:pt idx="441">
                  <c:v>40640</c:v>
                </c:pt>
                <c:pt idx="442">
                  <c:v>40641</c:v>
                </c:pt>
                <c:pt idx="443">
                  <c:v>40644</c:v>
                </c:pt>
                <c:pt idx="444">
                  <c:v>40645</c:v>
                </c:pt>
                <c:pt idx="445">
                  <c:v>40646</c:v>
                </c:pt>
                <c:pt idx="446">
                  <c:v>40647</c:v>
                </c:pt>
                <c:pt idx="447">
                  <c:v>40648</c:v>
                </c:pt>
                <c:pt idx="448">
                  <c:v>40651</c:v>
                </c:pt>
                <c:pt idx="449">
                  <c:v>40652</c:v>
                </c:pt>
                <c:pt idx="450">
                  <c:v>40653</c:v>
                </c:pt>
                <c:pt idx="451">
                  <c:v>40654</c:v>
                </c:pt>
                <c:pt idx="452">
                  <c:v>40655</c:v>
                </c:pt>
                <c:pt idx="453">
                  <c:v>40658</c:v>
                </c:pt>
                <c:pt idx="454">
                  <c:v>40659</c:v>
                </c:pt>
                <c:pt idx="455">
                  <c:v>40660</c:v>
                </c:pt>
                <c:pt idx="456">
                  <c:v>40661</c:v>
                </c:pt>
                <c:pt idx="457">
                  <c:v>40662</c:v>
                </c:pt>
                <c:pt idx="458">
                  <c:v>40665</c:v>
                </c:pt>
                <c:pt idx="459">
                  <c:v>40666</c:v>
                </c:pt>
                <c:pt idx="460">
                  <c:v>40667</c:v>
                </c:pt>
                <c:pt idx="461">
                  <c:v>40668</c:v>
                </c:pt>
                <c:pt idx="462">
                  <c:v>40669</c:v>
                </c:pt>
                <c:pt idx="463">
                  <c:v>40672</c:v>
                </c:pt>
                <c:pt idx="464">
                  <c:v>40673</c:v>
                </c:pt>
                <c:pt idx="465">
                  <c:v>40674</c:v>
                </c:pt>
                <c:pt idx="466">
                  <c:v>40675</c:v>
                </c:pt>
                <c:pt idx="467">
                  <c:v>40676</c:v>
                </c:pt>
                <c:pt idx="468">
                  <c:v>40679</c:v>
                </c:pt>
                <c:pt idx="469">
                  <c:v>40680</c:v>
                </c:pt>
                <c:pt idx="470">
                  <c:v>40681</c:v>
                </c:pt>
                <c:pt idx="471">
                  <c:v>40682</c:v>
                </c:pt>
                <c:pt idx="472">
                  <c:v>40683</c:v>
                </c:pt>
                <c:pt idx="473">
                  <c:v>40686</c:v>
                </c:pt>
                <c:pt idx="474">
                  <c:v>40687</c:v>
                </c:pt>
                <c:pt idx="475">
                  <c:v>40688</c:v>
                </c:pt>
                <c:pt idx="476">
                  <c:v>40689</c:v>
                </c:pt>
                <c:pt idx="477">
                  <c:v>40690</c:v>
                </c:pt>
                <c:pt idx="478">
                  <c:v>40693</c:v>
                </c:pt>
                <c:pt idx="479">
                  <c:v>40694</c:v>
                </c:pt>
                <c:pt idx="480">
                  <c:v>40695</c:v>
                </c:pt>
                <c:pt idx="481">
                  <c:v>40696</c:v>
                </c:pt>
                <c:pt idx="482">
                  <c:v>40697</c:v>
                </c:pt>
                <c:pt idx="483">
                  <c:v>40700</c:v>
                </c:pt>
                <c:pt idx="484">
                  <c:v>40701</c:v>
                </c:pt>
                <c:pt idx="485">
                  <c:v>40702</c:v>
                </c:pt>
                <c:pt idx="486">
                  <c:v>40703</c:v>
                </c:pt>
                <c:pt idx="487">
                  <c:v>40704</c:v>
                </c:pt>
                <c:pt idx="488">
                  <c:v>40707</c:v>
                </c:pt>
                <c:pt idx="489">
                  <c:v>40708</c:v>
                </c:pt>
                <c:pt idx="490">
                  <c:v>40709</c:v>
                </c:pt>
                <c:pt idx="491">
                  <c:v>40710</c:v>
                </c:pt>
                <c:pt idx="492">
                  <c:v>40711</c:v>
                </c:pt>
                <c:pt idx="493">
                  <c:v>40714</c:v>
                </c:pt>
                <c:pt idx="494">
                  <c:v>40715</c:v>
                </c:pt>
                <c:pt idx="495">
                  <c:v>40716</c:v>
                </c:pt>
                <c:pt idx="496">
                  <c:v>40717</c:v>
                </c:pt>
                <c:pt idx="497">
                  <c:v>40718</c:v>
                </c:pt>
                <c:pt idx="498">
                  <c:v>40721</c:v>
                </c:pt>
                <c:pt idx="499">
                  <c:v>40722</c:v>
                </c:pt>
                <c:pt idx="500">
                  <c:v>40723</c:v>
                </c:pt>
                <c:pt idx="501">
                  <c:v>40724</c:v>
                </c:pt>
                <c:pt idx="502">
                  <c:v>40725</c:v>
                </c:pt>
                <c:pt idx="503">
                  <c:v>40728</c:v>
                </c:pt>
                <c:pt idx="504">
                  <c:v>40729</c:v>
                </c:pt>
                <c:pt idx="505">
                  <c:v>40730</c:v>
                </c:pt>
                <c:pt idx="506">
                  <c:v>40731</c:v>
                </c:pt>
                <c:pt idx="507">
                  <c:v>40732</c:v>
                </c:pt>
                <c:pt idx="508">
                  <c:v>40735</c:v>
                </c:pt>
                <c:pt idx="509">
                  <c:v>40736</c:v>
                </c:pt>
                <c:pt idx="510">
                  <c:v>40737</c:v>
                </c:pt>
                <c:pt idx="511">
                  <c:v>40738</c:v>
                </c:pt>
                <c:pt idx="512">
                  <c:v>40739</c:v>
                </c:pt>
                <c:pt idx="513">
                  <c:v>40742</c:v>
                </c:pt>
                <c:pt idx="514">
                  <c:v>40743</c:v>
                </c:pt>
                <c:pt idx="515">
                  <c:v>40744</c:v>
                </c:pt>
                <c:pt idx="516">
                  <c:v>40745</c:v>
                </c:pt>
                <c:pt idx="517">
                  <c:v>40746</c:v>
                </c:pt>
                <c:pt idx="518">
                  <c:v>40749</c:v>
                </c:pt>
                <c:pt idx="519">
                  <c:v>40750</c:v>
                </c:pt>
                <c:pt idx="520">
                  <c:v>40751</c:v>
                </c:pt>
                <c:pt idx="521">
                  <c:v>40752</c:v>
                </c:pt>
                <c:pt idx="522">
                  <c:v>40753</c:v>
                </c:pt>
                <c:pt idx="523">
                  <c:v>40756</c:v>
                </c:pt>
                <c:pt idx="524">
                  <c:v>40757</c:v>
                </c:pt>
                <c:pt idx="525">
                  <c:v>40758</c:v>
                </c:pt>
                <c:pt idx="526">
                  <c:v>40759</c:v>
                </c:pt>
                <c:pt idx="527">
                  <c:v>40760</c:v>
                </c:pt>
                <c:pt idx="528">
                  <c:v>40763</c:v>
                </c:pt>
                <c:pt idx="529">
                  <c:v>40764</c:v>
                </c:pt>
                <c:pt idx="530">
                  <c:v>40765</c:v>
                </c:pt>
                <c:pt idx="531">
                  <c:v>40766</c:v>
                </c:pt>
                <c:pt idx="532">
                  <c:v>40767</c:v>
                </c:pt>
                <c:pt idx="533">
                  <c:v>40770</c:v>
                </c:pt>
                <c:pt idx="534">
                  <c:v>40771</c:v>
                </c:pt>
                <c:pt idx="535">
                  <c:v>40772</c:v>
                </c:pt>
                <c:pt idx="536">
                  <c:v>40773</c:v>
                </c:pt>
                <c:pt idx="537">
                  <c:v>40774</c:v>
                </c:pt>
                <c:pt idx="538">
                  <c:v>40777</c:v>
                </c:pt>
                <c:pt idx="539">
                  <c:v>40778</c:v>
                </c:pt>
                <c:pt idx="540">
                  <c:v>40779</c:v>
                </c:pt>
                <c:pt idx="541">
                  <c:v>40780</c:v>
                </c:pt>
                <c:pt idx="542">
                  <c:v>40781</c:v>
                </c:pt>
                <c:pt idx="543">
                  <c:v>40784</c:v>
                </c:pt>
                <c:pt idx="544">
                  <c:v>40785</c:v>
                </c:pt>
                <c:pt idx="545">
                  <c:v>40786</c:v>
                </c:pt>
                <c:pt idx="546">
                  <c:v>40787</c:v>
                </c:pt>
                <c:pt idx="547">
                  <c:v>40788</c:v>
                </c:pt>
                <c:pt idx="548">
                  <c:v>40791</c:v>
                </c:pt>
                <c:pt idx="549">
                  <c:v>40792</c:v>
                </c:pt>
                <c:pt idx="550">
                  <c:v>40793</c:v>
                </c:pt>
                <c:pt idx="551">
                  <c:v>40794</c:v>
                </c:pt>
                <c:pt idx="552">
                  <c:v>40795</c:v>
                </c:pt>
                <c:pt idx="553">
                  <c:v>40798</c:v>
                </c:pt>
                <c:pt idx="554">
                  <c:v>40799</c:v>
                </c:pt>
              </c:numCache>
            </c:numRef>
          </c:cat>
          <c:val>
            <c:numRef>
              <c:f>CDS!$BQ$2500:$BQ$3100</c:f>
              <c:numCache>
                <c:formatCode>General</c:formatCode>
                <c:ptCount val="601"/>
                <c:pt idx="0">
                  <c:v>51.021000000000001</c:v>
                </c:pt>
                <c:pt idx="1">
                  <c:v>47.853000000000002</c:v>
                </c:pt>
                <c:pt idx="2">
                  <c:v>46.524000000000001</c:v>
                </c:pt>
                <c:pt idx="3">
                  <c:v>44.64</c:v>
                </c:pt>
                <c:pt idx="4">
                  <c:v>44.525000000000013</c:v>
                </c:pt>
                <c:pt idx="5">
                  <c:v>45.427</c:v>
                </c:pt>
                <c:pt idx="6">
                  <c:v>45.350999999999999</c:v>
                </c:pt>
                <c:pt idx="7">
                  <c:v>48.181000000000004</c:v>
                </c:pt>
                <c:pt idx="8">
                  <c:v>47.639000000000003</c:v>
                </c:pt>
                <c:pt idx="9">
                  <c:v>49.797000000000011</c:v>
                </c:pt>
                <c:pt idx="10">
                  <c:v>54.186</c:v>
                </c:pt>
                <c:pt idx="11">
                  <c:v>56.346000000000004</c:v>
                </c:pt>
                <c:pt idx="12">
                  <c:v>55.538000000000011</c:v>
                </c:pt>
                <c:pt idx="13">
                  <c:v>60.155000000000001</c:v>
                </c:pt>
                <c:pt idx="14">
                  <c:v>59.992000000000012</c:v>
                </c:pt>
                <c:pt idx="15">
                  <c:v>61.454999999999998</c:v>
                </c:pt>
                <c:pt idx="16">
                  <c:v>59.571000000000005</c:v>
                </c:pt>
                <c:pt idx="17">
                  <c:v>57.756</c:v>
                </c:pt>
                <c:pt idx="18">
                  <c:v>52.5</c:v>
                </c:pt>
                <c:pt idx="19">
                  <c:v>54.414000000000001</c:v>
                </c:pt>
                <c:pt idx="20">
                  <c:v>54.152000000000001</c:v>
                </c:pt>
                <c:pt idx="21">
                  <c:v>54.426000000000002</c:v>
                </c:pt>
                <c:pt idx="22">
                  <c:v>53.447000000000003</c:v>
                </c:pt>
                <c:pt idx="23">
                  <c:v>53.589000000000006</c:v>
                </c:pt>
                <c:pt idx="24">
                  <c:v>55.987000000000002</c:v>
                </c:pt>
                <c:pt idx="25">
                  <c:v>58.038000000000011</c:v>
                </c:pt>
                <c:pt idx="26">
                  <c:v>59.004000000000005</c:v>
                </c:pt>
                <c:pt idx="27">
                  <c:v>59.541000000000004</c:v>
                </c:pt>
                <c:pt idx="28">
                  <c:v>59.211000000000006</c:v>
                </c:pt>
                <c:pt idx="29">
                  <c:v>58.686</c:v>
                </c:pt>
                <c:pt idx="30">
                  <c:v>57.647000000000006</c:v>
                </c:pt>
                <c:pt idx="31">
                  <c:v>55.581000000000003</c:v>
                </c:pt>
                <c:pt idx="32">
                  <c:v>53.903000000000006</c:v>
                </c:pt>
                <c:pt idx="33">
                  <c:v>53.094000000000001</c:v>
                </c:pt>
                <c:pt idx="34">
                  <c:v>50.544000000000004</c:v>
                </c:pt>
                <c:pt idx="35">
                  <c:v>48.274000000000001</c:v>
                </c:pt>
                <c:pt idx="36">
                  <c:v>49.078000000000003</c:v>
                </c:pt>
                <c:pt idx="37">
                  <c:v>50.386000000000003</c:v>
                </c:pt>
                <c:pt idx="38">
                  <c:v>50.678000000000011</c:v>
                </c:pt>
                <c:pt idx="39">
                  <c:v>50.454000000000001</c:v>
                </c:pt>
                <c:pt idx="40">
                  <c:v>50.543000000000006</c:v>
                </c:pt>
                <c:pt idx="41">
                  <c:v>51.213000000000001</c:v>
                </c:pt>
                <c:pt idx="42">
                  <c:v>50.949000000000005</c:v>
                </c:pt>
                <c:pt idx="43">
                  <c:v>51.494</c:v>
                </c:pt>
                <c:pt idx="44">
                  <c:v>49.493000000000002</c:v>
                </c:pt>
                <c:pt idx="45">
                  <c:v>49.378</c:v>
                </c:pt>
                <c:pt idx="46">
                  <c:v>50.682000000000002</c:v>
                </c:pt>
                <c:pt idx="47">
                  <c:v>51.501000000000005</c:v>
                </c:pt>
                <c:pt idx="48">
                  <c:v>50.181000000000004</c:v>
                </c:pt>
                <c:pt idx="49">
                  <c:v>50.206000000000003</c:v>
                </c:pt>
                <c:pt idx="50">
                  <c:v>50.592000000000013</c:v>
                </c:pt>
                <c:pt idx="51">
                  <c:v>50.951999999999998</c:v>
                </c:pt>
                <c:pt idx="52">
                  <c:v>50.711000000000006</c:v>
                </c:pt>
                <c:pt idx="53">
                  <c:v>50.457000000000001</c:v>
                </c:pt>
                <c:pt idx="54">
                  <c:v>50.995000000000012</c:v>
                </c:pt>
                <c:pt idx="55">
                  <c:v>51.117000000000004</c:v>
                </c:pt>
                <c:pt idx="56">
                  <c:v>50.627000000000002</c:v>
                </c:pt>
                <c:pt idx="57">
                  <c:v>51.292000000000066</c:v>
                </c:pt>
                <c:pt idx="58">
                  <c:v>52.379000000000005</c:v>
                </c:pt>
                <c:pt idx="59">
                  <c:v>52.379000000000005</c:v>
                </c:pt>
                <c:pt idx="60">
                  <c:v>52.365000000000002</c:v>
                </c:pt>
                <c:pt idx="61">
                  <c:v>52.379000000000005</c:v>
                </c:pt>
                <c:pt idx="62">
                  <c:v>52.787000000000006</c:v>
                </c:pt>
                <c:pt idx="63">
                  <c:v>52.790000000000013</c:v>
                </c:pt>
                <c:pt idx="64">
                  <c:v>52.714000000000006</c:v>
                </c:pt>
                <c:pt idx="65">
                  <c:v>54.714000000000006</c:v>
                </c:pt>
                <c:pt idx="66">
                  <c:v>56.215000000000003</c:v>
                </c:pt>
                <c:pt idx="67">
                  <c:v>55.993000000000002</c:v>
                </c:pt>
                <c:pt idx="68">
                  <c:v>56.939</c:v>
                </c:pt>
                <c:pt idx="69">
                  <c:v>57.066000000000003</c:v>
                </c:pt>
                <c:pt idx="70">
                  <c:v>56.683</c:v>
                </c:pt>
                <c:pt idx="71">
                  <c:v>56.718000000000011</c:v>
                </c:pt>
                <c:pt idx="72">
                  <c:v>59.653000000000006</c:v>
                </c:pt>
                <c:pt idx="73">
                  <c:v>58.721000000000011</c:v>
                </c:pt>
                <c:pt idx="74">
                  <c:v>58.726000000000013</c:v>
                </c:pt>
                <c:pt idx="75">
                  <c:v>58.316999999999993</c:v>
                </c:pt>
                <c:pt idx="76">
                  <c:v>58.917000000000002</c:v>
                </c:pt>
                <c:pt idx="77">
                  <c:v>62.965000000000003</c:v>
                </c:pt>
                <c:pt idx="78">
                  <c:v>67.763999999999996</c:v>
                </c:pt>
                <c:pt idx="79">
                  <c:v>65.277000000000001</c:v>
                </c:pt>
                <c:pt idx="80">
                  <c:v>67.049000000000007</c:v>
                </c:pt>
                <c:pt idx="81">
                  <c:v>72.85599999999998</c:v>
                </c:pt>
                <c:pt idx="82">
                  <c:v>70.221000000000004</c:v>
                </c:pt>
                <c:pt idx="83">
                  <c:v>68.654999999999987</c:v>
                </c:pt>
                <c:pt idx="84">
                  <c:v>69.546000000000006</c:v>
                </c:pt>
                <c:pt idx="85">
                  <c:v>69.381</c:v>
                </c:pt>
                <c:pt idx="86">
                  <c:v>72.725999999999999</c:v>
                </c:pt>
                <c:pt idx="87">
                  <c:v>71.822000000000003</c:v>
                </c:pt>
                <c:pt idx="88">
                  <c:v>70.962000000000003</c:v>
                </c:pt>
                <c:pt idx="89">
                  <c:v>68.982000000000014</c:v>
                </c:pt>
                <c:pt idx="90">
                  <c:v>69.010000000000005</c:v>
                </c:pt>
                <c:pt idx="91">
                  <c:v>67.546000000000006</c:v>
                </c:pt>
                <c:pt idx="92">
                  <c:v>68.121999999999986</c:v>
                </c:pt>
                <c:pt idx="93">
                  <c:v>68.802999999999983</c:v>
                </c:pt>
                <c:pt idx="94">
                  <c:v>72.936000000000007</c:v>
                </c:pt>
                <c:pt idx="95">
                  <c:v>77.081000000000003</c:v>
                </c:pt>
                <c:pt idx="96">
                  <c:v>73.816999999999993</c:v>
                </c:pt>
                <c:pt idx="97">
                  <c:v>71.78</c:v>
                </c:pt>
                <c:pt idx="98">
                  <c:v>72.497000000000114</c:v>
                </c:pt>
                <c:pt idx="99">
                  <c:v>73.155999999999949</c:v>
                </c:pt>
                <c:pt idx="100">
                  <c:v>72.254999999999995</c:v>
                </c:pt>
                <c:pt idx="101">
                  <c:v>80.912999999999997</c:v>
                </c:pt>
                <c:pt idx="102">
                  <c:v>81.837000000000003</c:v>
                </c:pt>
                <c:pt idx="103">
                  <c:v>83.921000000000006</c:v>
                </c:pt>
                <c:pt idx="104">
                  <c:v>89.400999999999996</c:v>
                </c:pt>
                <c:pt idx="105">
                  <c:v>88.35599999999998</c:v>
                </c:pt>
                <c:pt idx="106">
                  <c:v>89.361000000000004</c:v>
                </c:pt>
                <c:pt idx="107">
                  <c:v>87.367999999999995</c:v>
                </c:pt>
                <c:pt idx="108">
                  <c:v>89.043000000000006</c:v>
                </c:pt>
                <c:pt idx="109">
                  <c:v>88.561000000000007</c:v>
                </c:pt>
                <c:pt idx="110">
                  <c:v>87.831999999999994</c:v>
                </c:pt>
                <c:pt idx="111">
                  <c:v>91.215999999999994</c:v>
                </c:pt>
                <c:pt idx="112">
                  <c:v>91.230999999999995</c:v>
                </c:pt>
                <c:pt idx="113">
                  <c:v>87.863</c:v>
                </c:pt>
                <c:pt idx="114">
                  <c:v>82.462000000000003</c:v>
                </c:pt>
                <c:pt idx="115">
                  <c:v>81.442000000000007</c:v>
                </c:pt>
                <c:pt idx="116">
                  <c:v>86.599000000000004</c:v>
                </c:pt>
                <c:pt idx="117">
                  <c:v>91.495000000000005</c:v>
                </c:pt>
                <c:pt idx="118">
                  <c:v>99.292000000000002</c:v>
                </c:pt>
                <c:pt idx="119">
                  <c:v>103.508</c:v>
                </c:pt>
                <c:pt idx="120">
                  <c:v>109.05800000000001</c:v>
                </c:pt>
                <c:pt idx="121">
                  <c:v>122.11</c:v>
                </c:pt>
                <c:pt idx="122">
                  <c:v>131.06300000000002</c:v>
                </c:pt>
                <c:pt idx="123">
                  <c:v>125.529</c:v>
                </c:pt>
                <c:pt idx="124">
                  <c:v>125.47</c:v>
                </c:pt>
                <c:pt idx="125">
                  <c:v>138.69499999999999</c:v>
                </c:pt>
                <c:pt idx="126">
                  <c:v>147.11199999999999</c:v>
                </c:pt>
                <c:pt idx="127">
                  <c:v>149.393</c:v>
                </c:pt>
                <c:pt idx="128">
                  <c:v>139.92200000000022</c:v>
                </c:pt>
                <c:pt idx="129">
                  <c:v>128.77199999999999</c:v>
                </c:pt>
                <c:pt idx="130">
                  <c:v>148.434</c:v>
                </c:pt>
                <c:pt idx="131">
                  <c:v>168.19300000000001</c:v>
                </c:pt>
                <c:pt idx="132">
                  <c:v>159.55100000000004</c:v>
                </c:pt>
                <c:pt idx="133">
                  <c:v>158.66200000000001</c:v>
                </c:pt>
                <c:pt idx="134">
                  <c:v>164.43100000000001</c:v>
                </c:pt>
                <c:pt idx="135">
                  <c:v>191.76399999999998</c:v>
                </c:pt>
                <c:pt idx="136">
                  <c:v>227.17299999999997</c:v>
                </c:pt>
                <c:pt idx="137">
                  <c:v>223.959</c:v>
                </c:pt>
                <c:pt idx="138">
                  <c:v>239.76999999999998</c:v>
                </c:pt>
                <c:pt idx="139">
                  <c:v>205.82700000000023</c:v>
                </c:pt>
                <c:pt idx="140">
                  <c:v>187.17099999999999</c:v>
                </c:pt>
                <c:pt idx="141">
                  <c:v>190.136</c:v>
                </c:pt>
                <c:pt idx="142">
                  <c:v>193.09399999999999</c:v>
                </c:pt>
                <c:pt idx="143">
                  <c:v>190.32400000000001</c:v>
                </c:pt>
                <c:pt idx="144">
                  <c:v>185.49800000000022</c:v>
                </c:pt>
                <c:pt idx="145">
                  <c:v>176.92100000000022</c:v>
                </c:pt>
                <c:pt idx="146">
                  <c:v>173.19499999999999</c:v>
                </c:pt>
                <c:pt idx="147">
                  <c:v>161.85000000000022</c:v>
                </c:pt>
                <c:pt idx="148">
                  <c:v>162.28100000000001</c:v>
                </c:pt>
                <c:pt idx="149">
                  <c:v>167.70099999999999</c:v>
                </c:pt>
                <c:pt idx="150">
                  <c:v>177.29499999999999</c:v>
                </c:pt>
                <c:pt idx="151">
                  <c:v>179.18800000000007</c:v>
                </c:pt>
                <c:pt idx="152">
                  <c:v>164.52100000000004</c:v>
                </c:pt>
                <c:pt idx="153">
                  <c:v>152.31900000000002</c:v>
                </c:pt>
                <c:pt idx="154">
                  <c:v>135.94300000000001</c:v>
                </c:pt>
                <c:pt idx="155">
                  <c:v>127.31100000000002</c:v>
                </c:pt>
                <c:pt idx="156">
                  <c:v>126.124</c:v>
                </c:pt>
                <c:pt idx="157">
                  <c:v>116.71100000000011</c:v>
                </c:pt>
                <c:pt idx="158">
                  <c:v>114.164</c:v>
                </c:pt>
                <c:pt idx="159">
                  <c:v>115.57299999999998</c:v>
                </c:pt>
                <c:pt idx="160">
                  <c:v>109.776</c:v>
                </c:pt>
                <c:pt idx="161">
                  <c:v>113.898</c:v>
                </c:pt>
                <c:pt idx="162">
                  <c:v>111.351</c:v>
                </c:pt>
                <c:pt idx="163">
                  <c:v>111.64700000000002</c:v>
                </c:pt>
                <c:pt idx="164">
                  <c:v>113.33799999999999</c:v>
                </c:pt>
                <c:pt idx="165">
                  <c:v>112.98699999999999</c:v>
                </c:pt>
                <c:pt idx="166">
                  <c:v>120.657</c:v>
                </c:pt>
                <c:pt idx="167">
                  <c:v>128.33800000000022</c:v>
                </c:pt>
                <c:pt idx="168">
                  <c:v>131.791</c:v>
                </c:pt>
                <c:pt idx="169">
                  <c:v>131.68</c:v>
                </c:pt>
                <c:pt idx="170">
                  <c:v>135.17599999999999</c:v>
                </c:pt>
                <c:pt idx="171">
                  <c:v>134.93200000000004</c:v>
                </c:pt>
                <c:pt idx="172">
                  <c:v>131.63399999999999</c:v>
                </c:pt>
                <c:pt idx="173">
                  <c:v>133.78</c:v>
                </c:pt>
                <c:pt idx="174">
                  <c:v>136.75299999999999</c:v>
                </c:pt>
                <c:pt idx="175">
                  <c:v>142.34700000000001</c:v>
                </c:pt>
                <c:pt idx="176">
                  <c:v>143.803</c:v>
                </c:pt>
                <c:pt idx="177">
                  <c:v>144.38000000000022</c:v>
                </c:pt>
                <c:pt idx="178">
                  <c:v>144.87</c:v>
                </c:pt>
                <c:pt idx="179">
                  <c:v>147.28300000000002</c:v>
                </c:pt>
                <c:pt idx="180">
                  <c:v>156.77399999999992</c:v>
                </c:pt>
                <c:pt idx="181">
                  <c:v>165.483</c:v>
                </c:pt>
                <c:pt idx="182">
                  <c:v>159.83800000000022</c:v>
                </c:pt>
                <c:pt idx="183">
                  <c:v>150.42500000000001</c:v>
                </c:pt>
                <c:pt idx="184">
                  <c:v>149.50299999999999</c:v>
                </c:pt>
                <c:pt idx="185">
                  <c:v>172.84200000000001</c:v>
                </c:pt>
                <c:pt idx="186">
                  <c:v>180.53399999999999</c:v>
                </c:pt>
                <c:pt idx="187">
                  <c:v>192.85100000000023</c:v>
                </c:pt>
                <c:pt idx="188">
                  <c:v>199.43300000000002</c:v>
                </c:pt>
                <c:pt idx="189">
                  <c:v>197.45500000000001</c:v>
                </c:pt>
                <c:pt idx="190">
                  <c:v>224.17399999999998</c:v>
                </c:pt>
                <c:pt idx="191">
                  <c:v>261.99400000000003</c:v>
                </c:pt>
                <c:pt idx="192">
                  <c:v>275.11399999999969</c:v>
                </c:pt>
                <c:pt idx="193">
                  <c:v>308.64699999999999</c:v>
                </c:pt>
                <c:pt idx="194">
                  <c:v>379.03399999999937</c:v>
                </c:pt>
                <c:pt idx="195">
                  <c:v>339.92599999999936</c:v>
                </c:pt>
                <c:pt idx="196">
                  <c:v>303.86099999999999</c:v>
                </c:pt>
                <c:pt idx="197">
                  <c:v>279.84399999999999</c:v>
                </c:pt>
                <c:pt idx="198">
                  <c:v>285.9899999999995</c:v>
                </c:pt>
                <c:pt idx="199">
                  <c:v>342.14800000000002</c:v>
                </c:pt>
                <c:pt idx="200">
                  <c:v>395.10300000000001</c:v>
                </c:pt>
                <c:pt idx="201">
                  <c:v>450.63200000000001</c:v>
                </c:pt>
                <c:pt idx="202">
                  <c:v>421.62599999999969</c:v>
                </c:pt>
                <c:pt idx="203">
                  <c:v>262.51799999999969</c:v>
                </c:pt>
                <c:pt idx="204">
                  <c:v>236.89100000000022</c:v>
                </c:pt>
                <c:pt idx="205">
                  <c:v>198.02100000000004</c:v>
                </c:pt>
                <c:pt idx="206">
                  <c:v>199.36600000000001</c:v>
                </c:pt>
                <c:pt idx="207">
                  <c:v>237.76</c:v>
                </c:pt>
                <c:pt idx="208">
                  <c:v>272.85700000000008</c:v>
                </c:pt>
                <c:pt idx="209">
                  <c:v>271.5379999999995</c:v>
                </c:pt>
                <c:pt idx="210">
                  <c:v>277.14499999999998</c:v>
                </c:pt>
                <c:pt idx="211">
                  <c:v>328.98099999999937</c:v>
                </c:pt>
                <c:pt idx="212">
                  <c:v>321.9299999999995</c:v>
                </c:pt>
                <c:pt idx="213">
                  <c:v>327.12900000000002</c:v>
                </c:pt>
                <c:pt idx="214">
                  <c:v>342.28199999999919</c:v>
                </c:pt>
                <c:pt idx="215">
                  <c:v>323.86500000000001</c:v>
                </c:pt>
                <c:pt idx="216">
                  <c:v>318.92899999999918</c:v>
                </c:pt>
                <c:pt idx="217">
                  <c:v>309.59599999999949</c:v>
                </c:pt>
                <c:pt idx="218">
                  <c:v>305.68700000000001</c:v>
                </c:pt>
                <c:pt idx="219">
                  <c:v>340.74700000000001</c:v>
                </c:pt>
                <c:pt idx="220">
                  <c:v>346.84000000000032</c:v>
                </c:pt>
                <c:pt idx="221">
                  <c:v>331.14699999999999</c:v>
                </c:pt>
                <c:pt idx="222">
                  <c:v>352.78</c:v>
                </c:pt>
                <c:pt idx="223">
                  <c:v>353.04599999999999</c:v>
                </c:pt>
                <c:pt idx="224">
                  <c:v>351.964</c:v>
                </c:pt>
                <c:pt idx="225">
                  <c:v>319.83300000000003</c:v>
                </c:pt>
                <c:pt idx="226">
                  <c:v>290.34100000000001</c:v>
                </c:pt>
                <c:pt idx="227">
                  <c:v>288.71299999999957</c:v>
                </c:pt>
                <c:pt idx="228">
                  <c:v>295.214</c:v>
                </c:pt>
                <c:pt idx="229">
                  <c:v>311.80799999999999</c:v>
                </c:pt>
                <c:pt idx="230">
                  <c:v>311.34100000000001</c:v>
                </c:pt>
                <c:pt idx="231">
                  <c:v>300.95099999999957</c:v>
                </c:pt>
                <c:pt idx="232">
                  <c:v>288.95</c:v>
                </c:pt>
                <c:pt idx="233">
                  <c:v>280.54300000000001</c:v>
                </c:pt>
                <c:pt idx="234">
                  <c:v>300.76599999999956</c:v>
                </c:pt>
                <c:pt idx="235">
                  <c:v>316.53099999999949</c:v>
                </c:pt>
                <c:pt idx="236">
                  <c:v>322.92899999999918</c:v>
                </c:pt>
                <c:pt idx="237">
                  <c:v>324.10899999999964</c:v>
                </c:pt>
                <c:pt idx="238">
                  <c:v>324.69499999999999</c:v>
                </c:pt>
                <c:pt idx="239">
                  <c:v>328.92799999999943</c:v>
                </c:pt>
                <c:pt idx="240">
                  <c:v>311.31299999999999</c:v>
                </c:pt>
                <c:pt idx="241">
                  <c:v>306.0259999999995</c:v>
                </c:pt>
                <c:pt idx="242">
                  <c:v>295.06799999999993</c:v>
                </c:pt>
                <c:pt idx="243">
                  <c:v>301.02</c:v>
                </c:pt>
                <c:pt idx="244">
                  <c:v>295.113</c:v>
                </c:pt>
                <c:pt idx="245">
                  <c:v>295.399</c:v>
                </c:pt>
                <c:pt idx="246">
                  <c:v>289.36500000000001</c:v>
                </c:pt>
                <c:pt idx="247">
                  <c:v>278.41799999999949</c:v>
                </c:pt>
                <c:pt idx="248">
                  <c:v>282.005</c:v>
                </c:pt>
                <c:pt idx="249">
                  <c:v>277.99199999999917</c:v>
                </c:pt>
                <c:pt idx="250">
                  <c:v>283.86399999999969</c:v>
                </c:pt>
                <c:pt idx="251">
                  <c:v>293.48799999999949</c:v>
                </c:pt>
                <c:pt idx="252">
                  <c:v>287.44299999999993</c:v>
                </c:pt>
                <c:pt idx="253">
                  <c:v>288.673</c:v>
                </c:pt>
                <c:pt idx="254">
                  <c:v>285.72000000000003</c:v>
                </c:pt>
                <c:pt idx="255">
                  <c:v>275.4009999999995</c:v>
                </c:pt>
                <c:pt idx="256">
                  <c:v>275.05200000000002</c:v>
                </c:pt>
                <c:pt idx="257">
                  <c:v>268.61599999999999</c:v>
                </c:pt>
                <c:pt idx="258">
                  <c:v>250.35300000000001</c:v>
                </c:pt>
                <c:pt idx="259">
                  <c:v>217.93300000000002</c:v>
                </c:pt>
                <c:pt idx="260">
                  <c:v>215.82800000000026</c:v>
                </c:pt>
                <c:pt idx="261">
                  <c:v>216.14699999999999</c:v>
                </c:pt>
                <c:pt idx="262">
                  <c:v>224.96700000000001</c:v>
                </c:pt>
                <c:pt idx="263">
                  <c:v>219.565</c:v>
                </c:pt>
                <c:pt idx="264">
                  <c:v>217.14899999999997</c:v>
                </c:pt>
                <c:pt idx="265">
                  <c:v>222.05700000000004</c:v>
                </c:pt>
                <c:pt idx="266">
                  <c:v>227.816</c:v>
                </c:pt>
                <c:pt idx="267">
                  <c:v>232.64399999999998</c:v>
                </c:pt>
                <c:pt idx="268">
                  <c:v>235.38400000000001</c:v>
                </c:pt>
                <c:pt idx="269">
                  <c:v>247.27799999999999</c:v>
                </c:pt>
                <c:pt idx="270">
                  <c:v>265.72099999999949</c:v>
                </c:pt>
                <c:pt idx="271">
                  <c:v>271.98799999999949</c:v>
                </c:pt>
                <c:pt idx="272">
                  <c:v>274.52999999999969</c:v>
                </c:pt>
                <c:pt idx="273">
                  <c:v>275.97899999999925</c:v>
                </c:pt>
                <c:pt idx="274">
                  <c:v>265.82400000000001</c:v>
                </c:pt>
                <c:pt idx="275">
                  <c:v>266.39999999999969</c:v>
                </c:pt>
                <c:pt idx="276">
                  <c:v>271.97699999999918</c:v>
                </c:pt>
                <c:pt idx="277">
                  <c:v>278.65699999999993</c:v>
                </c:pt>
                <c:pt idx="278">
                  <c:v>277.96699999999925</c:v>
                </c:pt>
                <c:pt idx="279">
                  <c:v>285.83999999999969</c:v>
                </c:pt>
                <c:pt idx="280">
                  <c:v>313.40699999999919</c:v>
                </c:pt>
                <c:pt idx="281">
                  <c:v>329.22999999999956</c:v>
                </c:pt>
                <c:pt idx="282">
                  <c:v>332.29899999999918</c:v>
                </c:pt>
                <c:pt idx="283">
                  <c:v>332.35300000000001</c:v>
                </c:pt>
                <c:pt idx="284">
                  <c:v>334.02299999999963</c:v>
                </c:pt>
                <c:pt idx="285">
                  <c:v>321.47499999999957</c:v>
                </c:pt>
                <c:pt idx="286">
                  <c:v>305.47000000000003</c:v>
                </c:pt>
                <c:pt idx="287">
                  <c:v>298.66500000000002</c:v>
                </c:pt>
                <c:pt idx="288">
                  <c:v>304.16800000000001</c:v>
                </c:pt>
                <c:pt idx="289">
                  <c:v>325.02499999999969</c:v>
                </c:pt>
                <c:pt idx="290">
                  <c:v>321.82799999999969</c:v>
                </c:pt>
                <c:pt idx="291">
                  <c:v>327.28599999999949</c:v>
                </c:pt>
                <c:pt idx="292">
                  <c:v>330.86900000000031</c:v>
                </c:pt>
                <c:pt idx="293">
                  <c:v>319.9659999999995</c:v>
                </c:pt>
                <c:pt idx="294">
                  <c:v>332.23099999999937</c:v>
                </c:pt>
                <c:pt idx="295">
                  <c:v>339.21899999999937</c:v>
                </c:pt>
                <c:pt idx="296">
                  <c:v>339.93299999999937</c:v>
                </c:pt>
                <c:pt idx="297">
                  <c:v>364.61900000000031</c:v>
                </c:pt>
                <c:pt idx="298">
                  <c:v>359.88400000000001</c:v>
                </c:pt>
                <c:pt idx="299">
                  <c:v>368.81900000000002</c:v>
                </c:pt>
                <c:pt idx="300">
                  <c:v>392.51799999999969</c:v>
                </c:pt>
                <c:pt idx="301">
                  <c:v>396.34300000000002</c:v>
                </c:pt>
                <c:pt idx="302">
                  <c:v>401.69</c:v>
                </c:pt>
                <c:pt idx="303">
                  <c:v>417.863</c:v>
                </c:pt>
                <c:pt idx="304">
                  <c:v>433.185</c:v>
                </c:pt>
                <c:pt idx="305">
                  <c:v>433.65499999999997</c:v>
                </c:pt>
                <c:pt idx="306">
                  <c:v>409.37299999999999</c:v>
                </c:pt>
                <c:pt idx="307">
                  <c:v>398.14000000000038</c:v>
                </c:pt>
                <c:pt idx="308">
                  <c:v>406.26299999999969</c:v>
                </c:pt>
                <c:pt idx="309">
                  <c:v>401.87700000000001</c:v>
                </c:pt>
                <c:pt idx="310">
                  <c:v>405.76400000000001</c:v>
                </c:pt>
                <c:pt idx="311">
                  <c:v>402.71499999999969</c:v>
                </c:pt>
                <c:pt idx="312">
                  <c:v>398.74299999999999</c:v>
                </c:pt>
                <c:pt idx="313">
                  <c:v>387.07799999999969</c:v>
                </c:pt>
                <c:pt idx="314">
                  <c:v>395.46799999999956</c:v>
                </c:pt>
                <c:pt idx="315">
                  <c:v>380.13499999999999</c:v>
                </c:pt>
                <c:pt idx="316">
                  <c:v>372.96099999999956</c:v>
                </c:pt>
                <c:pt idx="317">
                  <c:v>358.48699999999923</c:v>
                </c:pt>
                <c:pt idx="318">
                  <c:v>342.59899999999936</c:v>
                </c:pt>
                <c:pt idx="319">
                  <c:v>342.029</c:v>
                </c:pt>
                <c:pt idx="320">
                  <c:v>345.5909999999995</c:v>
                </c:pt>
                <c:pt idx="321">
                  <c:v>342.84000000000032</c:v>
                </c:pt>
                <c:pt idx="322">
                  <c:v>346.06</c:v>
                </c:pt>
                <c:pt idx="323">
                  <c:v>336.05099999999999</c:v>
                </c:pt>
                <c:pt idx="324">
                  <c:v>335.51599999999956</c:v>
                </c:pt>
                <c:pt idx="325">
                  <c:v>346.55399999999969</c:v>
                </c:pt>
                <c:pt idx="326">
                  <c:v>359.98699999999923</c:v>
                </c:pt>
                <c:pt idx="327">
                  <c:v>378.07900000000001</c:v>
                </c:pt>
                <c:pt idx="328">
                  <c:v>389.35300000000001</c:v>
                </c:pt>
                <c:pt idx="329">
                  <c:v>401.13599999999963</c:v>
                </c:pt>
                <c:pt idx="330">
                  <c:v>417.12599999999969</c:v>
                </c:pt>
                <c:pt idx="331">
                  <c:v>436.9299999999995</c:v>
                </c:pt>
                <c:pt idx="332">
                  <c:v>443.351</c:v>
                </c:pt>
                <c:pt idx="333">
                  <c:v>457.37700000000001</c:v>
                </c:pt>
                <c:pt idx="334">
                  <c:v>457.24099999999999</c:v>
                </c:pt>
                <c:pt idx="335">
                  <c:v>466.55099999999999</c:v>
                </c:pt>
                <c:pt idx="336">
                  <c:v>479.36</c:v>
                </c:pt>
                <c:pt idx="337">
                  <c:v>451.25799999999964</c:v>
                </c:pt>
                <c:pt idx="338">
                  <c:v>438.20400000000001</c:v>
                </c:pt>
                <c:pt idx="339">
                  <c:v>431.36500000000001</c:v>
                </c:pt>
                <c:pt idx="340">
                  <c:v>412.21499999999969</c:v>
                </c:pt>
                <c:pt idx="341">
                  <c:v>409.06799999999993</c:v>
                </c:pt>
                <c:pt idx="342">
                  <c:v>413.904</c:v>
                </c:pt>
                <c:pt idx="343">
                  <c:v>453.26900000000001</c:v>
                </c:pt>
                <c:pt idx="344">
                  <c:v>481.55500000000001</c:v>
                </c:pt>
                <c:pt idx="345">
                  <c:v>475.89099999999956</c:v>
                </c:pt>
                <c:pt idx="346">
                  <c:v>473.66199999999969</c:v>
                </c:pt>
                <c:pt idx="347">
                  <c:v>505.678</c:v>
                </c:pt>
                <c:pt idx="348">
                  <c:v>536.59799999999996</c:v>
                </c:pt>
                <c:pt idx="349">
                  <c:v>543.19500000000005</c:v>
                </c:pt>
                <c:pt idx="350">
                  <c:v>475.25299999999999</c:v>
                </c:pt>
                <c:pt idx="351">
                  <c:v>442.78299999999956</c:v>
                </c:pt>
                <c:pt idx="352">
                  <c:v>423.10199999999969</c:v>
                </c:pt>
                <c:pt idx="353">
                  <c:v>435.262</c:v>
                </c:pt>
                <c:pt idx="354">
                  <c:v>434.52699999999936</c:v>
                </c:pt>
                <c:pt idx="355">
                  <c:v>431.90599999999949</c:v>
                </c:pt>
                <c:pt idx="356">
                  <c:v>449.17399999999969</c:v>
                </c:pt>
                <c:pt idx="357">
                  <c:v>467.63799999999969</c:v>
                </c:pt>
                <c:pt idx="358">
                  <c:v>468.47099999999949</c:v>
                </c:pt>
                <c:pt idx="359">
                  <c:v>450.58699999999936</c:v>
                </c:pt>
                <c:pt idx="360">
                  <c:v>438.56</c:v>
                </c:pt>
                <c:pt idx="361">
                  <c:v>451.72699999999918</c:v>
                </c:pt>
                <c:pt idx="362">
                  <c:v>461.26</c:v>
                </c:pt>
                <c:pt idx="363">
                  <c:v>467.88499999999999</c:v>
                </c:pt>
                <c:pt idx="364">
                  <c:v>483.54199999999969</c:v>
                </c:pt>
                <c:pt idx="365">
                  <c:v>488.846</c:v>
                </c:pt>
                <c:pt idx="366">
                  <c:v>495.57</c:v>
                </c:pt>
                <c:pt idx="367">
                  <c:v>496.66500000000002</c:v>
                </c:pt>
                <c:pt idx="368">
                  <c:v>495.42899999999918</c:v>
                </c:pt>
                <c:pt idx="369">
                  <c:v>496.05599999999993</c:v>
                </c:pt>
                <c:pt idx="370">
                  <c:v>498.34199999999993</c:v>
                </c:pt>
                <c:pt idx="371">
                  <c:v>499.18200000000002</c:v>
                </c:pt>
                <c:pt idx="372">
                  <c:v>499.58499999999964</c:v>
                </c:pt>
                <c:pt idx="373">
                  <c:v>496.70800000000003</c:v>
                </c:pt>
                <c:pt idx="374">
                  <c:v>495.91899999999919</c:v>
                </c:pt>
                <c:pt idx="375">
                  <c:v>498.00400000000002</c:v>
                </c:pt>
                <c:pt idx="376">
                  <c:v>506.79599999999937</c:v>
                </c:pt>
                <c:pt idx="377">
                  <c:v>533.28200000000004</c:v>
                </c:pt>
                <c:pt idx="378">
                  <c:v>546.64499999999998</c:v>
                </c:pt>
                <c:pt idx="379">
                  <c:v>536.90800000000002</c:v>
                </c:pt>
                <c:pt idx="380">
                  <c:v>513.08799999999997</c:v>
                </c:pt>
                <c:pt idx="381">
                  <c:v>496.24</c:v>
                </c:pt>
                <c:pt idx="382">
                  <c:v>481.40499999999969</c:v>
                </c:pt>
                <c:pt idx="383">
                  <c:v>486.37799999999999</c:v>
                </c:pt>
                <c:pt idx="384">
                  <c:v>480.84800000000001</c:v>
                </c:pt>
                <c:pt idx="385">
                  <c:v>467.03899999999936</c:v>
                </c:pt>
                <c:pt idx="386">
                  <c:v>458.16300000000001</c:v>
                </c:pt>
                <c:pt idx="387">
                  <c:v>437.09299999999956</c:v>
                </c:pt>
                <c:pt idx="388">
                  <c:v>432.1</c:v>
                </c:pt>
                <c:pt idx="389">
                  <c:v>446.66899999999993</c:v>
                </c:pt>
                <c:pt idx="390">
                  <c:v>450.21999999999969</c:v>
                </c:pt>
                <c:pt idx="391">
                  <c:v>458.54700000000008</c:v>
                </c:pt>
                <c:pt idx="392">
                  <c:v>455.75299999999999</c:v>
                </c:pt>
                <c:pt idx="393">
                  <c:v>433.35300000000001</c:v>
                </c:pt>
                <c:pt idx="394">
                  <c:v>403.95800000000003</c:v>
                </c:pt>
                <c:pt idx="395">
                  <c:v>389.01400000000001</c:v>
                </c:pt>
                <c:pt idx="396">
                  <c:v>398.31299999999999</c:v>
                </c:pt>
                <c:pt idx="397">
                  <c:v>405.01599999999956</c:v>
                </c:pt>
                <c:pt idx="398">
                  <c:v>418.99299999999937</c:v>
                </c:pt>
                <c:pt idx="399">
                  <c:v>425.65600000000001</c:v>
                </c:pt>
                <c:pt idx="400">
                  <c:v>432.80500000000001</c:v>
                </c:pt>
                <c:pt idx="401">
                  <c:v>439.72599999999949</c:v>
                </c:pt>
                <c:pt idx="402">
                  <c:v>441.79299999999949</c:v>
                </c:pt>
                <c:pt idx="403">
                  <c:v>457.45400000000001</c:v>
                </c:pt>
                <c:pt idx="404">
                  <c:v>450</c:v>
                </c:pt>
                <c:pt idx="405">
                  <c:v>453.46899999999937</c:v>
                </c:pt>
                <c:pt idx="406">
                  <c:v>453.01599999999956</c:v>
                </c:pt>
                <c:pt idx="407">
                  <c:v>455.37799999999999</c:v>
                </c:pt>
                <c:pt idx="408">
                  <c:v>469.40599999999949</c:v>
                </c:pt>
                <c:pt idx="409">
                  <c:v>473.23099999999937</c:v>
                </c:pt>
                <c:pt idx="410">
                  <c:v>475.81900000000002</c:v>
                </c:pt>
                <c:pt idx="411">
                  <c:v>476.904</c:v>
                </c:pt>
                <c:pt idx="412">
                  <c:v>467.68</c:v>
                </c:pt>
                <c:pt idx="413">
                  <c:v>465.16800000000001</c:v>
                </c:pt>
                <c:pt idx="414">
                  <c:v>461.68099999999993</c:v>
                </c:pt>
                <c:pt idx="415">
                  <c:v>462.63499999999999</c:v>
                </c:pt>
                <c:pt idx="416">
                  <c:v>468.84100000000001</c:v>
                </c:pt>
                <c:pt idx="417">
                  <c:v>482.5</c:v>
                </c:pt>
                <c:pt idx="418">
                  <c:v>490.745</c:v>
                </c:pt>
                <c:pt idx="419">
                  <c:v>488.30399999999969</c:v>
                </c:pt>
                <c:pt idx="420">
                  <c:v>497.88599999999963</c:v>
                </c:pt>
                <c:pt idx="421">
                  <c:v>504.19499999999999</c:v>
                </c:pt>
                <c:pt idx="422">
                  <c:v>515.45699999999897</c:v>
                </c:pt>
                <c:pt idx="423">
                  <c:v>495.31299999999999</c:v>
                </c:pt>
                <c:pt idx="424">
                  <c:v>506.67899999999969</c:v>
                </c:pt>
                <c:pt idx="425">
                  <c:v>510.50099999999969</c:v>
                </c:pt>
                <c:pt idx="426">
                  <c:v>542.17900000000054</c:v>
                </c:pt>
                <c:pt idx="427">
                  <c:v>499.69200000000001</c:v>
                </c:pt>
                <c:pt idx="428">
                  <c:v>517.96199999999897</c:v>
                </c:pt>
                <c:pt idx="429">
                  <c:v>533.54199999999946</c:v>
                </c:pt>
                <c:pt idx="430">
                  <c:v>559.44599999999946</c:v>
                </c:pt>
                <c:pt idx="431">
                  <c:v>561.20899999999995</c:v>
                </c:pt>
                <c:pt idx="432">
                  <c:v>546.59900000000005</c:v>
                </c:pt>
                <c:pt idx="433">
                  <c:v>560.93799999999896</c:v>
                </c:pt>
                <c:pt idx="434">
                  <c:v>566.64599999999996</c:v>
                </c:pt>
                <c:pt idx="435">
                  <c:v>574.5619999999991</c:v>
                </c:pt>
                <c:pt idx="436">
                  <c:v>579.5619999999991</c:v>
                </c:pt>
                <c:pt idx="437">
                  <c:v>570.55999999999949</c:v>
                </c:pt>
                <c:pt idx="438">
                  <c:v>580.05599999999947</c:v>
                </c:pt>
                <c:pt idx="439">
                  <c:v>585.06399999999996</c:v>
                </c:pt>
                <c:pt idx="440">
                  <c:v>553.23900000000003</c:v>
                </c:pt>
                <c:pt idx="441">
                  <c:v>549.072</c:v>
                </c:pt>
                <c:pt idx="442">
                  <c:v>538.29800000000103</c:v>
                </c:pt>
                <c:pt idx="443">
                  <c:v>548.08299999999997</c:v>
                </c:pt>
                <c:pt idx="444">
                  <c:v>560.67999999999995</c:v>
                </c:pt>
                <c:pt idx="445">
                  <c:v>574.81999999999948</c:v>
                </c:pt>
                <c:pt idx="446">
                  <c:v>592.07799999999997</c:v>
                </c:pt>
                <c:pt idx="447">
                  <c:v>602.48400000000004</c:v>
                </c:pt>
                <c:pt idx="448">
                  <c:v>624.375</c:v>
                </c:pt>
                <c:pt idx="449">
                  <c:v>609.52199999999948</c:v>
                </c:pt>
                <c:pt idx="450">
                  <c:v>636.26400000000001</c:v>
                </c:pt>
                <c:pt idx="451">
                  <c:v>651.29000000000053</c:v>
                </c:pt>
                <c:pt idx="452">
                  <c:v>658.61</c:v>
                </c:pt>
                <c:pt idx="453">
                  <c:v>659.58600000000001</c:v>
                </c:pt>
                <c:pt idx="454">
                  <c:v>674.19</c:v>
                </c:pt>
                <c:pt idx="455">
                  <c:v>666.32799999999872</c:v>
                </c:pt>
                <c:pt idx="456">
                  <c:v>658.93399999999997</c:v>
                </c:pt>
                <c:pt idx="457">
                  <c:v>652.84499999999946</c:v>
                </c:pt>
                <c:pt idx="458">
                  <c:v>657.47299999999996</c:v>
                </c:pt>
                <c:pt idx="459">
                  <c:v>650.625</c:v>
                </c:pt>
                <c:pt idx="460">
                  <c:v>622.77400000000102</c:v>
                </c:pt>
                <c:pt idx="461">
                  <c:v>632.04899999999998</c:v>
                </c:pt>
                <c:pt idx="462">
                  <c:v>634.89599999999996</c:v>
                </c:pt>
                <c:pt idx="463">
                  <c:v>658.8599999999991</c:v>
                </c:pt>
                <c:pt idx="464">
                  <c:v>648.226</c:v>
                </c:pt>
                <c:pt idx="465">
                  <c:v>638.67999999999995</c:v>
                </c:pt>
                <c:pt idx="466">
                  <c:v>626.81799999999896</c:v>
                </c:pt>
                <c:pt idx="467">
                  <c:v>618.39199999999948</c:v>
                </c:pt>
                <c:pt idx="468">
                  <c:v>594.00099999999998</c:v>
                </c:pt>
                <c:pt idx="469">
                  <c:v>604.65300000000002</c:v>
                </c:pt>
                <c:pt idx="470">
                  <c:v>615.34699999999884</c:v>
                </c:pt>
                <c:pt idx="471">
                  <c:v>624.94099999999946</c:v>
                </c:pt>
                <c:pt idx="472">
                  <c:v>638.66199999999947</c:v>
                </c:pt>
                <c:pt idx="473">
                  <c:v>660.98199999999997</c:v>
                </c:pt>
                <c:pt idx="474">
                  <c:v>664.49800000000005</c:v>
                </c:pt>
                <c:pt idx="475">
                  <c:v>668.37900000000002</c:v>
                </c:pt>
                <c:pt idx="476">
                  <c:v>677.54199999999946</c:v>
                </c:pt>
                <c:pt idx="477">
                  <c:v>680.05699999999911</c:v>
                </c:pt>
                <c:pt idx="478">
                  <c:v>680.06</c:v>
                </c:pt>
                <c:pt idx="479">
                  <c:v>679.31399999999996</c:v>
                </c:pt>
                <c:pt idx="480">
                  <c:v>689.79500000000053</c:v>
                </c:pt>
                <c:pt idx="481">
                  <c:v>690.63499999999999</c:v>
                </c:pt>
                <c:pt idx="482">
                  <c:v>665.19500000000005</c:v>
                </c:pt>
                <c:pt idx="483">
                  <c:v>673.95499999999947</c:v>
                </c:pt>
                <c:pt idx="484">
                  <c:v>679.00800000000004</c:v>
                </c:pt>
                <c:pt idx="485">
                  <c:v>708.98599999999999</c:v>
                </c:pt>
                <c:pt idx="486">
                  <c:v>720.125</c:v>
                </c:pt>
                <c:pt idx="487">
                  <c:v>738.77900000000091</c:v>
                </c:pt>
                <c:pt idx="488">
                  <c:v>762.91599999999949</c:v>
                </c:pt>
                <c:pt idx="489">
                  <c:v>736.8669999999986</c:v>
                </c:pt>
                <c:pt idx="490">
                  <c:v>797.37400000000002</c:v>
                </c:pt>
                <c:pt idx="491">
                  <c:v>809.41699999999946</c:v>
                </c:pt>
                <c:pt idx="492">
                  <c:v>791.31099999999947</c:v>
                </c:pt>
                <c:pt idx="493">
                  <c:v>783.58</c:v>
                </c:pt>
                <c:pt idx="494">
                  <c:v>752.19</c:v>
                </c:pt>
                <c:pt idx="495">
                  <c:v>783.90599999999949</c:v>
                </c:pt>
                <c:pt idx="496">
                  <c:v>826.93199999999911</c:v>
                </c:pt>
                <c:pt idx="497">
                  <c:v>841.76</c:v>
                </c:pt>
                <c:pt idx="498">
                  <c:v>824.52499999999998</c:v>
                </c:pt>
                <c:pt idx="499">
                  <c:v>817.02499999999998</c:v>
                </c:pt>
                <c:pt idx="500">
                  <c:v>767.00300000000004</c:v>
                </c:pt>
                <c:pt idx="501">
                  <c:v>744.78099999999995</c:v>
                </c:pt>
                <c:pt idx="502">
                  <c:v>735.99900000000002</c:v>
                </c:pt>
                <c:pt idx="503">
                  <c:v>744.3599999999991</c:v>
                </c:pt>
                <c:pt idx="504">
                  <c:v>775.08699999999999</c:v>
                </c:pt>
                <c:pt idx="505">
                  <c:v>916.67900000000054</c:v>
                </c:pt>
                <c:pt idx="506">
                  <c:v>984.06899999999996</c:v>
                </c:pt>
                <c:pt idx="507">
                  <c:v>1022.928</c:v>
                </c:pt>
                <c:pt idx="508">
                  <c:v>1133.6339999999998</c:v>
                </c:pt>
                <c:pt idx="509">
                  <c:v>1061.6669999999999</c:v>
                </c:pt>
                <c:pt idx="510">
                  <c:v>1073.5619999999999</c:v>
                </c:pt>
                <c:pt idx="511">
                  <c:v>1094.835</c:v>
                </c:pt>
                <c:pt idx="512">
                  <c:v>1143.068</c:v>
                </c:pt>
                <c:pt idx="513">
                  <c:v>1208.107</c:v>
                </c:pt>
                <c:pt idx="514">
                  <c:v>1190.575</c:v>
                </c:pt>
                <c:pt idx="515">
                  <c:v>1092.3589999999999</c:v>
                </c:pt>
                <c:pt idx="516">
                  <c:v>945.57600000000002</c:v>
                </c:pt>
                <c:pt idx="517">
                  <c:v>915.76300000000003</c:v>
                </c:pt>
                <c:pt idx="518">
                  <c:v>957.02199999999948</c:v>
                </c:pt>
                <c:pt idx="519">
                  <c:v>949.04499999999996</c:v>
                </c:pt>
                <c:pt idx="520">
                  <c:v>957.48699999999997</c:v>
                </c:pt>
                <c:pt idx="521">
                  <c:v>912.66099999999949</c:v>
                </c:pt>
                <c:pt idx="522">
                  <c:v>924.06299999999896</c:v>
                </c:pt>
                <c:pt idx="523">
                  <c:v>942.13499999999999</c:v>
                </c:pt>
                <c:pt idx="524">
                  <c:v>967.98699999999997</c:v>
                </c:pt>
                <c:pt idx="525">
                  <c:v>993.43399999999997</c:v>
                </c:pt>
                <c:pt idx="526">
                  <c:v>974.47699999999998</c:v>
                </c:pt>
                <c:pt idx="527">
                  <c:v>918.94599999999946</c:v>
                </c:pt>
                <c:pt idx="528">
                  <c:v>871.36199999999872</c:v>
                </c:pt>
                <c:pt idx="529">
                  <c:v>861.33499999999947</c:v>
                </c:pt>
                <c:pt idx="530">
                  <c:v>892.83900000000006</c:v>
                </c:pt>
                <c:pt idx="531">
                  <c:v>875.82999999999947</c:v>
                </c:pt>
                <c:pt idx="532">
                  <c:v>843.53300000000002</c:v>
                </c:pt>
                <c:pt idx="533">
                  <c:v>835.83499999999947</c:v>
                </c:pt>
                <c:pt idx="534">
                  <c:v>855.84699999999884</c:v>
                </c:pt>
                <c:pt idx="535">
                  <c:v>852.90899999999999</c:v>
                </c:pt>
                <c:pt idx="536">
                  <c:v>877.79700000000003</c:v>
                </c:pt>
                <c:pt idx="537">
                  <c:v>900.69500000000005</c:v>
                </c:pt>
                <c:pt idx="538">
                  <c:v>940.13800000000003</c:v>
                </c:pt>
                <c:pt idx="539">
                  <c:v>1014.8150000000001</c:v>
                </c:pt>
                <c:pt idx="540">
                  <c:v>1037.2360000000001</c:v>
                </c:pt>
                <c:pt idx="541">
                  <c:v>1038.6959999999999</c:v>
                </c:pt>
                <c:pt idx="542">
                  <c:v>1023.353</c:v>
                </c:pt>
                <c:pt idx="543">
                  <c:v>1019.749</c:v>
                </c:pt>
                <c:pt idx="544">
                  <c:v>958.17200000000003</c:v>
                </c:pt>
                <c:pt idx="545">
                  <c:v>917.88499999999999</c:v>
                </c:pt>
                <c:pt idx="546">
                  <c:v>956.92699999999911</c:v>
                </c:pt>
                <c:pt idx="547">
                  <c:v>975.74699999999996</c:v>
                </c:pt>
                <c:pt idx="548">
                  <c:v>1035.6029999999998</c:v>
                </c:pt>
                <c:pt idx="549">
                  <c:v>1046.5819999999999</c:v>
                </c:pt>
                <c:pt idx="550">
                  <c:v>1036.934</c:v>
                </c:pt>
                <c:pt idx="551">
                  <c:v>1060.1659999999999</c:v>
                </c:pt>
                <c:pt idx="552">
                  <c:v>1136.2529999999999</c:v>
                </c:pt>
                <c:pt idx="553">
                  <c:v>1216.2280000000001</c:v>
                </c:pt>
                <c:pt idx="554">
                  <c:v>1216.22800000000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3361792"/>
        <c:axId val="83363328"/>
      </c:lineChart>
      <c:dateAx>
        <c:axId val="83361792"/>
        <c:scaling>
          <c:orientation val="minMax"/>
        </c:scaling>
        <c:delete val="0"/>
        <c:axPos val="b"/>
        <c:numFmt formatCode="[$-409]mmm/yy;@" sourceLinked="0"/>
        <c:majorTickMark val="out"/>
        <c:minorTickMark val="none"/>
        <c:tickLblPos val="nextTo"/>
        <c:txPr>
          <a:bodyPr rot="0"/>
          <a:lstStyle/>
          <a:p>
            <a:pPr>
              <a:defRPr/>
            </a:pPr>
            <a:endParaRPr lang="pl-PL"/>
          </a:p>
        </c:txPr>
        <c:crossAx val="83363328"/>
        <c:crosses val="autoZero"/>
        <c:auto val="1"/>
        <c:lblOffset val="100"/>
        <c:baseTimeUnit val="days"/>
      </c:dateAx>
      <c:valAx>
        <c:axId val="83363328"/>
        <c:scaling>
          <c:orientation val="minMax"/>
        </c:scaling>
        <c:delete val="0"/>
        <c:axPos val="l"/>
        <c:majorGridlines>
          <c:spPr>
            <a:ln>
              <a:solidFill>
                <a:sysClr val="window" lastClr="FFFFFF">
                  <a:lumMod val="85000"/>
                </a:sys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8336179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9.1708609271523217E-2"/>
          <c:y val="0.12464628258071919"/>
          <c:w val="0.19088340360848882"/>
          <c:h val="0.50593226741892627"/>
        </c:manualLayout>
      </c:layout>
      <c:overlay val="0"/>
      <c:txPr>
        <a:bodyPr/>
        <a:lstStyle/>
        <a:p>
          <a:pPr>
            <a:defRPr sz="1100"/>
          </a:pPr>
          <a:endParaRPr lang="pl-PL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475</cdr:x>
      <cdr:y>0.38055</cdr:y>
    </cdr:from>
    <cdr:to>
      <cdr:x>0.60908</cdr:x>
      <cdr:y>0.62746</cdr:y>
    </cdr:to>
    <cdr:sp macro="" textlink="">
      <cdr:nvSpPr>
        <cdr:cNvPr id="2" name="pole tekstowe 1"/>
        <cdr:cNvSpPr txBox="1"/>
      </cdr:nvSpPr>
      <cdr:spPr>
        <a:xfrm xmlns:a="http://schemas.openxmlformats.org/drawingml/2006/main">
          <a:off x="508958" y="1130060"/>
          <a:ext cx="2192609" cy="73324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Trebuchet MS"/>
            </a:defRPr>
          </a:lvl1pPr>
          <a:lvl2pPr marL="457200" indent="0">
            <a:defRPr sz="1100">
              <a:latin typeface="Trebuchet MS"/>
            </a:defRPr>
          </a:lvl2pPr>
          <a:lvl3pPr marL="914400" indent="0">
            <a:defRPr sz="1100">
              <a:latin typeface="Trebuchet MS"/>
            </a:defRPr>
          </a:lvl3pPr>
          <a:lvl4pPr marL="1371600" indent="0">
            <a:defRPr sz="1100">
              <a:latin typeface="Trebuchet MS"/>
            </a:defRPr>
          </a:lvl4pPr>
          <a:lvl5pPr marL="1828800" indent="0">
            <a:defRPr sz="1100">
              <a:latin typeface="Trebuchet MS"/>
            </a:defRPr>
          </a:lvl5pPr>
          <a:lvl6pPr marL="2286000" indent="0">
            <a:defRPr sz="1100">
              <a:latin typeface="Trebuchet MS"/>
            </a:defRPr>
          </a:lvl6pPr>
          <a:lvl7pPr marL="2743200" indent="0">
            <a:defRPr sz="1100">
              <a:latin typeface="Trebuchet MS"/>
            </a:defRPr>
          </a:lvl7pPr>
          <a:lvl8pPr marL="3200400" indent="0">
            <a:defRPr sz="1100">
              <a:latin typeface="Trebuchet MS"/>
            </a:defRPr>
          </a:lvl8pPr>
          <a:lvl9pPr marL="3657600" indent="0">
            <a:defRPr sz="1100">
              <a:latin typeface="Trebuchet MS"/>
            </a:defRPr>
          </a:lvl9pPr>
        </a:lstStyle>
        <a:p xmlns:a="http://schemas.openxmlformats.org/drawingml/2006/main">
          <a:r>
            <a:rPr lang="pl-PL" sz="1600" b="1" dirty="0" smtClean="0">
              <a:solidFill>
                <a:srgbClr val="009CDD"/>
              </a:solidFill>
            </a:rPr>
            <a:t>US </a:t>
          </a:r>
          <a:r>
            <a:rPr lang="pl-PL" sz="1600" b="1" dirty="0" err="1" smtClean="0">
              <a:solidFill>
                <a:srgbClr val="009CDD"/>
              </a:solidFill>
            </a:rPr>
            <a:t>Surprise</a:t>
          </a:r>
          <a:r>
            <a:rPr lang="pl-PL" sz="1600" b="1" dirty="0" smtClean="0">
              <a:solidFill>
                <a:srgbClr val="009CDD"/>
              </a:solidFill>
            </a:rPr>
            <a:t> </a:t>
          </a:r>
          <a:r>
            <a:rPr lang="pl-PL" sz="1600" b="1" dirty="0" err="1" smtClean="0">
              <a:solidFill>
                <a:srgbClr val="009CDD"/>
              </a:solidFill>
            </a:rPr>
            <a:t>Index</a:t>
          </a:r>
          <a:endParaRPr lang="pl-PL" sz="1600" b="1" dirty="0">
            <a:solidFill>
              <a:srgbClr val="009CDD"/>
            </a:solidFill>
          </a:endParaRP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90362</cdr:x>
      <cdr:y>0.10398</cdr:y>
    </cdr:from>
    <cdr:to>
      <cdr:x>1</cdr:x>
      <cdr:y>0.36234</cdr:y>
    </cdr:to>
    <cdr:sp macro="" textlink="">
      <cdr:nvSpPr>
        <cdr:cNvPr id="2" name="Elipsa 1"/>
        <cdr:cNvSpPr/>
      </cdr:nvSpPr>
      <cdr:spPr bwMode="auto">
        <a:xfrm xmlns:a="http://schemas.openxmlformats.org/drawingml/2006/main">
          <a:off x="4043912" y="284673"/>
          <a:ext cx="431320" cy="707365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25400" cap="flat" cmpd="sng" algn="ctr">
          <a:solidFill>
            <a:srgbClr val="C0504D"/>
          </a:solidFill>
          <a:prstDash val="dash"/>
          <a:headEnd type="none" w="med" len="med"/>
          <a:tailEnd type="none" w="med" len="med"/>
        </a:ln>
        <a:effectLst xmlns:a="http://schemas.openxmlformats.org/drawingml/2006/main"/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="horz" wrap="square" lIns="0" tIns="91440" rIns="0" bIns="91440" numCol="1" rtlCol="0" anchor="ctr" anchorCtr="0" compatLnSpc="1">
          <a:prstTxWarp prst="textNoShape">
            <a:avLst/>
          </a:prstTxWarp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5pPr>
          <a:lvl6pPr marL="2286000" algn="l" defTabSz="914400" rtl="0" eaLnBrk="1" latinLnBrk="0" hangingPunct="1">
            <a:defRPr sz="1400" kern="1200">
              <a:solidFill>
                <a:srgbClr val="000000"/>
              </a:solidFill>
              <a:latin typeface="Trebuchet MS"/>
            </a:defRPr>
          </a:lvl6pPr>
          <a:lvl7pPr marL="2743200" algn="l" defTabSz="914400" rtl="0" eaLnBrk="1" latinLnBrk="0" hangingPunct="1">
            <a:defRPr sz="1400" kern="1200">
              <a:solidFill>
                <a:srgbClr val="000000"/>
              </a:solidFill>
              <a:latin typeface="Trebuchet MS"/>
            </a:defRPr>
          </a:lvl7pPr>
          <a:lvl8pPr marL="3200400" algn="l" defTabSz="914400" rtl="0" eaLnBrk="1" latinLnBrk="0" hangingPunct="1">
            <a:defRPr sz="1400" kern="1200">
              <a:solidFill>
                <a:srgbClr val="000000"/>
              </a:solidFill>
              <a:latin typeface="Trebuchet MS"/>
            </a:defRPr>
          </a:lvl8pPr>
          <a:lvl9pPr marL="3657600" algn="l" defTabSz="914400" rtl="0" eaLnBrk="1" latinLnBrk="0" hangingPunct="1">
            <a:defRPr sz="1400" kern="1200">
              <a:solidFill>
                <a:srgbClr val="000000"/>
              </a:solidFill>
              <a:latin typeface="Trebuchet MS"/>
            </a:defRPr>
          </a:lvl9pPr>
        </a:lstStyle>
        <a:p xmlns:a="http://schemas.openxmlformats.org/drawingml/2006/main">
          <a:pPr marL="0" marR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endParaRPr kumimoji="0" lang="pl-PL" sz="1400" b="0" i="0" u="none" strike="noStrike" cap="none" normalizeH="0" baseline="0" smtClean="0">
            <a:ln>
              <a:noFill/>
            </a:ln>
            <a:solidFill>
              <a:srgbClr val="009CDD"/>
            </a:solidFill>
            <a:effectLst/>
            <a:latin typeface="Arial" charset="0"/>
          </a:endParaRPr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90539</cdr:x>
      <cdr:y>0.21754</cdr:y>
    </cdr:from>
    <cdr:to>
      <cdr:x>1</cdr:x>
      <cdr:y>0.4504</cdr:y>
    </cdr:to>
    <cdr:sp macro="" textlink="">
      <cdr:nvSpPr>
        <cdr:cNvPr id="2" name="Elipsa 1"/>
        <cdr:cNvSpPr/>
      </cdr:nvSpPr>
      <cdr:spPr bwMode="auto">
        <a:xfrm xmlns:a="http://schemas.openxmlformats.org/drawingml/2006/main">
          <a:off x="3614469" y="612476"/>
          <a:ext cx="377684" cy="655608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25400" cap="flat" cmpd="sng" algn="ctr">
          <a:solidFill>
            <a:srgbClr val="C0504D"/>
          </a:solidFill>
          <a:prstDash val="dash"/>
          <a:headEnd type="none" w="med" len="med"/>
          <a:tailEnd type="none" w="med" len="med"/>
        </a:ln>
        <a:effectLst xmlns:a="http://schemas.openxmlformats.org/drawingml/2006/main"/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="horz" wrap="square" lIns="0" tIns="91440" rIns="0" bIns="91440" numCol="1" rtlCol="0" anchor="ctr" anchorCtr="0" compatLnSpc="1">
          <a:prstTxWarp prst="textNoShape">
            <a:avLst/>
          </a:prstTxWarp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5pPr>
          <a:lvl6pPr marL="2286000" algn="l" defTabSz="914400" rtl="0" eaLnBrk="1" latinLnBrk="0" hangingPunct="1">
            <a:defRPr sz="1400" kern="1200">
              <a:solidFill>
                <a:srgbClr val="000000"/>
              </a:solidFill>
              <a:latin typeface="Trebuchet MS"/>
            </a:defRPr>
          </a:lvl6pPr>
          <a:lvl7pPr marL="2743200" algn="l" defTabSz="914400" rtl="0" eaLnBrk="1" latinLnBrk="0" hangingPunct="1">
            <a:defRPr sz="1400" kern="1200">
              <a:solidFill>
                <a:srgbClr val="000000"/>
              </a:solidFill>
              <a:latin typeface="Trebuchet MS"/>
            </a:defRPr>
          </a:lvl7pPr>
          <a:lvl8pPr marL="3200400" algn="l" defTabSz="914400" rtl="0" eaLnBrk="1" latinLnBrk="0" hangingPunct="1">
            <a:defRPr sz="1400" kern="1200">
              <a:solidFill>
                <a:srgbClr val="000000"/>
              </a:solidFill>
              <a:latin typeface="Trebuchet MS"/>
            </a:defRPr>
          </a:lvl8pPr>
          <a:lvl9pPr marL="3657600" algn="l" defTabSz="914400" rtl="0" eaLnBrk="1" latinLnBrk="0" hangingPunct="1">
            <a:defRPr sz="1400" kern="1200">
              <a:solidFill>
                <a:srgbClr val="000000"/>
              </a:solidFill>
              <a:latin typeface="Trebuchet MS"/>
            </a:defRPr>
          </a:lvl9pPr>
        </a:lstStyle>
        <a:p xmlns:a="http://schemas.openxmlformats.org/drawingml/2006/main">
          <a:pPr marL="0" marR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endParaRPr kumimoji="0" lang="pl-PL" sz="1400" b="0" i="0" u="none" strike="noStrike" cap="none" normalizeH="0" baseline="0" smtClean="0">
            <a:ln>
              <a:noFill/>
            </a:ln>
            <a:solidFill>
              <a:srgbClr val="009CDD"/>
            </a:solidFill>
            <a:effectLst/>
            <a:latin typeface="Arial" charset="0"/>
          </a:endParaRP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88627</cdr:x>
      <cdr:y>0.0361</cdr:y>
    </cdr:from>
    <cdr:to>
      <cdr:x>0.99142</cdr:x>
      <cdr:y>0.28881</cdr:y>
    </cdr:to>
    <cdr:sp macro="" textlink="">
      <cdr:nvSpPr>
        <cdr:cNvPr id="2" name="Elipsa 1"/>
        <cdr:cNvSpPr/>
      </cdr:nvSpPr>
      <cdr:spPr bwMode="auto">
        <a:xfrm xmlns:a="http://schemas.openxmlformats.org/drawingml/2006/main">
          <a:off x="3562708" y="86264"/>
          <a:ext cx="422696" cy="603849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25400" cap="flat" cmpd="sng" algn="ctr">
          <a:solidFill>
            <a:srgbClr val="C0504D"/>
          </a:solidFill>
          <a:prstDash val="dash"/>
          <a:headEnd type="none" w="med" len="med"/>
          <a:tailEnd type="none" w="med" len="med"/>
        </a:ln>
        <a:effectLst xmlns:a="http://schemas.openxmlformats.org/drawingml/2006/main"/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="horz" wrap="square" lIns="0" tIns="91440" rIns="0" bIns="91440" numCol="1" rtlCol="0" anchor="ctr" anchorCtr="0" compatLnSpc="1">
          <a:prstTxWarp prst="textNoShape">
            <a:avLst/>
          </a:prstTxWarp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5pPr>
          <a:lvl6pPr marL="2286000" algn="l" defTabSz="914400" rtl="0" eaLnBrk="1" latinLnBrk="0" hangingPunct="1">
            <a:defRPr sz="1400" kern="1200">
              <a:solidFill>
                <a:srgbClr val="000000"/>
              </a:solidFill>
              <a:latin typeface="Trebuchet MS"/>
            </a:defRPr>
          </a:lvl6pPr>
          <a:lvl7pPr marL="2743200" algn="l" defTabSz="914400" rtl="0" eaLnBrk="1" latinLnBrk="0" hangingPunct="1">
            <a:defRPr sz="1400" kern="1200">
              <a:solidFill>
                <a:srgbClr val="000000"/>
              </a:solidFill>
              <a:latin typeface="Trebuchet MS"/>
            </a:defRPr>
          </a:lvl7pPr>
          <a:lvl8pPr marL="3200400" algn="l" defTabSz="914400" rtl="0" eaLnBrk="1" latinLnBrk="0" hangingPunct="1">
            <a:defRPr sz="1400" kern="1200">
              <a:solidFill>
                <a:srgbClr val="000000"/>
              </a:solidFill>
              <a:latin typeface="Trebuchet MS"/>
            </a:defRPr>
          </a:lvl8pPr>
          <a:lvl9pPr marL="3657600" algn="l" defTabSz="914400" rtl="0" eaLnBrk="1" latinLnBrk="0" hangingPunct="1">
            <a:defRPr sz="1400" kern="1200">
              <a:solidFill>
                <a:srgbClr val="000000"/>
              </a:solidFill>
              <a:latin typeface="Trebuchet MS"/>
            </a:defRPr>
          </a:lvl9pPr>
        </a:lstStyle>
        <a:p xmlns:a="http://schemas.openxmlformats.org/drawingml/2006/main">
          <a:pPr marL="0" marR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endParaRPr kumimoji="0" lang="pl-PL" sz="1400" b="0" i="0" u="none" strike="noStrike" cap="none" normalizeH="0" baseline="0" smtClean="0">
            <a:ln>
              <a:noFill/>
            </a:ln>
            <a:solidFill>
              <a:srgbClr val="009CDD"/>
            </a:solidFill>
            <a:effectLst/>
            <a:latin typeface="Arial" charset="0"/>
          </a:endParaRPr>
        </a:p>
      </cdr:txBody>
    </cdr: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60816</cdr:x>
      <cdr:y>0.10732</cdr:y>
    </cdr:from>
    <cdr:to>
      <cdr:x>0.81659</cdr:x>
      <cdr:y>0.23089</cdr:y>
    </cdr:to>
    <cdr:sp macro="" textlink="">
      <cdr:nvSpPr>
        <cdr:cNvPr id="3" name="Łącznik prosty ze strzałką 2"/>
        <cdr:cNvSpPr/>
      </cdr:nvSpPr>
      <cdr:spPr bwMode="auto">
        <a:xfrm xmlns:a="http://schemas.openxmlformats.org/drawingml/2006/main" flipV="1">
          <a:off x="2517071" y="284672"/>
          <a:ext cx="862642" cy="327804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FF0000"/>
          </a:solidFill>
          <a:headEnd type="none" w="med" len="med"/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 vert="horz" wrap="square" lIns="0" tIns="91440" rIns="0" bIns="91440" numCol="1" anchor="ctr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endParaRPr lang="pl-PL"/>
        </a:p>
      </cdr:txBody>
    </cdr:sp>
  </cdr:relSizeAnchor>
  <cdr:relSizeAnchor xmlns:cdr="http://schemas.openxmlformats.org/drawingml/2006/chartDrawing">
    <cdr:from>
      <cdr:x>0.2184</cdr:x>
      <cdr:y>0.29268</cdr:y>
    </cdr:from>
    <cdr:to>
      <cdr:x>0.40599</cdr:x>
      <cdr:y>0.71219</cdr:y>
    </cdr:to>
    <cdr:sp macro="" textlink="">
      <cdr:nvSpPr>
        <cdr:cNvPr id="5" name="Łącznik prosty ze strzałką 4"/>
        <cdr:cNvSpPr/>
      </cdr:nvSpPr>
      <cdr:spPr bwMode="auto">
        <a:xfrm xmlns:a="http://schemas.openxmlformats.org/drawingml/2006/main" rot="16200000" flipH="1" flipV="1">
          <a:off x="735716" y="944592"/>
          <a:ext cx="1112807" cy="776377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FF3300"/>
          </a:solidFill>
          <a:headEnd type="none" w="med" len="med"/>
          <a:tailEnd type="arrow"/>
        </a:ln>
      </cdr:spPr>
      <cdr:style>
        <a:lnRef xmlns:a="http://schemas.openxmlformats.org/drawingml/2006/main" idx="1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0">
          <a:schemeClr val="dk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 vert="horz" wrap="square" lIns="0" tIns="91440" rIns="0" bIns="91440" numCol="1" anchor="ctr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endParaRPr lang="pl-PL"/>
        </a:p>
      </cdr:txBody>
    </cdr:sp>
  </cdr:relSizeAnchor>
  <cdr:relSizeAnchor xmlns:cdr="http://schemas.openxmlformats.org/drawingml/2006/chartDrawing">
    <cdr:from>
      <cdr:x>0.29552</cdr:x>
      <cdr:y>0.20162</cdr:y>
    </cdr:from>
    <cdr:to>
      <cdr:x>0.629</cdr:x>
      <cdr:y>0.35122</cdr:y>
    </cdr:to>
    <cdr:sp macro="" textlink="">
      <cdr:nvSpPr>
        <cdr:cNvPr id="6" name="pole tekstowe 5"/>
        <cdr:cNvSpPr txBox="1"/>
      </cdr:nvSpPr>
      <cdr:spPr>
        <a:xfrm xmlns:a="http://schemas.openxmlformats.org/drawingml/2006/main">
          <a:off x="1223109" y="534838"/>
          <a:ext cx="1380226" cy="39681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pl-PL" sz="1200" b="1" dirty="0" smtClean="0">
              <a:solidFill>
                <a:srgbClr val="FF0000"/>
              </a:solidFill>
            </a:rPr>
            <a:t>NBP </a:t>
          </a:r>
          <a:r>
            <a:rPr lang="pl-PL" sz="1200" b="1" dirty="0" err="1" smtClean="0">
              <a:solidFill>
                <a:srgbClr val="FF0000"/>
              </a:solidFill>
            </a:rPr>
            <a:t>interventions</a:t>
          </a:r>
          <a:endParaRPr lang="pl-PL" sz="1200" b="1" dirty="0">
            <a:solidFill>
              <a:srgbClr val="FF0000"/>
            </a:solidFill>
          </a:endParaRPr>
        </a:p>
      </cdr:txBody>
    </cdr:sp>
  </cdr:relSizeAnchor>
</c:userShapes>
</file>

<file path=ppt/drawings/drawing14.xml><?xml version="1.0" encoding="utf-8"?>
<c:userShapes xmlns:c="http://schemas.openxmlformats.org/drawingml/2006/chart">
  <cdr:relSizeAnchor xmlns:cdr="http://schemas.openxmlformats.org/drawingml/2006/chartDrawing">
    <cdr:from>
      <cdr:x>0.62952</cdr:x>
      <cdr:y>0.58176</cdr:y>
    </cdr:from>
    <cdr:to>
      <cdr:x>0.90174</cdr:x>
      <cdr:y>0.71384</cdr:y>
    </cdr:to>
    <cdr:sp macro="" textlink="">
      <cdr:nvSpPr>
        <cdr:cNvPr id="2" name="pole tekstowe 9"/>
        <cdr:cNvSpPr txBox="1"/>
      </cdr:nvSpPr>
      <cdr:spPr>
        <a:xfrm xmlns:a="http://schemas.openxmlformats.org/drawingml/2006/main">
          <a:off x="3524250" y="2202656"/>
          <a:ext cx="1524000" cy="50006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r>
            <a:rPr lang="pl-PL" sz="2000" b="1" dirty="0">
              <a:solidFill>
                <a:srgbClr val="FF0000"/>
              </a:solidFill>
            </a:rPr>
            <a:t>CHFPLN</a:t>
          </a:r>
          <a:endParaRPr lang="pl-PL" sz="24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09783</cdr:x>
      <cdr:y>0.21069</cdr:y>
    </cdr:from>
    <cdr:to>
      <cdr:x>0.37006</cdr:x>
      <cdr:y>0.34277</cdr:y>
    </cdr:to>
    <cdr:sp macro="" textlink="">
      <cdr:nvSpPr>
        <cdr:cNvPr id="3" name="pole tekstowe 9"/>
        <cdr:cNvSpPr txBox="1"/>
      </cdr:nvSpPr>
      <cdr:spPr>
        <a:xfrm xmlns:a="http://schemas.openxmlformats.org/drawingml/2006/main">
          <a:off x="547686" y="797718"/>
          <a:ext cx="1524000" cy="50006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l-PL" sz="2000" b="1" dirty="0">
              <a:solidFill>
                <a:srgbClr val="0096EF"/>
              </a:solidFill>
            </a:rPr>
            <a:t>EURPLN</a:t>
          </a:r>
        </a:p>
      </cdr:txBody>
    </cdr:sp>
  </cdr:relSizeAnchor>
</c:userShapes>
</file>

<file path=ppt/drawings/drawing15.xml><?xml version="1.0" encoding="utf-8"?>
<c:userShapes xmlns:c="http://schemas.openxmlformats.org/drawingml/2006/chart">
  <cdr:relSizeAnchor xmlns:cdr="http://schemas.openxmlformats.org/drawingml/2006/chartDrawing">
    <cdr:from>
      <cdr:x>0.11459</cdr:x>
      <cdr:y>0.55532</cdr:y>
    </cdr:from>
    <cdr:to>
      <cdr:x>0.39613</cdr:x>
      <cdr:y>0.64059</cdr:y>
    </cdr:to>
    <cdr:sp macro="" textlink="">
      <cdr:nvSpPr>
        <cdr:cNvPr id="2" name="pole tekstowe 1"/>
        <cdr:cNvSpPr txBox="1"/>
      </cdr:nvSpPr>
      <cdr:spPr>
        <a:xfrm xmlns:a="http://schemas.openxmlformats.org/drawingml/2006/main">
          <a:off x="528507" y="1533310"/>
          <a:ext cx="1298530" cy="2354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pl-PL" sz="1800" b="1" dirty="0" smtClean="0">
              <a:solidFill>
                <a:srgbClr val="0096EF"/>
              </a:solidFill>
            </a:rPr>
            <a:t>GDP y/</a:t>
          </a:r>
          <a:r>
            <a:rPr lang="pl-PL" sz="1800" b="1" dirty="0" err="1" smtClean="0">
              <a:solidFill>
                <a:srgbClr val="0096EF"/>
              </a:solidFill>
            </a:rPr>
            <a:t>y</a:t>
          </a:r>
          <a:endParaRPr lang="pl-PL" sz="1800" b="1" dirty="0">
            <a:solidFill>
              <a:srgbClr val="0096EF"/>
            </a:solidFill>
          </a:endParaRPr>
        </a:p>
      </cdr:txBody>
    </cdr:sp>
  </cdr:relSizeAnchor>
  <cdr:relSizeAnchor xmlns:cdr="http://schemas.openxmlformats.org/drawingml/2006/chartDrawing">
    <cdr:from>
      <cdr:x>0.54439</cdr:x>
      <cdr:y>0.14249</cdr:y>
    </cdr:from>
    <cdr:to>
      <cdr:x>0.85894</cdr:x>
      <cdr:y>0.22036</cdr:y>
    </cdr:to>
    <cdr:sp macro="" textlink="">
      <cdr:nvSpPr>
        <cdr:cNvPr id="3" name="pole tekstowe 1"/>
        <cdr:cNvSpPr txBox="1"/>
      </cdr:nvSpPr>
      <cdr:spPr>
        <a:xfrm xmlns:a="http://schemas.openxmlformats.org/drawingml/2006/main">
          <a:off x="2510858" y="393438"/>
          <a:ext cx="1450779" cy="21500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pl-PL" sz="1800" b="1" dirty="0" smtClean="0">
              <a:solidFill>
                <a:srgbClr val="FF0000"/>
              </a:solidFill>
            </a:rPr>
            <a:t>EURPLN</a:t>
          </a:r>
          <a:endParaRPr lang="pl-PL" sz="1800" b="1" dirty="0">
            <a:solidFill>
              <a:srgbClr val="FF0000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8161</cdr:x>
      <cdr:y>0.13356</cdr:y>
    </cdr:from>
    <cdr:to>
      <cdr:x>0.56054</cdr:x>
      <cdr:y>0.41096</cdr:y>
    </cdr:to>
    <cdr:sp macro="" textlink="">
      <cdr:nvSpPr>
        <cdr:cNvPr id="2" name="pole tekstowe 1"/>
        <cdr:cNvSpPr txBox="1"/>
      </cdr:nvSpPr>
      <cdr:spPr>
        <a:xfrm xmlns:a="http://schemas.openxmlformats.org/drawingml/2006/main">
          <a:off x="771525" y="371474"/>
          <a:ext cx="1609725" cy="77152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pl-PL" sz="1600" b="1" dirty="0">
              <a:solidFill>
                <a:srgbClr val="FF0000"/>
              </a:solidFill>
            </a:rPr>
            <a:t>ISM</a:t>
          </a:r>
          <a:r>
            <a:rPr lang="pl-PL" sz="1600" b="1" baseline="0" dirty="0">
              <a:solidFill>
                <a:srgbClr val="FF0000"/>
              </a:solidFill>
            </a:rPr>
            <a:t> non-manufacturing</a:t>
          </a:r>
          <a:endParaRPr lang="pl-PL" sz="16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54689</cdr:x>
      <cdr:y>0.64042</cdr:y>
    </cdr:from>
    <cdr:to>
      <cdr:x>0.95067</cdr:x>
      <cdr:y>0.83562</cdr:y>
    </cdr:to>
    <cdr:sp macro="" textlink="">
      <cdr:nvSpPr>
        <cdr:cNvPr id="3" name="pole tekstowe 1"/>
        <cdr:cNvSpPr txBox="1"/>
      </cdr:nvSpPr>
      <cdr:spPr>
        <a:xfrm xmlns:a="http://schemas.openxmlformats.org/drawingml/2006/main">
          <a:off x="2314149" y="1833050"/>
          <a:ext cx="1708594" cy="5587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l-PL" sz="1600" b="1" dirty="0">
              <a:solidFill>
                <a:srgbClr val="009CDD"/>
              </a:solidFill>
            </a:rPr>
            <a:t>ISM</a:t>
          </a:r>
          <a:r>
            <a:rPr lang="pl-PL" sz="1600" b="1" baseline="0" dirty="0">
              <a:solidFill>
                <a:srgbClr val="009CDD"/>
              </a:solidFill>
            </a:rPr>
            <a:t> manufacturing</a:t>
          </a:r>
          <a:endParaRPr lang="pl-PL" sz="1600" b="1" dirty="0">
            <a:solidFill>
              <a:srgbClr val="009CDD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8629</cdr:x>
      <cdr:y>0.03498</cdr:y>
    </cdr:from>
    <cdr:to>
      <cdr:x>0.53197</cdr:x>
      <cdr:y>0.283</cdr:y>
    </cdr:to>
    <cdr:sp macro="" textlink="">
      <cdr:nvSpPr>
        <cdr:cNvPr id="2" name="pole tekstowe 1"/>
        <cdr:cNvSpPr txBox="1"/>
      </cdr:nvSpPr>
      <cdr:spPr>
        <a:xfrm xmlns:a="http://schemas.openxmlformats.org/drawingml/2006/main">
          <a:off x="836763" y="94891"/>
          <a:ext cx="1552754" cy="67286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Trebuchet MS"/>
            </a:defRPr>
          </a:lvl1pPr>
          <a:lvl2pPr marL="457200" indent="0">
            <a:defRPr sz="1100">
              <a:latin typeface="Trebuchet MS"/>
            </a:defRPr>
          </a:lvl2pPr>
          <a:lvl3pPr marL="914400" indent="0">
            <a:defRPr sz="1100">
              <a:latin typeface="Trebuchet MS"/>
            </a:defRPr>
          </a:lvl3pPr>
          <a:lvl4pPr marL="1371600" indent="0">
            <a:defRPr sz="1100">
              <a:latin typeface="Trebuchet MS"/>
            </a:defRPr>
          </a:lvl4pPr>
          <a:lvl5pPr marL="1828800" indent="0">
            <a:defRPr sz="1100">
              <a:latin typeface="Trebuchet MS"/>
            </a:defRPr>
          </a:lvl5pPr>
          <a:lvl6pPr marL="2286000" indent="0">
            <a:defRPr sz="1100">
              <a:latin typeface="Trebuchet MS"/>
            </a:defRPr>
          </a:lvl6pPr>
          <a:lvl7pPr marL="2743200" indent="0">
            <a:defRPr sz="1100">
              <a:latin typeface="Trebuchet MS"/>
            </a:defRPr>
          </a:lvl7pPr>
          <a:lvl8pPr marL="3200400" indent="0">
            <a:defRPr sz="1100">
              <a:latin typeface="Trebuchet MS"/>
            </a:defRPr>
          </a:lvl8pPr>
          <a:lvl9pPr marL="3657600" indent="0">
            <a:defRPr sz="1100">
              <a:latin typeface="Trebuchet MS"/>
            </a:defRPr>
          </a:lvl9pPr>
        </a:lstStyle>
        <a:p xmlns:a="http://schemas.openxmlformats.org/drawingml/2006/main">
          <a:r>
            <a:rPr lang="pl-PL" sz="1400" b="1" dirty="0" smtClean="0">
              <a:solidFill>
                <a:srgbClr val="009CDD"/>
              </a:solidFill>
            </a:rPr>
            <a:t>Non-farm </a:t>
          </a:r>
          <a:r>
            <a:rPr lang="pl-PL" sz="1400" b="1" dirty="0" err="1" smtClean="0">
              <a:solidFill>
                <a:srgbClr val="009CDD"/>
              </a:solidFill>
            </a:rPr>
            <a:t>payrolls</a:t>
          </a:r>
          <a:r>
            <a:rPr lang="pl-PL" sz="1400" b="1" dirty="0" smtClean="0">
              <a:solidFill>
                <a:srgbClr val="009CDD"/>
              </a:solidFill>
            </a:rPr>
            <a:t> [tys.]</a:t>
          </a:r>
          <a:endParaRPr lang="pl-PL" sz="1400" b="1" dirty="0">
            <a:solidFill>
              <a:srgbClr val="009CDD"/>
            </a:solidFill>
          </a:endParaRPr>
        </a:p>
      </cdr:txBody>
    </cdr:sp>
  </cdr:relSizeAnchor>
  <cdr:relSizeAnchor xmlns:cdr="http://schemas.openxmlformats.org/drawingml/2006/chartDrawing">
    <cdr:from>
      <cdr:x>0.62224</cdr:x>
      <cdr:y>0.44199</cdr:y>
    </cdr:from>
    <cdr:to>
      <cdr:x>0.9792</cdr:x>
      <cdr:y>0.73466</cdr:y>
    </cdr:to>
    <cdr:sp macro="" textlink="">
      <cdr:nvSpPr>
        <cdr:cNvPr id="3" name="pole tekstowe 1"/>
        <cdr:cNvSpPr txBox="1"/>
      </cdr:nvSpPr>
      <cdr:spPr>
        <a:xfrm xmlns:a="http://schemas.openxmlformats.org/drawingml/2006/main">
          <a:off x="2794958" y="1199072"/>
          <a:ext cx="1603435" cy="7939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Trebuchet MS"/>
            </a:defRPr>
          </a:lvl1pPr>
          <a:lvl2pPr marL="457200" indent="0">
            <a:defRPr sz="1100">
              <a:latin typeface="Trebuchet MS"/>
            </a:defRPr>
          </a:lvl2pPr>
          <a:lvl3pPr marL="914400" indent="0">
            <a:defRPr sz="1100">
              <a:latin typeface="Trebuchet MS"/>
            </a:defRPr>
          </a:lvl3pPr>
          <a:lvl4pPr marL="1371600" indent="0">
            <a:defRPr sz="1100">
              <a:latin typeface="Trebuchet MS"/>
            </a:defRPr>
          </a:lvl4pPr>
          <a:lvl5pPr marL="1828800" indent="0">
            <a:defRPr sz="1100">
              <a:latin typeface="Trebuchet MS"/>
            </a:defRPr>
          </a:lvl5pPr>
          <a:lvl6pPr marL="2286000" indent="0">
            <a:defRPr sz="1100">
              <a:latin typeface="Trebuchet MS"/>
            </a:defRPr>
          </a:lvl6pPr>
          <a:lvl7pPr marL="2743200" indent="0">
            <a:defRPr sz="1100">
              <a:latin typeface="Trebuchet MS"/>
            </a:defRPr>
          </a:lvl7pPr>
          <a:lvl8pPr marL="3200400" indent="0">
            <a:defRPr sz="1100">
              <a:latin typeface="Trebuchet MS"/>
            </a:defRPr>
          </a:lvl8pPr>
          <a:lvl9pPr marL="3657600" indent="0">
            <a:defRPr sz="1100">
              <a:latin typeface="Trebuchet MS"/>
            </a:defRPr>
          </a:lvl9pPr>
        </a:lstStyle>
        <a:p xmlns:a="http://schemas.openxmlformats.org/drawingml/2006/main">
          <a:r>
            <a:rPr lang="pl-PL" sz="1400" b="1" dirty="0" err="1" smtClean="0">
              <a:solidFill>
                <a:srgbClr val="FF3300"/>
              </a:solidFill>
            </a:rPr>
            <a:t>Private</a:t>
          </a:r>
          <a:r>
            <a:rPr lang="pl-PL" sz="1400" b="1" dirty="0" smtClean="0">
              <a:solidFill>
                <a:srgbClr val="FF3300"/>
              </a:solidFill>
            </a:rPr>
            <a:t> non-farm </a:t>
          </a:r>
          <a:r>
            <a:rPr lang="pl-PL" sz="1400" b="1" dirty="0" err="1" smtClean="0">
              <a:solidFill>
                <a:srgbClr val="FF3300"/>
              </a:solidFill>
            </a:rPr>
            <a:t>payrolls</a:t>
          </a:r>
          <a:r>
            <a:rPr lang="pl-PL" sz="1400" b="1" dirty="0" smtClean="0">
              <a:solidFill>
                <a:srgbClr val="FF3300"/>
              </a:solidFill>
            </a:rPr>
            <a:t> [tys.]</a:t>
          </a:r>
          <a:endParaRPr lang="pl-PL" sz="1400" b="1" dirty="0">
            <a:solidFill>
              <a:srgbClr val="FF3300"/>
            </a:solidFill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8991</cdr:x>
      <cdr:y>0.58633</cdr:y>
    </cdr:from>
    <cdr:to>
      <cdr:x>0.39474</cdr:x>
      <cdr:y>0.71942</cdr:y>
    </cdr:to>
    <cdr:sp macro="" textlink="">
      <cdr:nvSpPr>
        <cdr:cNvPr id="2" name="pole tekstowe 1"/>
        <cdr:cNvSpPr txBox="1"/>
      </cdr:nvSpPr>
      <cdr:spPr>
        <a:xfrm xmlns:a="http://schemas.openxmlformats.org/drawingml/2006/main">
          <a:off x="390525" y="1552575"/>
          <a:ext cx="1323975" cy="3524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pl-PL" sz="1600" b="1" dirty="0">
              <a:solidFill>
                <a:srgbClr val="FF3300"/>
              </a:solidFill>
            </a:rPr>
            <a:t>PMI</a:t>
          </a:r>
          <a:r>
            <a:rPr lang="pl-PL" sz="1600" b="1" baseline="0" dirty="0">
              <a:solidFill>
                <a:srgbClr val="FF3300"/>
              </a:solidFill>
            </a:rPr>
            <a:t> services</a:t>
          </a:r>
          <a:endParaRPr lang="pl-PL" sz="1600" b="1" dirty="0">
            <a:solidFill>
              <a:srgbClr val="FF3300"/>
            </a:solidFill>
          </a:endParaRPr>
        </a:p>
      </cdr:txBody>
    </cdr:sp>
  </cdr:relSizeAnchor>
  <cdr:relSizeAnchor xmlns:cdr="http://schemas.openxmlformats.org/drawingml/2006/chartDrawing">
    <cdr:from>
      <cdr:x>0.56659</cdr:x>
      <cdr:y>0.3777</cdr:y>
    </cdr:from>
    <cdr:to>
      <cdr:x>0.99642</cdr:x>
      <cdr:y>0.58944</cdr:y>
    </cdr:to>
    <cdr:sp macro="" textlink="">
      <cdr:nvSpPr>
        <cdr:cNvPr id="3" name="pole tekstowe 1"/>
        <cdr:cNvSpPr txBox="1"/>
      </cdr:nvSpPr>
      <cdr:spPr>
        <a:xfrm xmlns:a="http://schemas.openxmlformats.org/drawingml/2006/main">
          <a:off x="2310797" y="904710"/>
          <a:ext cx="1753031" cy="5071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pl-PL" sz="1600" b="1" dirty="0">
              <a:solidFill>
                <a:srgbClr val="376092"/>
              </a:solidFill>
            </a:rPr>
            <a:t>PMI</a:t>
          </a:r>
          <a:r>
            <a:rPr lang="pl-PL" sz="1600" b="1" baseline="0" dirty="0">
              <a:solidFill>
                <a:srgbClr val="376092"/>
              </a:solidFill>
            </a:rPr>
            <a:t> manufacturing</a:t>
          </a:r>
          <a:endParaRPr lang="pl-PL" sz="1600" b="1" dirty="0">
            <a:solidFill>
              <a:srgbClr val="376092"/>
            </a:solidFill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50835</cdr:x>
      <cdr:y>0.59231</cdr:y>
    </cdr:from>
    <cdr:to>
      <cdr:x>0.94492</cdr:x>
      <cdr:y>0.86731</cdr:y>
    </cdr:to>
    <cdr:sp macro="" textlink="">
      <cdr:nvSpPr>
        <cdr:cNvPr id="2" name="pole tekstowe 1"/>
        <cdr:cNvSpPr txBox="1"/>
      </cdr:nvSpPr>
      <cdr:spPr>
        <a:xfrm xmlns:a="http://schemas.openxmlformats.org/drawingml/2006/main">
          <a:off x="2149616" y="1617148"/>
          <a:ext cx="1846053" cy="75082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pl-PL" sz="1600" b="1" dirty="0">
              <a:solidFill>
                <a:srgbClr val="FF3300"/>
              </a:solidFill>
            </a:rPr>
            <a:t>ZEW </a:t>
          </a:r>
          <a:r>
            <a:rPr lang="pl-PL" sz="1600" b="1" dirty="0" err="1">
              <a:solidFill>
                <a:srgbClr val="FF3300"/>
              </a:solidFill>
            </a:rPr>
            <a:t>index</a:t>
          </a:r>
          <a:r>
            <a:rPr lang="pl-PL" sz="1600" b="1" dirty="0">
              <a:solidFill>
                <a:srgbClr val="FF3300"/>
              </a:solidFill>
            </a:rPr>
            <a:t> </a:t>
          </a:r>
          <a:r>
            <a:rPr lang="pl-PL" sz="1600" b="1" dirty="0" err="1">
              <a:solidFill>
                <a:srgbClr val="FF3300"/>
              </a:solidFill>
            </a:rPr>
            <a:t>expected</a:t>
          </a:r>
          <a:r>
            <a:rPr lang="pl-PL" sz="1600" b="1" dirty="0">
              <a:solidFill>
                <a:srgbClr val="FF3300"/>
              </a:solidFill>
            </a:rPr>
            <a:t> </a:t>
          </a:r>
          <a:r>
            <a:rPr lang="pl-PL" sz="1600" b="1" dirty="0" err="1" smtClean="0">
              <a:solidFill>
                <a:srgbClr val="FF3300"/>
              </a:solidFill>
            </a:rPr>
            <a:t>situation</a:t>
          </a:r>
          <a:endParaRPr lang="pl-PL" sz="1600" b="1" dirty="0">
            <a:solidFill>
              <a:srgbClr val="FF3300"/>
            </a:solidFill>
          </a:endParaRPr>
        </a:p>
      </cdr:txBody>
    </cdr:sp>
  </cdr:relSizeAnchor>
  <cdr:relSizeAnchor xmlns:cdr="http://schemas.openxmlformats.org/drawingml/2006/chartDrawing">
    <cdr:from>
      <cdr:x>0.09222</cdr:x>
      <cdr:y>0.03819</cdr:y>
    </cdr:from>
    <cdr:to>
      <cdr:x>0.40717</cdr:x>
      <cdr:y>0.15961</cdr:y>
    </cdr:to>
    <cdr:sp macro="" textlink="">
      <cdr:nvSpPr>
        <cdr:cNvPr id="3" name="pole tekstowe 1"/>
        <cdr:cNvSpPr txBox="1"/>
      </cdr:nvSpPr>
      <cdr:spPr>
        <a:xfrm xmlns:a="http://schemas.openxmlformats.org/drawingml/2006/main">
          <a:off x="391544" y="104761"/>
          <a:ext cx="1337226" cy="3330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pl-PL" sz="1600" b="1" dirty="0" err="1">
              <a:solidFill>
                <a:srgbClr val="376092"/>
              </a:solidFill>
            </a:rPr>
            <a:t>Ifo</a:t>
          </a:r>
          <a:r>
            <a:rPr lang="pl-PL" sz="1600" b="1" dirty="0">
              <a:solidFill>
                <a:srgbClr val="376092"/>
              </a:solidFill>
            </a:rPr>
            <a:t> </a:t>
          </a:r>
          <a:r>
            <a:rPr lang="pl-PL" sz="1600" b="1" dirty="0" err="1" smtClean="0">
              <a:solidFill>
                <a:srgbClr val="376092"/>
              </a:solidFill>
            </a:rPr>
            <a:t>index</a:t>
          </a:r>
          <a:endParaRPr lang="pl-PL" sz="1600" b="1" dirty="0">
            <a:solidFill>
              <a:srgbClr val="376092"/>
            </a:solidFill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50895</cdr:x>
      <cdr:y>0.12714</cdr:y>
    </cdr:from>
    <cdr:to>
      <cdr:x>0.84717</cdr:x>
      <cdr:y>0.26471</cdr:y>
    </cdr:to>
    <cdr:sp macro="" textlink="">
      <cdr:nvSpPr>
        <cdr:cNvPr id="2" name="pole tekstowe 1"/>
        <cdr:cNvSpPr txBox="1"/>
      </cdr:nvSpPr>
      <cdr:spPr>
        <a:xfrm xmlns:a="http://schemas.openxmlformats.org/drawingml/2006/main">
          <a:off x="3009900" y="581025"/>
          <a:ext cx="2000250" cy="6286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pl-PL" sz="1800" b="1" dirty="0" err="1">
              <a:solidFill>
                <a:srgbClr val="0096EF"/>
              </a:solidFill>
            </a:rPr>
            <a:t>Fed</a:t>
          </a:r>
          <a:r>
            <a:rPr lang="pl-PL" sz="1800" b="1" dirty="0">
              <a:solidFill>
                <a:srgbClr val="0096EF"/>
              </a:solidFill>
            </a:rPr>
            <a:t> </a:t>
          </a:r>
          <a:r>
            <a:rPr lang="pl-PL" sz="1800" b="1" dirty="0" err="1">
              <a:solidFill>
                <a:srgbClr val="0096EF"/>
              </a:solidFill>
            </a:rPr>
            <a:t>funds</a:t>
          </a:r>
          <a:r>
            <a:rPr lang="pl-PL" sz="1800" b="1" dirty="0">
              <a:solidFill>
                <a:srgbClr val="0096EF"/>
              </a:solidFill>
            </a:rPr>
            <a:t> </a:t>
          </a:r>
          <a:r>
            <a:rPr lang="pl-PL" sz="1800" b="1" dirty="0" err="1">
              <a:solidFill>
                <a:srgbClr val="0096EF"/>
              </a:solidFill>
            </a:rPr>
            <a:t>rate</a:t>
          </a:r>
          <a:endParaRPr lang="pl-PL" sz="1800" b="1" dirty="0">
            <a:solidFill>
              <a:srgbClr val="0096EF"/>
            </a:solidFill>
          </a:endParaRPr>
        </a:p>
      </cdr:txBody>
    </cdr:sp>
  </cdr:relSizeAnchor>
  <cdr:relSizeAnchor xmlns:cdr="http://schemas.openxmlformats.org/drawingml/2006/chartDrawing">
    <cdr:from>
      <cdr:x>0.21421</cdr:x>
      <cdr:y>0.59819</cdr:y>
    </cdr:from>
    <cdr:to>
      <cdr:x>0.5782</cdr:x>
      <cdr:y>0.89416</cdr:y>
    </cdr:to>
    <cdr:sp macro="" textlink="">
      <cdr:nvSpPr>
        <cdr:cNvPr id="3" name="pole tekstowe 1"/>
        <cdr:cNvSpPr txBox="1"/>
      </cdr:nvSpPr>
      <cdr:spPr>
        <a:xfrm xmlns:a="http://schemas.openxmlformats.org/drawingml/2006/main">
          <a:off x="1266824" y="2733675"/>
          <a:ext cx="2152651" cy="13525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l"/>
          <a:r>
            <a:rPr lang="pl-PL" sz="1800" b="1" dirty="0">
              <a:solidFill>
                <a:srgbClr val="FF0000"/>
              </a:solidFill>
            </a:rPr>
            <a:t>Taylor </a:t>
          </a:r>
          <a:r>
            <a:rPr lang="pl-PL" sz="1800" b="1" dirty="0" err="1">
              <a:solidFill>
                <a:srgbClr val="FF0000"/>
              </a:solidFill>
            </a:rPr>
            <a:t>rule</a:t>
          </a:r>
          <a:r>
            <a:rPr lang="pl-PL" sz="1800" b="1" dirty="0">
              <a:solidFill>
                <a:srgbClr val="FF0000"/>
              </a:solidFill>
            </a:rPr>
            <a:t> </a:t>
          </a:r>
          <a:r>
            <a:rPr lang="pl-PL" sz="1800" b="1" dirty="0" err="1">
              <a:solidFill>
                <a:srgbClr val="FF0000"/>
              </a:solidFill>
            </a:rPr>
            <a:t>impied</a:t>
          </a:r>
          <a:r>
            <a:rPr lang="pl-PL" sz="1800" b="1" dirty="0">
              <a:solidFill>
                <a:srgbClr val="FF0000"/>
              </a:solidFill>
            </a:rPr>
            <a:t> </a:t>
          </a:r>
        </a:p>
        <a:p xmlns:a="http://schemas.openxmlformats.org/drawingml/2006/main">
          <a:pPr algn="l"/>
          <a:r>
            <a:rPr lang="pl-PL" sz="1800" b="1" dirty="0" err="1">
              <a:solidFill>
                <a:srgbClr val="FF0000"/>
              </a:solidFill>
            </a:rPr>
            <a:t>Fed</a:t>
          </a:r>
          <a:r>
            <a:rPr lang="pl-PL" sz="1800" b="1" dirty="0">
              <a:solidFill>
                <a:srgbClr val="FF0000"/>
              </a:solidFill>
            </a:rPr>
            <a:t> </a:t>
          </a:r>
          <a:r>
            <a:rPr lang="pl-PL" sz="1800" b="1" dirty="0" err="1">
              <a:solidFill>
                <a:srgbClr val="FF0000"/>
              </a:solidFill>
            </a:rPr>
            <a:t>funds</a:t>
          </a:r>
          <a:r>
            <a:rPr lang="pl-PL" sz="1800" b="1" dirty="0">
              <a:solidFill>
                <a:srgbClr val="FF0000"/>
              </a:solidFill>
            </a:rPr>
            <a:t> </a:t>
          </a:r>
          <a:r>
            <a:rPr lang="pl-PL" sz="1800" b="1" dirty="0" err="1">
              <a:solidFill>
                <a:srgbClr val="FF0000"/>
              </a:solidFill>
            </a:rPr>
            <a:t>rate</a:t>
          </a:r>
          <a:endParaRPr lang="pl-PL" sz="1800" b="1" dirty="0">
            <a:solidFill>
              <a:srgbClr val="FF0000"/>
            </a:solidFill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50376</cdr:x>
      <cdr:y>0.63107</cdr:y>
    </cdr:from>
    <cdr:to>
      <cdr:x>0.77132</cdr:x>
      <cdr:y>0.7585</cdr:y>
    </cdr:to>
    <cdr:sp macro="" textlink="">
      <cdr:nvSpPr>
        <cdr:cNvPr id="2" name="pole tekstowe 9"/>
        <cdr:cNvSpPr txBox="1"/>
      </cdr:nvSpPr>
      <cdr:spPr>
        <a:xfrm xmlns:a="http://schemas.openxmlformats.org/drawingml/2006/main">
          <a:off x="2869406" y="2476500"/>
          <a:ext cx="1524000" cy="50006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r>
            <a:rPr lang="pl-PL" sz="2400" b="1" dirty="0">
              <a:solidFill>
                <a:srgbClr val="FF0000"/>
              </a:solidFill>
            </a:rPr>
            <a:t>EURCHF</a:t>
          </a:r>
        </a:p>
      </cdr:txBody>
    </cdr:sp>
  </cdr:relSizeAnchor>
  <cdr:relSizeAnchor xmlns:cdr="http://schemas.openxmlformats.org/drawingml/2006/chartDrawing">
    <cdr:from>
      <cdr:x>0.26547</cdr:x>
      <cdr:y>0.03944</cdr:y>
    </cdr:from>
    <cdr:to>
      <cdr:x>0.53303</cdr:x>
      <cdr:y>0.16687</cdr:y>
    </cdr:to>
    <cdr:sp macro="" textlink="">
      <cdr:nvSpPr>
        <cdr:cNvPr id="3" name="pole tekstowe 9"/>
        <cdr:cNvSpPr txBox="1"/>
      </cdr:nvSpPr>
      <cdr:spPr>
        <a:xfrm xmlns:a="http://schemas.openxmlformats.org/drawingml/2006/main">
          <a:off x="1512094" y="154781"/>
          <a:ext cx="1524000" cy="50006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pl-PL" sz="2400" b="1">
              <a:solidFill>
                <a:srgbClr val="0096EF"/>
              </a:solidFill>
            </a:rPr>
            <a:t>EURUSD</a:t>
          </a: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08534</cdr:x>
      <cdr:y>0.75899</cdr:y>
    </cdr:from>
    <cdr:to>
      <cdr:x>0.63076</cdr:x>
      <cdr:y>0.8777</cdr:y>
    </cdr:to>
    <cdr:sp macro="" textlink="">
      <cdr:nvSpPr>
        <cdr:cNvPr id="2" name="pole tekstowe 1"/>
        <cdr:cNvSpPr txBox="1"/>
      </cdr:nvSpPr>
      <cdr:spPr>
        <a:xfrm xmlns:a="http://schemas.openxmlformats.org/drawingml/2006/main">
          <a:off x="436507" y="2067602"/>
          <a:ext cx="2789771" cy="32338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pl-PL" sz="1600" b="1" dirty="0">
              <a:solidFill>
                <a:srgbClr val="376092"/>
              </a:solidFill>
            </a:rPr>
            <a:t>industrial </a:t>
          </a:r>
          <a:r>
            <a:rPr lang="pl-PL" sz="1600" b="1" dirty="0" err="1">
              <a:solidFill>
                <a:srgbClr val="376092"/>
              </a:solidFill>
            </a:rPr>
            <a:t>production</a:t>
          </a:r>
          <a:r>
            <a:rPr lang="pl-PL" sz="1600" b="1" dirty="0">
              <a:solidFill>
                <a:srgbClr val="376092"/>
              </a:solidFill>
            </a:rPr>
            <a:t> </a:t>
          </a:r>
          <a:r>
            <a:rPr lang="pl-PL" sz="1600" b="1" dirty="0" err="1">
              <a:solidFill>
                <a:srgbClr val="376092"/>
              </a:solidFill>
            </a:rPr>
            <a:t>YoY</a:t>
          </a:r>
          <a:r>
            <a:rPr lang="pl-PL" sz="1600" b="1" dirty="0">
              <a:solidFill>
                <a:srgbClr val="376092"/>
              </a:solidFill>
            </a:rPr>
            <a:t> </a:t>
          </a:r>
          <a:r>
            <a:rPr lang="pl-PL" sz="1600" b="1" dirty="0" smtClean="0">
              <a:solidFill>
                <a:srgbClr val="376092"/>
              </a:solidFill>
            </a:rPr>
            <a:t>(%)</a:t>
          </a:r>
          <a:endParaRPr lang="pl-PL" sz="1600" b="1" dirty="0">
            <a:solidFill>
              <a:srgbClr val="376092"/>
            </a:solidFill>
          </a:endParaRPr>
        </a:p>
      </cdr:txBody>
    </cdr:sp>
  </cdr:relSizeAnchor>
  <cdr:relSizeAnchor xmlns:cdr="http://schemas.openxmlformats.org/drawingml/2006/chartDrawing">
    <cdr:from>
      <cdr:x>0.65559</cdr:x>
      <cdr:y>0.03448</cdr:y>
    </cdr:from>
    <cdr:to>
      <cdr:x>0.91348</cdr:x>
      <cdr:y>0.16757</cdr:y>
    </cdr:to>
    <cdr:sp macro="" textlink="">
      <cdr:nvSpPr>
        <cdr:cNvPr id="3" name="pole tekstowe 1"/>
        <cdr:cNvSpPr txBox="1"/>
      </cdr:nvSpPr>
      <cdr:spPr>
        <a:xfrm xmlns:a="http://schemas.openxmlformats.org/drawingml/2006/main">
          <a:off x="3353271" y="93921"/>
          <a:ext cx="1319088" cy="3625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pl-PL" sz="1600" b="1" dirty="0">
              <a:solidFill>
                <a:srgbClr val="FF3300"/>
              </a:solidFill>
            </a:rPr>
            <a:t>PMI (</a:t>
          </a:r>
          <a:r>
            <a:rPr lang="pl-PL" sz="1600" b="1" dirty="0" err="1">
              <a:solidFill>
                <a:srgbClr val="FF3300"/>
              </a:solidFill>
            </a:rPr>
            <a:t>pts</a:t>
          </a:r>
          <a:r>
            <a:rPr lang="pl-PL" sz="1600" b="1" dirty="0" smtClean="0">
              <a:solidFill>
                <a:srgbClr val="FF3300"/>
              </a:solidFill>
            </a:rPr>
            <a:t>.)</a:t>
          </a:r>
          <a:endParaRPr lang="pl-PL" sz="1600" b="1" dirty="0">
            <a:solidFill>
              <a:srgbClr val="FF3300"/>
            </a:solidFill>
          </a:endParaRP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88335</cdr:x>
      <cdr:y>0.04878</cdr:y>
    </cdr:from>
    <cdr:to>
      <cdr:x>0.99491</cdr:x>
      <cdr:y>0.32056</cdr:y>
    </cdr:to>
    <cdr:sp macro="" textlink="">
      <cdr:nvSpPr>
        <cdr:cNvPr id="2" name="Elipsa 1"/>
        <cdr:cNvSpPr/>
      </cdr:nvSpPr>
      <cdr:spPr bwMode="auto">
        <a:xfrm xmlns:a="http://schemas.openxmlformats.org/drawingml/2006/main">
          <a:off x="4166559" y="120770"/>
          <a:ext cx="526212" cy="672861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25400" cap="flat" cmpd="sng" algn="ctr">
          <a:solidFill>
            <a:srgbClr val="C0504D"/>
          </a:solidFill>
          <a:prstDash val="dash"/>
          <a:headEnd type="none" w="med" len="med"/>
          <a:tailEnd type="none" w="med" len="med"/>
        </a:ln>
        <a:effectLst xmlns:a="http://schemas.openxmlformats.org/drawingml/2006/main"/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="horz" wrap="square" lIns="0" tIns="91440" rIns="0" bIns="91440" numCol="1" rtlCol="0" anchor="ctr" anchorCtr="0" compatLnSpc="1">
          <a:prstTxWarp prst="textNoShape">
            <a:avLst/>
          </a:prstTxWarp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sz="1400" kern="1200">
              <a:solidFill>
                <a:srgbClr val="000000"/>
              </a:solidFill>
              <a:latin typeface="Trebuchet MS"/>
            </a:defRPr>
          </a:lvl5pPr>
          <a:lvl6pPr marL="2286000" algn="l" defTabSz="914400" rtl="0" eaLnBrk="1" latinLnBrk="0" hangingPunct="1">
            <a:defRPr sz="1400" kern="1200">
              <a:solidFill>
                <a:srgbClr val="000000"/>
              </a:solidFill>
              <a:latin typeface="Trebuchet MS"/>
            </a:defRPr>
          </a:lvl6pPr>
          <a:lvl7pPr marL="2743200" algn="l" defTabSz="914400" rtl="0" eaLnBrk="1" latinLnBrk="0" hangingPunct="1">
            <a:defRPr sz="1400" kern="1200">
              <a:solidFill>
                <a:srgbClr val="000000"/>
              </a:solidFill>
              <a:latin typeface="Trebuchet MS"/>
            </a:defRPr>
          </a:lvl7pPr>
          <a:lvl8pPr marL="3200400" algn="l" defTabSz="914400" rtl="0" eaLnBrk="1" latinLnBrk="0" hangingPunct="1">
            <a:defRPr sz="1400" kern="1200">
              <a:solidFill>
                <a:srgbClr val="000000"/>
              </a:solidFill>
              <a:latin typeface="Trebuchet MS"/>
            </a:defRPr>
          </a:lvl8pPr>
          <a:lvl9pPr marL="3657600" algn="l" defTabSz="914400" rtl="0" eaLnBrk="1" latinLnBrk="0" hangingPunct="1">
            <a:defRPr sz="1400" kern="1200">
              <a:solidFill>
                <a:srgbClr val="000000"/>
              </a:solidFill>
              <a:latin typeface="Trebuchet MS"/>
            </a:defRPr>
          </a:lvl9pPr>
        </a:lstStyle>
        <a:p xmlns:a="http://schemas.openxmlformats.org/drawingml/2006/main">
          <a:pPr marL="0" marR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endParaRPr kumimoji="0" lang="pl-PL" sz="1400" b="0" i="0" u="none" strike="noStrike" cap="none" normalizeH="0" baseline="0" smtClean="0">
            <a:ln>
              <a:noFill/>
            </a:ln>
            <a:solidFill>
              <a:srgbClr val="009CDD"/>
            </a:solidFill>
            <a:effectLst/>
            <a:latin typeface="Arial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735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33" tIns="46065" rIns="92133" bIns="46065" numCol="1" anchor="t" anchorCtr="0" compatLnSpc="1">
            <a:prstTxWarp prst="textNoShape">
              <a:avLst/>
            </a:prstTxWarp>
          </a:bodyPr>
          <a:lstStyle>
            <a:lvl1pPr algn="l" defTabSz="922338" eaLnBrk="0" hangingPunct="0">
              <a:defRPr sz="13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2735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33" tIns="46065" rIns="92133" bIns="46065" numCol="1" anchor="t" anchorCtr="0" compatLnSpc="1">
            <a:prstTxWarp prst="textNoShape">
              <a:avLst/>
            </a:prstTxWarp>
          </a:bodyPr>
          <a:lstStyle>
            <a:lvl1pPr algn="r" defTabSz="922338" eaLnBrk="0" hangingPunct="0">
              <a:defRPr sz="13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84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2735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33" tIns="46065" rIns="92133" bIns="46065" numCol="1" anchor="b" anchorCtr="0" compatLnSpc="1">
            <a:prstTxWarp prst="textNoShape">
              <a:avLst/>
            </a:prstTxWarp>
          </a:bodyPr>
          <a:lstStyle>
            <a:lvl1pPr algn="l" defTabSz="922338" eaLnBrk="0" hangingPunct="0">
              <a:defRPr sz="13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84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2735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33" tIns="46065" rIns="92133" bIns="46065" numCol="1" anchor="b" anchorCtr="0" compatLnSpc="1">
            <a:prstTxWarp prst="textNoShape">
              <a:avLst/>
            </a:prstTxWarp>
          </a:bodyPr>
          <a:lstStyle>
            <a:lvl1pPr algn="r" defTabSz="922338" eaLnBrk="0" hangingPunct="0">
              <a:defRPr sz="13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CD835162-54EE-4D0F-B8B5-D411C0DD85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338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735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33" tIns="46065" rIns="92133" bIns="46065" numCol="1" anchor="t" anchorCtr="0" compatLnSpc="1">
            <a:prstTxWarp prst="textNoShape">
              <a:avLst/>
            </a:prstTxWarp>
          </a:bodyPr>
          <a:lstStyle>
            <a:lvl1pPr algn="l" defTabSz="922338" eaLnBrk="0" hangingPunct="0">
              <a:defRPr sz="13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808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2735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33" tIns="46065" rIns="92133" bIns="46065" numCol="1" anchor="t" anchorCtr="0" compatLnSpc="1">
            <a:prstTxWarp prst="textNoShape">
              <a:avLst/>
            </a:prstTxWarp>
          </a:bodyPr>
          <a:lstStyle>
            <a:lvl1pPr algn="r" defTabSz="922338" eaLnBrk="0" hangingPunct="0">
              <a:defRPr sz="13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74725" y="766763"/>
            <a:ext cx="4906963" cy="36798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09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3925" y="4752975"/>
            <a:ext cx="4929188" cy="444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33" tIns="46065" rIns="92133" bIns="4606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Kliknij, aby edytować wzorce stylu tekstu</a:t>
            </a:r>
          </a:p>
          <a:p>
            <a:pPr lvl="1"/>
            <a:r>
              <a:rPr lang="en-US" noProof="0" smtClean="0"/>
              <a:t>Drugi poziom</a:t>
            </a:r>
          </a:p>
          <a:p>
            <a:pPr lvl="2"/>
            <a:r>
              <a:rPr lang="en-US" noProof="0" smtClean="0"/>
              <a:t>Trzeci poziom</a:t>
            </a:r>
          </a:p>
          <a:p>
            <a:pPr lvl="3"/>
            <a:r>
              <a:rPr lang="en-US" noProof="0" smtClean="0"/>
              <a:t>Czwarty poziom</a:t>
            </a:r>
          </a:p>
          <a:p>
            <a:pPr lvl="4"/>
            <a:r>
              <a:rPr lang="en-US" noProof="0" smtClean="0"/>
              <a:t>Piąty poziom</a:t>
            </a:r>
          </a:p>
        </p:txBody>
      </p:sp>
      <p:sp>
        <p:nvSpPr>
          <p:cNvPr id="809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2735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33" tIns="46065" rIns="92133" bIns="46065" numCol="1" anchor="b" anchorCtr="0" compatLnSpc="1">
            <a:prstTxWarp prst="textNoShape">
              <a:avLst/>
            </a:prstTxWarp>
          </a:bodyPr>
          <a:lstStyle>
            <a:lvl1pPr algn="l" defTabSz="922338" eaLnBrk="0" hangingPunct="0">
              <a:defRPr sz="13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809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8"/>
            <a:ext cx="292735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133" tIns="46065" rIns="92133" bIns="46065" numCol="1" anchor="b" anchorCtr="0" compatLnSpc="1">
            <a:prstTxWarp prst="textNoShape">
              <a:avLst/>
            </a:prstTxWarp>
          </a:bodyPr>
          <a:lstStyle>
            <a:lvl1pPr algn="r" defTabSz="922338" eaLnBrk="0" hangingPunct="0">
              <a:defRPr sz="13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2F9097FB-360C-4D53-BA95-B2CD6667D8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0773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Symbol zastępczy obrazu slajdu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6386" name="Symbol zastępczy notatek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l-PL" smtClean="0"/>
          </a:p>
        </p:txBody>
      </p:sp>
      <p:sp>
        <p:nvSpPr>
          <p:cNvPr id="16387" name="Symbol zastępczy numeru slajdu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10F7BBB-0FC3-449B-BB5F-76B78A7C9A12}" type="slidenum">
              <a:rPr lang="en-US" smtClean="0"/>
              <a:pPr/>
              <a:t>1</a:t>
            </a:fld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1329" name="Symbol zastępczy obrazu slajdu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611330" name="Symbol zastępczy notatek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l-PL" smtClean="0"/>
          </a:p>
        </p:txBody>
      </p:sp>
      <p:sp>
        <p:nvSpPr>
          <p:cNvPr id="611331" name="Symbol zastępczy numeru slajdu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1A8C5D0-8606-415C-AEB6-34708F522569}" type="slidenum">
              <a:rPr lang="en-US" smtClean="0"/>
              <a:pPr/>
              <a:t>3</a:t>
            </a:fld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41" name="Symbol zastępczy obrazu slajdu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573442" name="Symbol zastępczy notatek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pl-PL" smtClean="0"/>
          </a:p>
        </p:txBody>
      </p:sp>
      <p:sp>
        <p:nvSpPr>
          <p:cNvPr id="573443" name="Symbol zastępczy numeru slajdu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5F275C6-983E-430A-9C74-D05AD0A94013}" type="slidenum">
              <a:rPr lang="en-US" smtClean="0"/>
              <a:pPr/>
              <a:t>4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l-PL" smtClean="0"/>
              <a:t>Kliknij, aby edytować styl wzorca podtytułu</a:t>
            </a:r>
            <a:endParaRPr lang="pl-PL"/>
          </a:p>
        </p:txBody>
      </p:sp>
      <p:sp>
        <p:nvSpPr>
          <p:cNvPr id="4" name="Symbol zastępczy stopki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stopki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853238" y="0"/>
            <a:ext cx="2117725" cy="6021388"/>
          </a:xfrm>
        </p:spPr>
        <p:txBody>
          <a:bodyPr vert="eaVert"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500063" y="0"/>
            <a:ext cx="6200775" cy="6021388"/>
          </a:xfrm>
        </p:spPr>
        <p:txBody>
          <a:bodyPr vert="eaVert"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stopki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stopki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stopki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500063" y="1087438"/>
            <a:ext cx="4159250" cy="49339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811713" y="1087438"/>
            <a:ext cx="4159250" cy="49339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7" name="Symbol zastępczy stopki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stopki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stopki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4"/>
            <a:r>
              <a:rPr lang="pl-PL" smtClean="0"/>
              <a:t>Piąty poziom</a:t>
            </a:r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 smtClean="0"/>
              <a:t>Kliknij, aby edytować style wzorca tekstu</a:t>
            </a: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 descr="pasek jasniejszy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6518275"/>
            <a:ext cx="914400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Symbol zastępczy tytułu 1"/>
          <p:cNvSpPr>
            <a:spLocks noGrp="1"/>
          </p:cNvSpPr>
          <p:nvPr>
            <p:ph type="title"/>
          </p:nvPr>
        </p:nvSpPr>
        <p:spPr bwMode="auto">
          <a:xfrm>
            <a:off x="500063" y="0"/>
            <a:ext cx="8426450" cy="868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7272" tIns="43637" rIns="87272" bIns="4363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smtClean="0"/>
              <a:t>Kliknij, aby edytować styl</a:t>
            </a:r>
          </a:p>
        </p:txBody>
      </p:sp>
      <p:sp>
        <p:nvSpPr>
          <p:cNvPr id="1028" name="Symbol zastępczy tekstu 2"/>
          <p:cNvSpPr>
            <a:spLocks noGrp="1"/>
          </p:cNvSpPr>
          <p:nvPr>
            <p:ph type="body" idx="1"/>
          </p:nvPr>
        </p:nvSpPr>
        <p:spPr bwMode="auto">
          <a:xfrm>
            <a:off x="500063" y="1087438"/>
            <a:ext cx="8470900" cy="493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7272" tIns="43637" rIns="87272" bIns="4363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  <a:p>
            <a:pPr lvl="3"/>
            <a:r>
              <a:rPr lang="pl-PL" smtClean="0"/>
              <a:t>Czwarty poziom</a:t>
            </a:r>
          </a:p>
          <a:p>
            <a:pPr lvl="2"/>
            <a:endParaRPr lang="pl-PL" smtClean="0"/>
          </a:p>
        </p:txBody>
      </p:sp>
      <p:sp>
        <p:nvSpPr>
          <p:cNvPr id="9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1762125" y="6540500"/>
            <a:ext cx="2897188" cy="193675"/>
          </a:xfrm>
          <a:prstGeom prst="rect">
            <a:avLst/>
          </a:prstGeom>
        </p:spPr>
        <p:txBody>
          <a:bodyPr vert="horz" wrap="square" lIns="87272" tIns="43637" rIns="87272" bIns="43637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solidFill>
                  <a:schemeClr val="bg1"/>
                </a:solidFill>
                <a:latin typeface="+mn-lt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" name="Symbol zastępczy numeru slajdu 8"/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389938" y="6584950"/>
            <a:ext cx="754062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272" tIns="43637" rIns="87272" bIns="43637"/>
          <a:lstStyle/>
          <a:p>
            <a:pPr algn="r" defTabSz="873125">
              <a:defRPr/>
            </a:pPr>
            <a:fld id="{254AB852-9615-45B0-A5B4-246A8C65537F}" type="slidenum">
              <a:rPr lang="en-US" sz="1200">
                <a:solidFill>
                  <a:schemeClr val="bg1"/>
                </a:solidFill>
                <a:latin typeface="Calibri" pitchFamily="34" charset="0"/>
                <a:cs typeface="Arial" charset="0"/>
              </a:rPr>
              <a:pPr algn="r" defTabSz="873125">
                <a:defRPr/>
              </a:pPr>
              <a:t>‹#›</a:t>
            </a:fld>
            <a:endParaRPr lang="en-US" sz="120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hf hdr="0" ftr="0" dt="0"/>
  <p:txStyles>
    <p:titleStyle>
      <a:lvl1pPr algn="l" defTabSz="871538" rtl="0" eaLnBrk="0" fontAlgn="base" hangingPunct="0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+mj-lt"/>
          <a:ea typeface="+mj-ea"/>
          <a:cs typeface="+mj-cs"/>
        </a:defRPr>
      </a:lvl1pPr>
      <a:lvl2pPr algn="l" defTabSz="871538" rtl="0" eaLnBrk="0" fontAlgn="base" hangingPunct="0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Trebuchet MS" pitchFamily="34" charset="0"/>
        </a:defRPr>
      </a:lvl2pPr>
      <a:lvl3pPr algn="l" defTabSz="871538" rtl="0" eaLnBrk="0" fontAlgn="base" hangingPunct="0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Trebuchet MS" pitchFamily="34" charset="0"/>
        </a:defRPr>
      </a:lvl3pPr>
      <a:lvl4pPr algn="l" defTabSz="871538" rtl="0" eaLnBrk="0" fontAlgn="base" hangingPunct="0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Trebuchet MS" pitchFamily="34" charset="0"/>
        </a:defRPr>
      </a:lvl4pPr>
      <a:lvl5pPr algn="l" defTabSz="871538" rtl="0" eaLnBrk="0" fontAlgn="base" hangingPunct="0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Trebuchet MS" pitchFamily="34" charset="0"/>
        </a:defRPr>
      </a:lvl5pPr>
      <a:lvl6pPr marL="457200" algn="l" defTabSz="871538" rtl="0" fontAlgn="base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Trebuchet MS" pitchFamily="34" charset="0"/>
        </a:defRPr>
      </a:lvl6pPr>
      <a:lvl7pPr marL="914400" algn="l" defTabSz="871538" rtl="0" fontAlgn="base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Trebuchet MS" pitchFamily="34" charset="0"/>
        </a:defRPr>
      </a:lvl7pPr>
      <a:lvl8pPr marL="1371600" algn="l" defTabSz="871538" rtl="0" fontAlgn="base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Trebuchet MS" pitchFamily="34" charset="0"/>
        </a:defRPr>
      </a:lvl8pPr>
      <a:lvl9pPr marL="1828800" algn="l" defTabSz="871538" rtl="0" fontAlgn="base">
        <a:spcBef>
          <a:spcPct val="0"/>
        </a:spcBef>
        <a:spcAft>
          <a:spcPct val="0"/>
        </a:spcAft>
        <a:defRPr sz="2100">
          <a:solidFill>
            <a:schemeClr val="tx1"/>
          </a:solidFill>
          <a:latin typeface="Trebuchet MS" pitchFamily="34" charset="0"/>
        </a:defRPr>
      </a:lvl9pPr>
    </p:titleStyle>
    <p:bodyStyle>
      <a:lvl1pPr marL="325438" indent="-325438" algn="l" defTabSz="871538" rtl="0" eaLnBrk="0" fontAlgn="base" hangingPunct="0">
        <a:spcBef>
          <a:spcPct val="20000"/>
        </a:spcBef>
        <a:spcAft>
          <a:spcPct val="0"/>
        </a:spcAft>
        <a:buClr>
          <a:srgbClr val="009BD2"/>
        </a:buClr>
        <a:buFont typeface="Wingdings" pitchFamily="2" charset="2"/>
        <a:buChar char="§"/>
        <a:defRPr sz="1100">
          <a:solidFill>
            <a:schemeClr val="tx1"/>
          </a:solidFill>
          <a:latin typeface="+mn-lt"/>
          <a:ea typeface="+mn-ea"/>
          <a:cs typeface="+mn-cs"/>
        </a:defRPr>
      </a:lvl1pPr>
      <a:lvl2pPr marL="779463" indent="-342900" algn="l" defTabSz="871538" rtl="0" eaLnBrk="0" fontAlgn="base" hangingPunct="0">
        <a:spcBef>
          <a:spcPct val="20000"/>
        </a:spcBef>
        <a:spcAft>
          <a:spcPct val="0"/>
        </a:spcAft>
        <a:buClr>
          <a:srgbClr val="00B0F0"/>
        </a:buClr>
        <a:buFont typeface="Calibri" pitchFamily="34" charset="0"/>
        <a:buAutoNum type="arabicParenR"/>
        <a:defRPr sz="1100">
          <a:solidFill>
            <a:schemeClr val="tx1"/>
          </a:solidFill>
          <a:latin typeface="+mn-lt"/>
        </a:defRPr>
      </a:lvl2pPr>
      <a:lvl3pPr marL="1090613" indent="-131763" algn="l" defTabSz="871538" rtl="0" eaLnBrk="0" fontAlgn="base" hangingPunct="0">
        <a:spcBef>
          <a:spcPct val="20000"/>
        </a:spcBef>
        <a:spcAft>
          <a:spcPct val="0"/>
        </a:spcAft>
        <a:buClr>
          <a:srgbClr val="36A7E9"/>
        </a:buClr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3pPr>
      <a:lvl4pPr marL="1525588" indent="-215900" algn="l" defTabSz="871538" rtl="0" eaLnBrk="0" fontAlgn="base" hangingPunct="0">
        <a:spcBef>
          <a:spcPct val="20000"/>
        </a:spcBef>
        <a:spcAft>
          <a:spcPct val="0"/>
        </a:spcAft>
        <a:buClr>
          <a:srgbClr val="36A7E9"/>
        </a:buClr>
        <a:buFont typeface="Wingdings" pitchFamily="2" charset="2"/>
        <a:buChar char="§"/>
        <a:defRPr sz="1100">
          <a:solidFill>
            <a:schemeClr val="tx1"/>
          </a:solidFill>
          <a:latin typeface="+mn-lt"/>
        </a:defRPr>
      </a:lvl4pPr>
      <a:lvl5pPr marL="1962150" indent="-215900" algn="l" defTabSz="87153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100">
          <a:solidFill>
            <a:schemeClr val="tx1"/>
          </a:solidFill>
          <a:latin typeface="+mn-lt"/>
        </a:defRPr>
      </a:lvl5pPr>
      <a:lvl6pPr marL="2419350" indent="-215900" algn="l" defTabSz="871538" rtl="0" fontAlgn="base">
        <a:spcBef>
          <a:spcPct val="20000"/>
        </a:spcBef>
        <a:spcAft>
          <a:spcPct val="0"/>
        </a:spcAft>
        <a:buFont typeface="Arial" charset="0"/>
        <a:buChar char="»"/>
        <a:defRPr sz="1100">
          <a:solidFill>
            <a:schemeClr val="tx1"/>
          </a:solidFill>
          <a:latin typeface="+mn-lt"/>
        </a:defRPr>
      </a:lvl6pPr>
      <a:lvl7pPr marL="2876550" indent="-215900" algn="l" defTabSz="871538" rtl="0" fontAlgn="base">
        <a:spcBef>
          <a:spcPct val="20000"/>
        </a:spcBef>
        <a:spcAft>
          <a:spcPct val="0"/>
        </a:spcAft>
        <a:buFont typeface="Arial" charset="0"/>
        <a:buChar char="»"/>
        <a:defRPr sz="1100">
          <a:solidFill>
            <a:schemeClr val="tx1"/>
          </a:solidFill>
          <a:latin typeface="+mn-lt"/>
        </a:defRPr>
      </a:lvl7pPr>
      <a:lvl8pPr marL="3333750" indent="-215900" algn="l" defTabSz="871538" rtl="0" fontAlgn="base">
        <a:spcBef>
          <a:spcPct val="20000"/>
        </a:spcBef>
        <a:spcAft>
          <a:spcPct val="0"/>
        </a:spcAft>
        <a:buFont typeface="Arial" charset="0"/>
        <a:buChar char="»"/>
        <a:defRPr sz="1100">
          <a:solidFill>
            <a:schemeClr val="tx1"/>
          </a:solidFill>
          <a:latin typeface="+mn-lt"/>
        </a:defRPr>
      </a:lvl8pPr>
      <a:lvl9pPr marL="3790950" indent="-215900" algn="l" defTabSz="871538" rtl="0" fontAlgn="base">
        <a:spcBef>
          <a:spcPct val="20000"/>
        </a:spcBef>
        <a:spcAft>
          <a:spcPct val="0"/>
        </a:spcAft>
        <a:buFont typeface="Arial" charset="0"/>
        <a:buChar char="»"/>
        <a:defRPr sz="11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image" Target="../media/image3.wmf"/><Relationship Id="rId4" Type="http://schemas.openxmlformats.org/officeDocument/2006/relationships/image" Target="../media/image2.w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13" Type="http://schemas.openxmlformats.org/officeDocument/2006/relationships/image" Target="../media/image12.emf"/><Relationship Id="rId3" Type="http://schemas.openxmlformats.org/officeDocument/2006/relationships/tags" Target="../tags/tag36.xml"/><Relationship Id="rId7" Type="http://schemas.openxmlformats.org/officeDocument/2006/relationships/slideLayout" Target="../slideLayouts/slideLayout7.xml"/><Relationship Id="rId12" Type="http://schemas.openxmlformats.org/officeDocument/2006/relationships/chart" Target="../charts/chart1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tags" Target="../tags/tag39.xml"/><Relationship Id="rId11" Type="http://schemas.openxmlformats.org/officeDocument/2006/relationships/chart" Target="../charts/chart11.xml"/><Relationship Id="rId5" Type="http://schemas.openxmlformats.org/officeDocument/2006/relationships/tags" Target="../tags/tag38.xml"/><Relationship Id="rId10" Type="http://schemas.openxmlformats.org/officeDocument/2006/relationships/image" Target="../media/image3.wmf"/><Relationship Id="rId4" Type="http://schemas.openxmlformats.org/officeDocument/2006/relationships/tags" Target="../tags/tag37.xml"/><Relationship Id="rId9" Type="http://schemas.openxmlformats.org/officeDocument/2006/relationships/image" Target="../media/image2.w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ags" Target="../tags/tag41.xml"/><Relationship Id="rId7" Type="http://schemas.openxmlformats.org/officeDocument/2006/relationships/oleObject" Target="../embeddings/oleObject9.bin"/><Relationship Id="rId2" Type="http://schemas.openxmlformats.org/officeDocument/2006/relationships/tags" Target="../tags/tag40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43.xml"/><Relationship Id="rId10" Type="http://schemas.openxmlformats.org/officeDocument/2006/relationships/image" Target="../media/image13.emf"/><Relationship Id="rId4" Type="http://schemas.openxmlformats.org/officeDocument/2006/relationships/tags" Target="../tags/tag42.xml"/><Relationship Id="rId9" Type="http://schemas.openxmlformats.org/officeDocument/2006/relationships/image" Target="../media/image3.w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3.xml"/><Relationship Id="rId3" Type="http://schemas.openxmlformats.org/officeDocument/2006/relationships/tags" Target="../tags/tag45.xml"/><Relationship Id="rId7" Type="http://schemas.openxmlformats.org/officeDocument/2006/relationships/image" Target="../media/image3.wmf"/><Relationship Id="rId2" Type="http://schemas.openxmlformats.org/officeDocument/2006/relationships/tags" Target="../tags/tag4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w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wmf"/><Relationship Id="rId3" Type="http://schemas.openxmlformats.org/officeDocument/2006/relationships/tags" Target="../tags/tag47.xml"/><Relationship Id="rId7" Type="http://schemas.openxmlformats.org/officeDocument/2006/relationships/image" Target="../media/image2.wmf"/><Relationship Id="rId2" Type="http://schemas.openxmlformats.org/officeDocument/2006/relationships/tags" Target="../tags/tag46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4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w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50.xml"/><Relationship Id="rId7" Type="http://schemas.openxmlformats.org/officeDocument/2006/relationships/slideLayout" Target="../slideLayouts/slideLayout7.xml"/><Relationship Id="rId12" Type="http://schemas.openxmlformats.org/officeDocument/2006/relationships/chart" Target="../charts/chart1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53.xml"/><Relationship Id="rId11" Type="http://schemas.openxmlformats.org/officeDocument/2006/relationships/chart" Target="../charts/chart14.xml"/><Relationship Id="rId5" Type="http://schemas.openxmlformats.org/officeDocument/2006/relationships/tags" Target="../tags/tag52.xml"/><Relationship Id="rId10" Type="http://schemas.openxmlformats.org/officeDocument/2006/relationships/image" Target="../media/image3.wmf"/><Relationship Id="rId4" Type="http://schemas.openxmlformats.org/officeDocument/2006/relationships/tags" Target="../tags/tag51.xml"/><Relationship Id="rId9" Type="http://schemas.openxmlformats.org/officeDocument/2006/relationships/image" Target="../media/image2.w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ags" Target="../tags/tag55.xml"/><Relationship Id="rId7" Type="http://schemas.openxmlformats.org/officeDocument/2006/relationships/oleObject" Target="../embeddings/oleObject13.bin"/><Relationship Id="rId2" Type="http://schemas.openxmlformats.org/officeDocument/2006/relationships/tags" Target="../tags/tag54.xml"/><Relationship Id="rId1" Type="http://schemas.openxmlformats.org/officeDocument/2006/relationships/vmlDrawing" Target="../drawings/vmlDrawing13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57.xml"/><Relationship Id="rId10" Type="http://schemas.openxmlformats.org/officeDocument/2006/relationships/image" Target="../media/image14.emf"/><Relationship Id="rId4" Type="http://schemas.openxmlformats.org/officeDocument/2006/relationships/tags" Target="../tags/tag56.xml"/><Relationship Id="rId9" Type="http://schemas.openxmlformats.org/officeDocument/2006/relationships/image" Target="../media/image3.w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59.xml"/><Relationship Id="rId7" Type="http://schemas.openxmlformats.org/officeDocument/2006/relationships/slideLayout" Target="../slideLayouts/slideLayout7.xml"/><Relationship Id="rId12" Type="http://schemas.openxmlformats.org/officeDocument/2006/relationships/chart" Target="../charts/chart17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62.xml"/><Relationship Id="rId11" Type="http://schemas.openxmlformats.org/officeDocument/2006/relationships/chart" Target="../charts/chart16.xml"/><Relationship Id="rId5" Type="http://schemas.openxmlformats.org/officeDocument/2006/relationships/tags" Target="../tags/tag61.xml"/><Relationship Id="rId10" Type="http://schemas.openxmlformats.org/officeDocument/2006/relationships/image" Target="../media/image3.wmf"/><Relationship Id="rId4" Type="http://schemas.openxmlformats.org/officeDocument/2006/relationships/tags" Target="../tags/tag60.xml"/><Relationship Id="rId9" Type="http://schemas.openxmlformats.org/officeDocument/2006/relationships/image" Target="../media/image2.wm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13" Type="http://schemas.openxmlformats.org/officeDocument/2006/relationships/chart" Target="../charts/chart21.xml"/><Relationship Id="rId3" Type="http://schemas.openxmlformats.org/officeDocument/2006/relationships/tags" Target="../tags/tag64.xml"/><Relationship Id="rId7" Type="http://schemas.openxmlformats.org/officeDocument/2006/relationships/oleObject" Target="../embeddings/oleObject15.bin"/><Relationship Id="rId12" Type="http://schemas.openxmlformats.org/officeDocument/2006/relationships/chart" Target="../charts/chart20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5.vml"/><Relationship Id="rId6" Type="http://schemas.openxmlformats.org/officeDocument/2006/relationships/slideLayout" Target="../slideLayouts/slideLayout7.xml"/><Relationship Id="rId11" Type="http://schemas.openxmlformats.org/officeDocument/2006/relationships/chart" Target="../charts/chart19.xml"/><Relationship Id="rId5" Type="http://schemas.openxmlformats.org/officeDocument/2006/relationships/tags" Target="../tags/tag66.xml"/><Relationship Id="rId10" Type="http://schemas.openxmlformats.org/officeDocument/2006/relationships/chart" Target="../charts/chart18.xml"/><Relationship Id="rId4" Type="http://schemas.openxmlformats.org/officeDocument/2006/relationships/tags" Target="../tags/tag65.xml"/><Relationship Id="rId9" Type="http://schemas.openxmlformats.org/officeDocument/2006/relationships/image" Target="../media/image3.w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68.xml"/><Relationship Id="rId7" Type="http://schemas.openxmlformats.org/officeDocument/2006/relationships/slideLayout" Target="../slideLayouts/slideLayout7.xml"/><Relationship Id="rId12" Type="http://schemas.openxmlformats.org/officeDocument/2006/relationships/chart" Target="../charts/chart2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6.vml"/><Relationship Id="rId6" Type="http://schemas.openxmlformats.org/officeDocument/2006/relationships/tags" Target="../tags/tag71.xml"/><Relationship Id="rId11" Type="http://schemas.openxmlformats.org/officeDocument/2006/relationships/chart" Target="../charts/chart22.xml"/><Relationship Id="rId5" Type="http://schemas.openxmlformats.org/officeDocument/2006/relationships/tags" Target="../tags/tag70.xml"/><Relationship Id="rId10" Type="http://schemas.openxmlformats.org/officeDocument/2006/relationships/image" Target="../media/image3.wmf"/><Relationship Id="rId4" Type="http://schemas.openxmlformats.org/officeDocument/2006/relationships/tags" Target="../tags/tag69.xml"/><Relationship Id="rId9" Type="http://schemas.openxmlformats.org/officeDocument/2006/relationships/image" Target="../media/image2.w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3.wmf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13" Type="http://schemas.openxmlformats.org/officeDocument/2006/relationships/image" Target="../media/image17.emf"/><Relationship Id="rId3" Type="http://schemas.openxmlformats.org/officeDocument/2006/relationships/tags" Target="../tags/tag7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6.emf"/><Relationship Id="rId2" Type="http://schemas.openxmlformats.org/officeDocument/2006/relationships/tags" Target="../tags/tag72.xml"/><Relationship Id="rId1" Type="http://schemas.openxmlformats.org/officeDocument/2006/relationships/vmlDrawing" Target="../drawings/vmlDrawing17.vml"/><Relationship Id="rId6" Type="http://schemas.openxmlformats.org/officeDocument/2006/relationships/tags" Target="../tags/tag76.xml"/><Relationship Id="rId11" Type="http://schemas.openxmlformats.org/officeDocument/2006/relationships/image" Target="../media/image15.emf"/><Relationship Id="rId5" Type="http://schemas.openxmlformats.org/officeDocument/2006/relationships/tags" Target="../tags/tag75.xml"/><Relationship Id="rId10" Type="http://schemas.openxmlformats.org/officeDocument/2006/relationships/image" Target="../media/image3.wmf"/><Relationship Id="rId4" Type="http://schemas.openxmlformats.org/officeDocument/2006/relationships/tags" Target="../tags/tag74.xml"/><Relationship Id="rId9" Type="http://schemas.openxmlformats.org/officeDocument/2006/relationships/image" Target="../media/image2.w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13" Type="http://schemas.openxmlformats.org/officeDocument/2006/relationships/chart" Target="../charts/chart25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chart" Target="../charts/chart2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18.vml"/><Relationship Id="rId6" Type="http://schemas.openxmlformats.org/officeDocument/2006/relationships/tags" Target="../tags/tag81.xml"/><Relationship Id="rId11" Type="http://schemas.openxmlformats.org/officeDocument/2006/relationships/image" Target="../media/image3.wmf"/><Relationship Id="rId5" Type="http://schemas.openxmlformats.org/officeDocument/2006/relationships/tags" Target="../tags/tag80.xml"/><Relationship Id="rId10" Type="http://schemas.openxmlformats.org/officeDocument/2006/relationships/image" Target="../media/image2.wmf"/><Relationship Id="rId4" Type="http://schemas.openxmlformats.org/officeDocument/2006/relationships/tags" Target="../tags/tag79.xml"/><Relationship Id="rId9" Type="http://schemas.openxmlformats.org/officeDocument/2006/relationships/oleObject" Target="../embeddings/oleObject18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wmf"/><Relationship Id="rId3" Type="http://schemas.openxmlformats.org/officeDocument/2006/relationships/tags" Target="../tags/tag84.xml"/><Relationship Id="rId7" Type="http://schemas.openxmlformats.org/officeDocument/2006/relationships/image" Target="../media/image2.wmf"/><Relationship Id="rId2" Type="http://schemas.openxmlformats.org/officeDocument/2006/relationships/tags" Target="../tags/tag83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8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chart" Target="../charts/chart3.xml"/><Relationship Id="rId3" Type="http://schemas.openxmlformats.org/officeDocument/2006/relationships/tags" Target="../tags/tag5.xml"/><Relationship Id="rId7" Type="http://schemas.openxmlformats.org/officeDocument/2006/relationships/notesSlide" Target="../notesSlides/notesSlide2.xml"/><Relationship Id="rId12" Type="http://schemas.openxmlformats.org/officeDocument/2006/relationships/chart" Target="../charts/char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7.xml"/><Relationship Id="rId11" Type="http://schemas.openxmlformats.org/officeDocument/2006/relationships/chart" Target="../charts/chart1.xml"/><Relationship Id="rId5" Type="http://schemas.openxmlformats.org/officeDocument/2006/relationships/tags" Target="../tags/tag7.xml"/><Relationship Id="rId10" Type="http://schemas.openxmlformats.org/officeDocument/2006/relationships/image" Target="../media/image3.wmf"/><Relationship Id="rId4" Type="http://schemas.openxmlformats.org/officeDocument/2006/relationships/tags" Target="../tags/tag6.xml"/><Relationship Id="rId9" Type="http://schemas.openxmlformats.org/officeDocument/2006/relationships/image" Target="../media/image2.w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13" Type="http://schemas.openxmlformats.org/officeDocument/2006/relationships/chart" Target="../charts/chart5.xml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chart" Target="../charts/chart4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3.wmf"/><Relationship Id="rId5" Type="http://schemas.openxmlformats.org/officeDocument/2006/relationships/tags" Target="../tags/tag11.xml"/><Relationship Id="rId10" Type="http://schemas.openxmlformats.org/officeDocument/2006/relationships/image" Target="../media/image2.wmf"/><Relationship Id="rId4" Type="http://schemas.openxmlformats.org/officeDocument/2006/relationships/tags" Target="../tags/tag10.xml"/><Relationship Id="rId9" Type="http://schemas.openxmlformats.org/officeDocument/2006/relationships/oleObject" Target="../embeddings/oleObject2.bin"/><Relationship Id="rId14" Type="http://schemas.openxmlformats.org/officeDocument/2006/relationships/chart" Target="../charts/char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13" Type="http://schemas.openxmlformats.org/officeDocument/2006/relationships/image" Target="../media/image4.png"/><Relationship Id="rId3" Type="http://schemas.openxmlformats.org/officeDocument/2006/relationships/tags" Target="../tags/tag14.xml"/><Relationship Id="rId7" Type="http://schemas.openxmlformats.org/officeDocument/2006/relationships/slideLayout" Target="../slideLayouts/slideLayout7.xml"/><Relationship Id="rId12" Type="http://schemas.openxmlformats.org/officeDocument/2006/relationships/chart" Target="../charts/chart8.xml"/><Relationship Id="rId2" Type="http://schemas.openxmlformats.org/officeDocument/2006/relationships/tags" Target="../tags/tag13.xml"/><Relationship Id="rId1" Type="http://schemas.openxmlformats.org/officeDocument/2006/relationships/vmlDrawing" Target="../drawings/vmlDrawing3.vml"/><Relationship Id="rId6" Type="http://schemas.openxmlformats.org/officeDocument/2006/relationships/tags" Target="../tags/tag17.xml"/><Relationship Id="rId11" Type="http://schemas.openxmlformats.org/officeDocument/2006/relationships/chart" Target="../charts/chart7.xml"/><Relationship Id="rId5" Type="http://schemas.openxmlformats.org/officeDocument/2006/relationships/tags" Target="../tags/tag16.xml"/><Relationship Id="rId10" Type="http://schemas.openxmlformats.org/officeDocument/2006/relationships/image" Target="../media/image3.wmf"/><Relationship Id="rId4" Type="http://schemas.openxmlformats.org/officeDocument/2006/relationships/tags" Target="../tags/tag15.xml"/><Relationship Id="rId9" Type="http://schemas.openxmlformats.org/officeDocument/2006/relationships/image" Target="../media/image2.w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ags" Target="../tags/tag19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7.xml"/><Relationship Id="rId11" Type="http://schemas.openxmlformats.org/officeDocument/2006/relationships/chart" Target="../charts/chart9.xml"/><Relationship Id="rId5" Type="http://schemas.openxmlformats.org/officeDocument/2006/relationships/tags" Target="../tags/tag21.xml"/><Relationship Id="rId10" Type="http://schemas.openxmlformats.org/officeDocument/2006/relationships/image" Target="../media/image5.png"/><Relationship Id="rId4" Type="http://schemas.openxmlformats.org/officeDocument/2006/relationships/tags" Target="../tags/tag20.xml"/><Relationship Id="rId9" Type="http://schemas.openxmlformats.org/officeDocument/2006/relationships/image" Target="../media/image3.w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ags" Target="../tags/tag23.xml"/><Relationship Id="rId7" Type="http://schemas.openxmlformats.org/officeDocument/2006/relationships/oleObject" Target="../embeddings/oleObject5.bin"/><Relationship Id="rId2" Type="http://schemas.openxmlformats.org/officeDocument/2006/relationships/tags" Target="../tags/tag22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8.wmf"/><Relationship Id="rId5" Type="http://schemas.openxmlformats.org/officeDocument/2006/relationships/tags" Target="../tags/tag25.xml"/><Relationship Id="rId10" Type="http://schemas.openxmlformats.org/officeDocument/2006/relationships/image" Target="../media/image7.wmf"/><Relationship Id="rId4" Type="http://schemas.openxmlformats.org/officeDocument/2006/relationships/tags" Target="../tags/tag24.xml"/><Relationship Id="rId9" Type="http://schemas.openxmlformats.org/officeDocument/2006/relationships/image" Target="../media/image3.w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13" Type="http://schemas.openxmlformats.org/officeDocument/2006/relationships/image" Target="../media/image9.png"/><Relationship Id="rId3" Type="http://schemas.openxmlformats.org/officeDocument/2006/relationships/tags" Target="../tags/tag27.xml"/><Relationship Id="rId7" Type="http://schemas.openxmlformats.org/officeDocument/2006/relationships/slideLayout" Target="../slideLayouts/slideLayout7.xml"/><Relationship Id="rId12" Type="http://schemas.openxmlformats.org/officeDocument/2006/relationships/hyperlink" Target="http://greshams-law.com/wp-content/uploads/2011/09/Federal-Reserve-Balance-Sheet-Chart-ASSETS.png" TargetMode="External"/><Relationship Id="rId2" Type="http://schemas.openxmlformats.org/officeDocument/2006/relationships/tags" Target="../tags/tag26.xml"/><Relationship Id="rId1" Type="http://schemas.openxmlformats.org/officeDocument/2006/relationships/vmlDrawing" Target="../drawings/vmlDrawing6.vml"/><Relationship Id="rId6" Type="http://schemas.openxmlformats.org/officeDocument/2006/relationships/tags" Target="../tags/tag30.xml"/><Relationship Id="rId11" Type="http://schemas.openxmlformats.org/officeDocument/2006/relationships/chart" Target="../charts/chart10.xml"/><Relationship Id="rId5" Type="http://schemas.openxmlformats.org/officeDocument/2006/relationships/tags" Target="../tags/tag29.xml"/><Relationship Id="rId10" Type="http://schemas.openxmlformats.org/officeDocument/2006/relationships/image" Target="../media/image3.wmf"/><Relationship Id="rId4" Type="http://schemas.openxmlformats.org/officeDocument/2006/relationships/tags" Target="../tags/tag28.xml"/><Relationship Id="rId9" Type="http://schemas.openxmlformats.org/officeDocument/2006/relationships/image" Target="../media/image2.w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wmf"/><Relationship Id="rId3" Type="http://schemas.openxmlformats.org/officeDocument/2006/relationships/tags" Target="../tags/tag32.xml"/><Relationship Id="rId7" Type="http://schemas.openxmlformats.org/officeDocument/2006/relationships/oleObject" Target="../embeddings/oleObject7.bin"/><Relationship Id="rId2" Type="http://schemas.openxmlformats.org/officeDocument/2006/relationships/tags" Target="../tags/tag31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11.emf"/><Relationship Id="rId5" Type="http://schemas.openxmlformats.org/officeDocument/2006/relationships/tags" Target="../tags/tag34.xml"/><Relationship Id="rId10" Type="http://schemas.openxmlformats.org/officeDocument/2006/relationships/image" Target="../media/image10.emf"/><Relationship Id="rId4" Type="http://schemas.openxmlformats.org/officeDocument/2006/relationships/tags" Target="../tags/tag33.xml"/><Relationship Id="rId9" Type="http://schemas.openxmlformats.org/officeDocument/2006/relationships/image" Target="../media/image3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Rectangle 13"/>
          <p:cNvSpPr>
            <a:spLocks noChangeArrowheads="1"/>
          </p:cNvSpPr>
          <p:nvPr/>
        </p:nvSpPr>
        <p:spPr bwMode="auto">
          <a:xfrm>
            <a:off x="468313" y="2119313"/>
            <a:ext cx="5759450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l-PL" sz="2000" b="1" dirty="0" smtClean="0">
                <a:solidFill>
                  <a:srgbClr val="FF6600"/>
                </a:solidFill>
                <a:latin typeface="Tahoma" pitchFamily="34" charset="0"/>
                <a:cs typeface="Tahoma" pitchFamily="34" charset="0"/>
              </a:rPr>
              <a:t>Marcin Mazurek</a:t>
            </a:r>
            <a:endParaRPr lang="en-GB" sz="2000" b="1" dirty="0">
              <a:solidFill>
                <a:srgbClr val="FF6600"/>
              </a:solidFill>
              <a:latin typeface="Tahoma" pitchFamily="34" charset="0"/>
              <a:cs typeface="Tahoma" pitchFamily="34" charset="0"/>
            </a:endParaRPr>
          </a:p>
          <a:p>
            <a:r>
              <a:rPr lang="pl-PL" sz="2000" b="1" dirty="0" smtClean="0">
                <a:solidFill>
                  <a:srgbClr val="FF6600"/>
                </a:solidFill>
                <a:latin typeface="Tahoma" pitchFamily="34" charset="0"/>
                <a:cs typeface="Tahoma" pitchFamily="34" charset="0"/>
              </a:rPr>
              <a:t>Senior </a:t>
            </a:r>
            <a:r>
              <a:rPr lang="pl-PL" sz="2000" b="1" dirty="0" err="1" smtClean="0">
                <a:solidFill>
                  <a:srgbClr val="FF6600"/>
                </a:solidFill>
                <a:latin typeface="Tahoma" pitchFamily="34" charset="0"/>
                <a:cs typeface="Tahoma" pitchFamily="34" charset="0"/>
              </a:rPr>
              <a:t>Analyst</a:t>
            </a:r>
            <a:endParaRPr lang="en-GB" sz="2000" b="1" dirty="0">
              <a:solidFill>
                <a:srgbClr val="FF66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5362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4988" y="138113"/>
            <a:ext cx="7277100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871538"/>
            <a:r>
              <a:rPr lang="pl-PL" sz="2800" b="1" dirty="0" smtClean="0">
                <a:solidFill>
                  <a:schemeClr val="tx1"/>
                </a:solidFill>
                <a:latin typeface="Tahoma" pitchFamily="34" charset="0"/>
              </a:rPr>
              <a:t>Prognozy rozwoju polskiej gospodarki</a:t>
            </a:r>
            <a:endParaRPr lang="pl-PL" sz="2800" b="1" dirty="0">
              <a:solidFill>
                <a:schemeClr val="tx1"/>
              </a:solidFill>
              <a:latin typeface="Tahoma" pitchFamily="34" charset="0"/>
            </a:endParaRPr>
          </a:p>
        </p:txBody>
      </p:sp>
      <p:pic>
        <p:nvPicPr>
          <p:cNvPr id="15363" name="Picture 14" descr="lewy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4000" y="87313"/>
            <a:ext cx="317500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4" name="Picture 13" descr="prawy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58961" y="121548"/>
            <a:ext cx="315912" cy="814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320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7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3203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1650" y="115888"/>
            <a:ext cx="7526338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871538"/>
            <a:r>
              <a:rPr lang="pl-PL" sz="2800" b="1" dirty="0" smtClean="0">
                <a:solidFill>
                  <a:schemeClr val="tx1"/>
                </a:solidFill>
                <a:latin typeface="Tahoma" pitchFamily="34" charset="0"/>
              </a:rPr>
              <a:t>Obniżka stóp w październiku już wyceniona.</a:t>
            </a:r>
            <a:endParaRPr lang="en-GB" sz="2800" b="1" dirty="0">
              <a:solidFill>
                <a:schemeClr val="tx1"/>
              </a:solidFill>
              <a:latin typeface="Tahoma" pitchFamily="34" charset="0"/>
            </a:endParaRPr>
          </a:p>
        </p:txBody>
      </p:sp>
      <p:pic>
        <p:nvPicPr>
          <p:cNvPr id="563204" name="Picture 14" descr="lewy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79388" y="0"/>
            <a:ext cx="395287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3205" name="Picture 13" descr="prawy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403975" y="0"/>
            <a:ext cx="3635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3206" name="Text Box 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51425" y="1520825"/>
            <a:ext cx="3738563" cy="20519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Ryzyka dla wzrostu w dół (były zbilansowane). Ryzyka dla inflacji zbilansowane (były w górę).</a:t>
            </a:r>
            <a:endParaRPr lang="pl-PL" sz="1200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endParaRPr lang="pl-PL" sz="1200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Powrót 12M LTRO</a:t>
            </a:r>
            <a:endParaRPr lang="pl-PL" sz="1200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endParaRPr lang="pl-PL" sz="1200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i="1" dirty="0" err="1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Separation</a:t>
            </a:r>
            <a:r>
              <a:rPr lang="pl-PL" sz="1200" b="1" i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</a:t>
            </a:r>
            <a:r>
              <a:rPr lang="pl-PL" sz="1200" b="1" i="1" dirty="0" err="1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principle</a:t>
            </a:r>
            <a:endParaRPr lang="pl-PL" sz="1200" b="1" i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</a:pPr>
            <a:endParaRPr lang="pl-PL" sz="1200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</p:txBody>
      </p:sp>
      <p:graphicFrame>
        <p:nvGraphicFramePr>
          <p:cNvPr id="11" name="Wykres 10"/>
          <p:cNvGraphicFramePr/>
          <p:nvPr/>
        </p:nvGraphicFramePr>
        <p:xfrm>
          <a:off x="225782" y="3772888"/>
          <a:ext cx="4639516" cy="2676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2" name="Wykres 11"/>
          <p:cNvGraphicFramePr/>
          <p:nvPr/>
        </p:nvGraphicFramePr>
        <p:xfrm>
          <a:off x="4779033" y="3743864"/>
          <a:ext cx="4202629" cy="26701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83176" y="1078302"/>
            <a:ext cx="4880530" cy="2689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801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49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8019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92138" y="293688"/>
            <a:ext cx="7964487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871538"/>
            <a:r>
              <a:rPr lang="pl-PL" sz="2800" b="1" dirty="0" smtClean="0">
                <a:solidFill>
                  <a:schemeClr val="tx1"/>
                </a:solidFill>
                <a:latin typeface="Tahoma" pitchFamily="34" charset="0"/>
              </a:rPr>
              <a:t>Trudności finansowania w USD europejskich banków</a:t>
            </a:r>
            <a:endParaRPr lang="en-GB" sz="2800" b="1" dirty="0">
              <a:solidFill>
                <a:schemeClr val="tx1"/>
              </a:solidFill>
              <a:latin typeface="Tahoma" pitchFamily="34" charset="0"/>
            </a:endParaRPr>
          </a:p>
        </p:txBody>
      </p:sp>
      <p:pic>
        <p:nvPicPr>
          <p:cNvPr id="598020" name="Picture 14" descr="lewy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79388" y="146050"/>
            <a:ext cx="395287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8021" name="Picture 13" descr="prawy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134100" y="101600"/>
            <a:ext cx="3635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8022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022350" y="1595438"/>
            <a:ext cx="6880225" cy="413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72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52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7299" name="Rectangle 3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344488" y="88900"/>
            <a:ext cx="7319962" cy="825500"/>
          </a:xfrm>
          <a:solidFill>
            <a:schemeClr val="bg1"/>
          </a:solidFill>
        </p:spPr>
        <p:txBody>
          <a:bodyPr lIns="91440" tIns="45720" rIns="91440" bIns="45720"/>
          <a:lstStyle/>
          <a:p>
            <a:pPr eaLnBrk="1" hangingPunct="1"/>
            <a:r>
              <a:rPr lang="pl-PL" sz="2800" b="1" dirty="0" smtClean="0">
                <a:latin typeface="Tahoma" pitchFamily="34" charset="0"/>
                <a:cs typeface="Arial" charset="0"/>
              </a:rPr>
              <a:t>EURUSD pod presją</a:t>
            </a:r>
            <a:endParaRPr lang="en-GB" sz="2800" b="1" dirty="0" smtClean="0">
              <a:latin typeface="Tahoma" pitchFamily="34" charset="0"/>
              <a:cs typeface="Arial" charset="0"/>
            </a:endParaRPr>
          </a:p>
        </p:txBody>
      </p:sp>
      <p:pic>
        <p:nvPicPr>
          <p:cNvPr id="567300" name="Picture 14" descr="lew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563" y="11113"/>
            <a:ext cx="395287" cy="100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7301" name="Picture 13" descr="prawy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884613" y="0"/>
            <a:ext cx="3635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Wykres 8"/>
          <p:cNvGraphicFramePr/>
          <p:nvPr/>
        </p:nvGraphicFramePr>
        <p:xfrm>
          <a:off x="714735" y="1035529"/>
          <a:ext cx="7575250" cy="33811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72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73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7299" name="Rectangle 3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344488" y="88900"/>
            <a:ext cx="7319962" cy="825500"/>
          </a:xfrm>
          <a:solidFill>
            <a:schemeClr val="bg1"/>
          </a:solidFill>
        </p:spPr>
        <p:txBody>
          <a:bodyPr lIns="91440" tIns="45720" rIns="91440" bIns="45720"/>
          <a:lstStyle/>
          <a:p>
            <a:pPr eaLnBrk="1" hangingPunct="1"/>
            <a:r>
              <a:rPr lang="pl-PL" sz="2800" b="1" dirty="0" smtClean="0">
                <a:latin typeface="Tahoma" pitchFamily="34" charset="0"/>
                <a:cs typeface="Arial" charset="0"/>
              </a:rPr>
              <a:t>Perspektywy</a:t>
            </a:r>
            <a:endParaRPr lang="en-GB" sz="2800" b="1" dirty="0" smtClean="0">
              <a:latin typeface="Tahoma" pitchFamily="34" charset="0"/>
              <a:cs typeface="Arial" charset="0"/>
            </a:endParaRPr>
          </a:p>
        </p:txBody>
      </p:sp>
      <p:pic>
        <p:nvPicPr>
          <p:cNvPr id="567300" name="Picture 14" descr="lewy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5563" y="11113"/>
            <a:ext cx="395287" cy="100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7301" name="Picture 13" descr="prawy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703513" y="0"/>
            <a:ext cx="3635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11150" y="1263650"/>
            <a:ext cx="8096249" cy="45326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 smtClean="0">
                <a:solidFill>
                  <a:schemeClr val="tx1"/>
                </a:solidFill>
                <a:latin typeface="Tahoma" charset="0"/>
                <a:cs typeface="Arial" charset="0"/>
              </a:rPr>
              <a:t> NADCHODZĄ LATA KONSOLIDACJI FISKALNEJ</a:t>
            </a: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 smtClean="0">
                <a:solidFill>
                  <a:schemeClr val="tx1"/>
                </a:solidFill>
                <a:latin typeface="Tahoma" charset="0"/>
                <a:cs typeface="Arial" charset="0"/>
              </a:rPr>
              <a:t> USA w lepszej sytuacji niż strefa euro (łatwiejsza koordynacja, bardziej odważny </a:t>
            </a:r>
            <a:r>
              <a:rPr lang="pl-PL" sz="1200" b="1" dirty="0" err="1" smtClean="0">
                <a:solidFill>
                  <a:schemeClr val="tx1"/>
                </a:solidFill>
                <a:latin typeface="Tahoma" charset="0"/>
                <a:cs typeface="Arial" charset="0"/>
              </a:rPr>
              <a:t>bank</a:t>
            </a:r>
            <a:r>
              <a:rPr lang="pl-PL" sz="1200" b="1" dirty="0" smtClean="0">
                <a:solidFill>
                  <a:schemeClr val="tx1"/>
                </a:solidFill>
                <a:latin typeface="Tahoma" charset="0"/>
                <a:cs typeface="Arial" charset="0"/>
              </a:rPr>
              <a:t> centralny)</a:t>
            </a: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 smtClean="0">
                <a:solidFill>
                  <a:schemeClr val="tx1"/>
                </a:solidFill>
                <a:latin typeface="Tahoma" charset="0"/>
                <a:cs typeface="Arial" charset="0"/>
              </a:rPr>
              <a:t>Silne spowolnienie zarówno w strefie euro jak i w USA; kontynuacja recesji w niektórych krajach strefy euro (niestety dodatnia korelacja pomiędzy złą sytuacją finansów publicznych a tempem wzrostu PKB)</a:t>
            </a: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 smtClean="0">
                <a:solidFill>
                  <a:schemeClr val="tx1"/>
                </a:solidFill>
                <a:latin typeface="Tahoma" charset="0"/>
                <a:cs typeface="Arial" charset="0"/>
              </a:rPr>
              <a:t>Brak podwyżek stóp procentowych w USA, obniżki w strefie euro</a:t>
            </a: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 smtClean="0">
                <a:solidFill>
                  <a:schemeClr val="tx1"/>
                </a:solidFill>
                <a:latin typeface="Tahoma" charset="0"/>
                <a:cs typeface="Arial" charset="0"/>
              </a:rPr>
              <a:t> Kontynuacja luźnej polityki pieniężnej</a:t>
            </a: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 smtClean="0">
                <a:solidFill>
                  <a:schemeClr val="tx1"/>
                </a:solidFill>
                <a:latin typeface="Tahoma" charset="0"/>
                <a:cs typeface="Arial" charset="0"/>
              </a:rPr>
              <a:t> Konieczność szybkiego uruchomienia EFSF w strefie euro (plotki o zwiększeniu „siły rażenia” EFSF do 2 </a:t>
            </a:r>
            <a:r>
              <a:rPr lang="pl-PL" sz="1200" b="1" dirty="0" err="1" smtClean="0">
                <a:solidFill>
                  <a:schemeClr val="tx1"/>
                </a:solidFill>
                <a:latin typeface="Tahoma" charset="0"/>
                <a:cs typeface="Arial" charset="0"/>
              </a:rPr>
              <a:t>bn</a:t>
            </a:r>
            <a:r>
              <a:rPr lang="pl-PL" sz="1200" b="1" dirty="0" smtClean="0">
                <a:solidFill>
                  <a:schemeClr val="tx1"/>
                </a:solidFill>
                <a:latin typeface="Tahoma" charset="0"/>
                <a:cs typeface="Arial" charset="0"/>
              </a:rPr>
              <a:t> EUR, na razie tylko plotki)</a:t>
            </a: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 smtClean="0">
                <a:solidFill>
                  <a:schemeClr val="tx1"/>
                </a:solidFill>
                <a:latin typeface="Tahoma" charset="0"/>
                <a:cs typeface="Arial" charset="0"/>
              </a:rPr>
              <a:t> Programy pomocowe z wyśrubowanymi kryteriami kontroli (większa częstotliwość, mniejsza tolerancja odchyleń)</a:t>
            </a: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 smtClean="0">
                <a:solidFill>
                  <a:schemeClr val="tx1"/>
                </a:solidFill>
                <a:latin typeface="Tahoma" charset="0"/>
                <a:cs typeface="Arial" charset="0"/>
              </a:rPr>
              <a:t> Programy pomocowe w większym stopniu ukierunkowane na poprawę konkurencyjności krajów (koszty pracy, technologia, infrastruktura) </a:t>
            </a: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 smtClean="0">
                <a:solidFill>
                  <a:schemeClr val="tx1"/>
                </a:solidFill>
                <a:latin typeface="Tahoma" charset="0"/>
                <a:cs typeface="Arial" charset="0"/>
              </a:rPr>
              <a:t> Kontrolowana niewypłacalność Grecji (po „uprzątnięciu” sytuacji wśród innych krajów peryferyjnych, naprawie bilansów banków)</a:t>
            </a: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 smtClean="0">
                <a:solidFill>
                  <a:schemeClr val="tx1"/>
                </a:solidFill>
                <a:latin typeface="Tahoma" charset="0"/>
                <a:cs typeface="Arial" charset="0"/>
              </a:rPr>
              <a:t> Scenariusze skrajne (rozpad strefy euro, wyjście Niemiec ze strefy euro)</a:t>
            </a: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endParaRPr lang="pl-PL" sz="1200" b="1" dirty="0" smtClean="0">
              <a:solidFill>
                <a:schemeClr val="tx1"/>
              </a:solidFill>
              <a:latin typeface="Tahoma" charset="0"/>
              <a:cs typeface="Arial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</a:pPr>
            <a:endParaRPr lang="pl-PL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513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88913"/>
            <a:ext cx="8229600" cy="1008062"/>
          </a:xfrm>
        </p:spPr>
        <p:txBody>
          <a:bodyPr lIns="91440" tIns="45720" rIns="91440" bIns="45720"/>
          <a:lstStyle/>
          <a:p>
            <a:pPr eaLnBrk="1" hangingPunct="1"/>
            <a:r>
              <a:rPr lang="pl-PL" sz="2800" b="1" dirty="0" smtClean="0">
                <a:latin typeface="Tahoma" pitchFamily="34" charset="0"/>
              </a:rPr>
              <a:t> Polska</a:t>
            </a:r>
            <a:endParaRPr lang="en-GB" sz="2800" b="1" dirty="0" smtClean="0">
              <a:latin typeface="Tahoma" pitchFamily="34" charset="0"/>
            </a:endParaRPr>
          </a:p>
        </p:txBody>
      </p:sp>
      <p:pic>
        <p:nvPicPr>
          <p:cNvPr id="576514" name="Picture 14" descr="lewy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8925" y="260350"/>
            <a:ext cx="395288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6515" name="Picture 13" descr="prawy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3875" y="263525"/>
            <a:ext cx="3635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814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14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8147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1650" y="115888"/>
            <a:ext cx="7526338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871538"/>
            <a:r>
              <a:rPr lang="pl-PL" sz="2800" b="1" dirty="0" smtClean="0">
                <a:solidFill>
                  <a:schemeClr val="tx1"/>
                </a:solidFill>
                <a:latin typeface="Tahoma" pitchFamily="34" charset="0"/>
              </a:rPr>
              <a:t>Strona podażowa dotknięta spowolnieniem</a:t>
            </a:r>
            <a:endParaRPr lang="en-GB" sz="2800" b="1" dirty="0">
              <a:solidFill>
                <a:schemeClr val="tx1"/>
              </a:solidFill>
              <a:latin typeface="Tahoma" pitchFamily="34" charset="0"/>
            </a:endParaRPr>
          </a:p>
        </p:txBody>
      </p:sp>
      <p:pic>
        <p:nvPicPr>
          <p:cNvPr id="518148" name="Picture 14" descr="lewy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98438" y="28575"/>
            <a:ext cx="395287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8149" name="Picture 13" descr="prawy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505450" y="0"/>
            <a:ext cx="3635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8150" name="Text Box 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286375" y="1081088"/>
            <a:ext cx="3482975" cy="17195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 PMI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w spadkowym trendzie</a:t>
            </a:r>
            <a:endParaRPr lang="pl-PL" sz="1200" b="1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 smtClean="0">
                <a:solidFill>
                  <a:srgbClr val="FF3300"/>
                </a:solidFill>
                <a:latin typeface="Tahoma" pitchFamily="34" charset="0"/>
                <a:cs typeface="Tahoma" pitchFamily="34" charset="0"/>
              </a:rPr>
              <a:t> Firmy przestały zatrudniać.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Firmy mają również problem z podnoszeniem cen.</a:t>
            </a: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 Budownictwo kompensowało do tej pory słabe inwestycje prywatne. Niestety obecnie „budowlanka” mocno spowolniła podczas wakacji. </a:t>
            </a:r>
            <a:endParaRPr lang="pl-PL" sz="1200" b="1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graphicFrame>
        <p:nvGraphicFramePr>
          <p:cNvPr id="9" name="Wykres 8"/>
          <p:cNvGraphicFramePr/>
          <p:nvPr/>
        </p:nvGraphicFramePr>
        <p:xfrm>
          <a:off x="0" y="1066261"/>
          <a:ext cx="5114925" cy="2724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0" name="Wykres 9"/>
          <p:cNvGraphicFramePr>
            <a:graphicFrameLocks/>
          </p:cNvGraphicFramePr>
          <p:nvPr/>
        </p:nvGraphicFramePr>
        <p:xfrm>
          <a:off x="4755032" y="3588588"/>
          <a:ext cx="4173308" cy="28984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825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5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8259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1650" y="115888"/>
            <a:ext cx="7526338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871538"/>
            <a:r>
              <a:rPr lang="pl-PL" sz="2800" b="1" dirty="0" smtClean="0">
                <a:solidFill>
                  <a:schemeClr val="tx1"/>
                </a:solidFill>
                <a:latin typeface="Tahoma" pitchFamily="34" charset="0"/>
              </a:rPr>
              <a:t>Spada produkcja dóbr kapitałowych</a:t>
            </a:r>
            <a:endParaRPr lang="en-GB" sz="2800" b="1" dirty="0">
              <a:solidFill>
                <a:schemeClr val="tx1"/>
              </a:solidFill>
              <a:latin typeface="Tahoma" pitchFamily="34" charset="0"/>
            </a:endParaRPr>
          </a:p>
        </p:txBody>
      </p:sp>
      <p:pic>
        <p:nvPicPr>
          <p:cNvPr id="608260" name="Picture 14" descr="lewy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98438" y="28575"/>
            <a:ext cx="395287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8261" name="Picture 13" descr="prawy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973888" y="0"/>
            <a:ext cx="3635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8262" name="Picture 5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04850" y="1276350"/>
            <a:ext cx="7515225" cy="4838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139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39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139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1650" y="115888"/>
            <a:ext cx="7526338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871538"/>
            <a:r>
              <a:rPr lang="pl-PL" sz="2800" b="1" dirty="0" smtClean="0">
                <a:solidFill>
                  <a:schemeClr val="tx1"/>
                </a:solidFill>
                <a:latin typeface="Tahoma" pitchFamily="34" charset="0"/>
              </a:rPr>
              <a:t>Czarne chmury zbierają się nad konsumpcją</a:t>
            </a:r>
            <a:endParaRPr lang="en-GB" sz="2800" b="1" dirty="0">
              <a:solidFill>
                <a:schemeClr val="tx1"/>
              </a:solidFill>
              <a:latin typeface="Tahoma" pitchFamily="34" charset="0"/>
            </a:endParaRPr>
          </a:p>
        </p:txBody>
      </p:sp>
      <p:pic>
        <p:nvPicPr>
          <p:cNvPr id="571396" name="Picture 14" descr="lewy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98438" y="28575"/>
            <a:ext cx="395287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1397" name="Picture 13" descr="prawy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161088" y="0"/>
            <a:ext cx="3635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71398" name="Text Box 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203825" y="1174750"/>
            <a:ext cx="3668713" cy="249517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Konsumenci „atakowani” przez wyższe koszty obsługi kredytu oraz wyższe ceny.</a:t>
            </a: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Te czynniki są w stanie obniżyć ścieżkę konsumpcji o 0,5-1,2pp.</a:t>
            </a:r>
            <a:endParaRPr lang="pl-PL" sz="1200" b="1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</a:pPr>
            <a:endParaRPr lang="pl-PL" sz="1200" b="1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Wysoka dynamika płac to pieść przeszłości.</a:t>
            </a:r>
            <a:endParaRPr lang="pl-PL" sz="1200" b="1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</a:pPr>
            <a:r>
              <a:rPr lang="pl-PL" sz="1200" b="1" dirty="0" smtClean="0">
                <a:solidFill>
                  <a:srgbClr val="FF0000"/>
                </a:solidFill>
                <a:latin typeface="Tahoma" pitchFamily="34" charset="0"/>
                <a:cs typeface="Tahoma" pitchFamily="34" charset="0"/>
              </a:rPr>
              <a:t> </a:t>
            </a:r>
            <a:endParaRPr lang="pl-PL" sz="1200" b="1" dirty="0">
              <a:solidFill>
                <a:srgbClr val="FF0000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endParaRPr lang="pl-PL" sz="1200" b="1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</a:pPr>
            <a:endParaRPr lang="pl-PL" sz="1200" b="1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  <p:graphicFrame>
        <p:nvGraphicFramePr>
          <p:cNvPr id="11" name="Wykres 10"/>
          <p:cNvGraphicFramePr/>
          <p:nvPr/>
        </p:nvGraphicFramePr>
        <p:xfrm>
          <a:off x="303198" y="1094162"/>
          <a:ext cx="4536222" cy="24599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2" name="Wykres 11"/>
          <p:cNvGraphicFramePr/>
          <p:nvPr/>
        </p:nvGraphicFramePr>
        <p:xfrm>
          <a:off x="346329" y="3726611"/>
          <a:ext cx="4501716" cy="27359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723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3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723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92138" y="293688"/>
            <a:ext cx="8551862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871538"/>
            <a:r>
              <a:rPr lang="pl-PL" sz="2800" b="1" dirty="0" smtClean="0">
                <a:solidFill>
                  <a:schemeClr val="tx1"/>
                </a:solidFill>
                <a:latin typeface="Tahoma" pitchFamily="34" charset="0"/>
              </a:rPr>
              <a:t>Banki centralne w EM interweniują w obronie walut</a:t>
            </a:r>
            <a:endParaRPr lang="en-GB" sz="2000" b="1" dirty="0">
              <a:solidFill>
                <a:schemeClr val="tx1"/>
              </a:solidFill>
              <a:latin typeface="Tahoma" pitchFamily="34" charset="0"/>
            </a:endParaRPr>
          </a:p>
        </p:txBody>
      </p:sp>
      <p:pic>
        <p:nvPicPr>
          <p:cNvPr id="607236" name="Picture 14" descr="lewy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79388" y="146050"/>
            <a:ext cx="395287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7237" name="Picture 13" descr="prawy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691563" y="125413"/>
            <a:ext cx="3635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Wykres 8"/>
          <p:cNvGraphicFramePr/>
          <p:nvPr/>
        </p:nvGraphicFramePr>
        <p:xfrm>
          <a:off x="200285" y="1276709"/>
          <a:ext cx="4716772" cy="24757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1" name="Wykres 10"/>
          <p:cNvGraphicFramePr/>
          <p:nvPr/>
        </p:nvGraphicFramePr>
        <p:xfrm>
          <a:off x="252043" y="3700731"/>
          <a:ext cx="4475232" cy="2737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2" name="Wykres 11"/>
          <p:cNvGraphicFramePr/>
          <p:nvPr/>
        </p:nvGraphicFramePr>
        <p:xfrm>
          <a:off x="4787659" y="3588588"/>
          <a:ext cx="3992153" cy="2815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13" name="Wykres 12"/>
          <p:cNvGraphicFramePr/>
          <p:nvPr/>
        </p:nvGraphicFramePr>
        <p:xfrm>
          <a:off x="4856673" y="1276710"/>
          <a:ext cx="4019908" cy="23895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422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2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4227" name="Rectangle 5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433388" y="138113"/>
            <a:ext cx="8050212" cy="877887"/>
          </a:xfrm>
        </p:spPr>
        <p:txBody>
          <a:bodyPr/>
          <a:lstStyle/>
          <a:p>
            <a:pPr eaLnBrk="1" hangingPunct="1"/>
            <a:r>
              <a:rPr lang="pl-PL" sz="2800" b="1" dirty="0" smtClean="0">
                <a:latin typeface="Tahoma" pitchFamily="34" charset="0"/>
                <a:cs typeface="Arial" charset="0"/>
              </a:rPr>
              <a:t>NBP również interweniuje, jednak dość późno</a:t>
            </a:r>
            <a:endParaRPr lang="en-GB" sz="2800" b="1" dirty="0" smtClean="0">
              <a:latin typeface="Tahoma" pitchFamily="34" charset="0"/>
              <a:cs typeface="Arial" charset="0"/>
            </a:endParaRPr>
          </a:p>
        </p:txBody>
      </p:sp>
      <p:pic>
        <p:nvPicPr>
          <p:cNvPr id="564228" name="Picture 14" descr="lewy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79388" y="0"/>
            <a:ext cx="317500" cy="1125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4229" name="Picture 13" descr="prawy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515225" y="0"/>
            <a:ext cx="363538" cy="1125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4230" name="Text Box 18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64063" y="1431925"/>
            <a:ext cx="4346575" cy="1606594"/>
          </a:xfrm>
          <a:prstGeom prst="rect">
            <a:avLst/>
          </a:prstGeom>
          <a:solidFill>
            <a:schemeClr val="bg1"/>
          </a:solidFill>
          <a:ln w="254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  <a:buFont typeface="Wingdings" pitchFamily="2" charset="2"/>
              <a:buChar char="q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</a:rPr>
              <a:t>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</a:rPr>
              <a:t>NBP sprzedało około 1mld EUR (do wykorzystania pozostało około 65mld rezerw oraz dodatkowo środki europejskie będące w dyspozycji MF).</a:t>
            </a:r>
            <a:endParaRPr lang="pl-PL" sz="1200" b="1" dirty="0">
              <a:solidFill>
                <a:schemeClr val="tx1"/>
              </a:solidFill>
              <a:latin typeface="Tahoma" pitchFamily="34" charset="0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Font typeface="Wingdings" pitchFamily="2" charset="2"/>
              <a:buChar char="q"/>
            </a:pP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</a:rPr>
              <a:t> </a:t>
            </a:r>
            <a:r>
              <a:rPr lang="pl-PL" sz="1200" b="1" dirty="0" smtClean="0">
                <a:solidFill>
                  <a:srgbClr val="FF3300"/>
                </a:solidFill>
                <a:latin typeface="Tahoma" pitchFamily="34" charset="0"/>
              </a:rPr>
              <a:t>Nie oczekujemy, że interwencja jest wstępem do podwyżek stóp procentowych.</a:t>
            </a:r>
          </a:p>
          <a:p>
            <a:pPr>
              <a:lnSpc>
                <a:spcPct val="120000"/>
              </a:lnSpc>
              <a:spcBef>
                <a:spcPct val="50000"/>
              </a:spcBef>
            </a:pPr>
            <a:endParaRPr lang="pl-PL" sz="1200" b="1" dirty="0" smtClean="0">
              <a:solidFill>
                <a:srgbClr val="FF3300"/>
              </a:solidFill>
              <a:latin typeface="Tahoma" pitchFamily="34" charset="0"/>
            </a:endParaRPr>
          </a:p>
        </p:txBody>
      </p:sp>
      <p:graphicFrame>
        <p:nvGraphicFramePr>
          <p:cNvPr id="10" name="Wykres 9"/>
          <p:cNvGraphicFramePr/>
          <p:nvPr/>
        </p:nvGraphicFramePr>
        <p:xfrm>
          <a:off x="214186" y="1178309"/>
          <a:ext cx="4090396" cy="2539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484404" name="Oval 52"/>
          <p:cNvSpPr>
            <a:spLocks noChangeArrowheads="1"/>
          </p:cNvSpPr>
          <p:nvPr/>
        </p:nvSpPr>
        <p:spPr bwMode="gray">
          <a:xfrm>
            <a:off x="3295650" y="2022475"/>
            <a:ext cx="1063625" cy="1195388"/>
          </a:xfrm>
          <a:prstGeom prst="ellipse">
            <a:avLst/>
          </a:prstGeom>
          <a:noFill/>
          <a:ln w="38100" algn="ctr">
            <a:solidFill>
              <a:srgbClr val="FF3300"/>
            </a:solidFill>
            <a:prstDash val="sysDot"/>
            <a:round/>
            <a:headEnd/>
            <a:tailEnd/>
          </a:ln>
          <a:effectLst>
            <a:outerShdw dist="25400" dir="5400000" algn="ctr" rotWithShape="0">
              <a:schemeClr val="accent2"/>
            </a:outerShdw>
          </a:effectLst>
        </p:spPr>
        <p:txBody>
          <a:bodyPr wrap="none" lIns="0" tIns="91440" rIns="0" bIns="91440" anchor="ctr"/>
          <a:lstStyle/>
          <a:p>
            <a:pPr algn="ctr">
              <a:defRPr/>
            </a:pPr>
            <a:endParaRPr lang="pl-PL"/>
          </a:p>
        </p:txBody>
      </p:sp>
      <p:graphicFrame>
        <p:nvGraphicFramePr>
          <p:cNvPr id="11" name="Wykres 10"/>
          <p:cNvGraphicFramePr/>
          <p:nvPr/>
        </p:nvGraphicFramePr>
        <p:xfrm>
          <a:off x="191623" y="3743864"/>
          <a:ext cx="4138837" cy="2652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9"/>
          <p:cNvSpPr>
            <a:spLocks noGrp="1" noChangeArrowheads="1"/>
          </p:cNvSpPr>
          <p:nvPr>
            <p:ph type="title" idx="4294967295"/>
          </p:nvPr>
        </p:nvSpPr>
        <p:spPr>
          <a:xfrm>
            <a:off x="468313" y="73025"/>
            <a:ext cx="5272087" cy="908050"/>
          </a:xfrm>
        </p:spPr>
        <p:txBody>
          <a:bodyPr lIns="91440" tIns="45720" rIns="91440" bIns="45720"/>
          <a:lstStyle/>
          <a:p>
            <a:pPr eaLnBrk="1" hangingPunct="1"/>
            <a:r>
              <a:rPr lang="pl-PL" sz="2800" b="1" dirty="0" smtClean="0">
                <a:solidFill>
                  <a:srgbClr val="000000"/>
                </a:solidFill>
                <a:latin typeface="Tahoma" pitchFamily="34" charset="0"/>
              </a:rPr>
              <a:t>Gospodarka globalna</a:t>
            </a:r>
            <a:endParaRPr lang="en-GB" sz="2800" b="1" dirty="0" smtClean="0">
              <a:solidFill>
                <a:srgbClr val="000000"/>
              </a:solidFill>
              <a:latin typeface="Tahoma" pitchFamily="34" charset="0"/>
            </a:endParaRPr>
          </a:p>
        </p:txBody>
      </p:sp>
      <p:pic>
        <p:nvPicPr>
          <p:cNvPr id="17410" name="Picture 13" descr="prawy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45813" y="43130"/>
            <a:ext cx="315913" cy="814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411" name="Picture 14" descr="lewy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4000" y="87313"/>
            <a:ext cx="317500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525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5251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5251" name="Rectangle 3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433388" y="88900"/>
            <a:ext cx="8293100" cy="825500"/>
          </a:xfrm>
        </p:spPr>
        <p:txBody>
          <a:bodyPr lIns="91440" tIns="45720" rIns="91440" bIns="45720"/>
          <a:lstStyle/>
          <a:p>
            <a:pPr eaLnBrk="1" hangingPunct="1"/>
            <a:r>
              <a:rPr lang="pl-PL" sz="2400" b="1" dirty="0" smtClean="0">
                <a:latin typeface="Tahoma" pitchFamily="34" charset="0"/>
                <a:cs typeface="Arial" charset="0"/>
              </a:rPr>
              <a:t>Polski dług chwilowo pod presją</a:t>
            </a:r>
            <a:endParaRPr lang="en-GB" sz="2400" b="1" dirty="0" smtClean="0">
              <a:latin typeface="Tahoma" pitchFamily="34" charset="0"/>
              <a:cs typeface="Arial" charset="0"/>
            </a:endParaRPr>
          </a:p>
        </p:txBody>
      </p:sp>
      <p:pic>
        <p:nvPicPr>
          <p:cNvPr id="565252" name="Picture 14" descr="lewy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0488" y="11113"/>
            <a:ext cx="395287" cy="100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5253" name="Picture 13" descr="prawy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367338" y="0"/>
            <a:ext cx="3635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5254" name="Text Box 18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832350" y="1408113"/>
            <a:ext cx="4152900" cy="164352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  <a:buFont typeface="Wingdings" pitchFamily="2" charset="2"/>
              <a:buChar char="q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Koniec bardzo pozytywnego środowiska dla polskich obligacji. Chociaż poduszka płynnościowa jest duża (55mld zł) i podaże niskie, słabszy złoty i osłabienie wzrostu polskiej gospodarki mogą być przeszkodą dla różowego scenariusza dla finansów publicznych. Również wynik wyborów nie wydaje się już taki pewny jak przed 2 miesiącami. </a:t>
            </a:r>
            <a:endParaRPr lang="pl-PL" sz="1200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</p:txBody>
      </p:sp>
      <p:pic>
        <p:nvPicPr>
          <p:cNvPr id="565255" name="Picture 3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53988" y="1163638"/>
            <a:ext cx="4505325" cy="266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5256" name="Picture 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204788" y="4040188"/>
            <a:ext cx="4524375" cy="2419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5257" name="Picture 6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708525" y="3911600"/>
            <a:ext cx="4314825" cy="248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627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275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627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6725" y="77788"/>
            <a:ext cx="8169275" cy="7747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/>
            <a:r>
              <a:rPr lang="pl-PL" sz="28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Złoty słabszy i pod presją</a:t>
            </a:r>
            <a:endParaRPr lang="en-GB" sz="2800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</p:txBody>
      </p:sp>
      <p:pic>
        <p:nvPicPr>
          <p:cNvPr id="566276" name="Picture 14" descr="lewy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4938" y="41275"/>
            <a:ext cx="317500" cy="998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6277" name="Picture 13" descr="prawy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978400" y="0"/>
            <a:ext cx="3635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6278" name="Text Box 18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072063" y="1249363"/>
            <a:ext cx="4071937" cy="184626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  <a:buFont typeface="Wingdings" pitchFamily="2" charset="2"/>
              <a:buChar char="q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Czynniki wpływające na PLN:</a:t>
            </a:r>
            <a:endParaRPr lang="pl-PL" sz="1200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  <a:p>
            <a:pPr lvl="1">
              <a:lnSpc>
                <a:spcPct val="120000"/>
              </a:lnSpc>
              <a:spcBef>
                <a:spcPct val="50000"/>
              </a:spcBef>
              <a:buFont typeface="Arial" charset="0"/>
              <a:buChar char="•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Aktywność MF i NBP </a:t>
            </a: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(+)</a:t>
            </a:r>
          </a:p>
          <a:p>
            <a:pPr lvl="1">
              <a:lnSpc>
                <a:spcPct val="120000"/>
              </a:lnSpc>
              <a:spcBef>
                <a:spcPct val="50000"/>
              </a:spcBef>
              <a:buFont typeface="Arial" charset="0"/>
              <a:buChar char="•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Faza </a:t>
            </a:r>
            <a:r>
              <a:rPr lang="pl-PL" sz="1200" b="1" dirty="0" err="1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risk-off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</a:t>
            </a: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(-/?)</a:t>
            </a:r>
          </a:p>
          <a:p>
            <a:pPr lvl="1">
              <a:lnSpc>
                <a:spcPct val="120000"/>
              </a:lnSpc>
              <a:spcBef>
                <a:spcPct val="50000"/>
              </a:spcBef>
              <a:buFont typeface="Arial" charset="0"/>
              <a:buChar char="•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Cykliczność </a:t>
            </a: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(-)</a:t>
            </a:r>
          </a:p>
          <a:p>
            <a:pPr lvl="1">
              <a:spcBef>
                <a:spcPct val="50000"/>
              </a:spcBef>
              <a:buFont typeface="Arial" charset="0"/>
              <a:buChar char="•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bilans płatniczy  (teraz -, średni okres </a:t>
            </a: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+)</a:t>
            </a:r>
          </a:p>
          <a:p>
            <a:pPr lvl="1">
              <a:lnSpc>
                <a:spcPct val="120000"/>
              </a:lnSpc>
              <a:spcBef>
                <a:spcPct val="50000"/>
              </a:spcBef>
              <a:buFont typeface="Arial" charset="0"/>
              <a:buChar char="•"/>
            </a:pPr>
            <a:endParaRPr lang="pl-PL" sz="1200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566279" name="Text Box 1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114925" y="2892425"/>
            <a:ext cx="2536825" cy="84946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lnSpc>
                <a:spcPct val="120000"/>
              </a:lnSpc>
              <a:spcBef>
                <a:spcPct val="50000"/>
              </a:spcBef>
              <a:buFont typeface="Wingdings" pitchFamily="2" charset="2"/>
              <a:buChar char="q"/>
            </a:pPr>
            <a:endParaRPr lang="pl-PL" sz="1200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  <a:p>
            <a:pPr>
              <a:lnSpc>
                <a:spcPct val="120000"/>
              </a:lnSpc>
              <a:spcBef>
                <a:spcPct val="50000"/>
              </a:spcBef>
              <a:buFont typeface="Wingdings" pitchFamily="2" charset="2"/>
              <a:buChar char="q"/>
            </a:pPr>
            <a:r>
              <a:rPr lang="pl-PL" sz="1200" b="1" dirty="0">
                <a:solidFill>
                  <a:srgbClr val="FF0000"/>
                </a:solidFill>
                <a:latin typeface="Tahoma" pitchFamily="34" charset="0"/>
                <a:cs typeface="Arial" charset="0"/>
              </a:rPr>
              <a:t> </a:t>
            </a:r>
            <a:r>
              <a:rPr lang="pl-PL" sz="1200" b="1" dirty="0" smtClean="0">
                <a:solidFill>
                  <a:srgbClr val="FF0000"/>
                </a:solidFill>
                <a:latin typeface="Tahoma" pitchFamily="34" charset="0"/>
                <a:cs typeface="Arial" charset="0"/>
              </a:rPr>
              <a:t>ZŁOTY JEST WALUTĄ CYKLICZNĄ</a:t>
            </a:r>
            <a:endParaRPr lang="pl-PL" sz="1200" b="1" dirty="0">
              <a:solidFill>
                <a:srgbClr val="FF0000"/>
              </a:solidFill>
              <a:latin typeface="Tahoma" pitchFamily="34" charset="0"/>
              <a:cs typeface="Arial" charset="0"/>
            </a:endParaRPr>
          </a:p>
        </p:txBody>
      </p:sp>
      <p:graphicFrame>
        <p:nvGraphicFramePr>
          <p:cNvPr id="12" name="Wykres 11"/>
          <p:cNvGraphicFramePr/>
          <p:nvPr/>
        </p:nvGraphicFramePr>
        <p:xfrm>
          <a:off x="133821" y="1182223"/>
          <a:ext cx="4567575" cy="26392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14" name="Wykres 13"/>
          <p:cNvGraphicFramePr/>
          <p:nvPr/>
        </p:nvGraphicFramePr>
        <p:xfrm>
          <a:off x="4183811" y="3717985"/>
          <a:ext cx="4612239" cy="27611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72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76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7299" name="Rectangle 3"/>
          <p:cNvSpPr>
            <a:spLocks noGrp="1" noChangeArrowheads="1"/>
          </p:cNvSpPr>
          <p:nvPr>
            <p:ph type="title" idx="4294967295"/>
            <p:custDataLst>
              <p:tags r:id="rId3"/>
            </p:custDataLst>
          </p:nvPr>
        </p:nvSpPr>
        <p:spPr>
          <a:xfrm>
            <a:off x="344488" y="88900"/>
            <a:ext cx="7319962" cy="825500"/>
          </a:xfrm>
          <a:solidFill>
            <a:schemeClr val="bg1"/>
          </a:solidFill>
        </p:spPr>
        <p:txBody>
          <a:bodyPr lIns="91440" tIns="45720" rIns="91440" bIns="45720"/>
          <a:lstStyle/>
          <a:p>
            <a:pPr eaLnBrk="1" hangingPunct="1"/>
            <a:r>
              <a:rPr lang="pl-PL" sz="2800" b="1" dirty="0" smtClean="0">
                <a:latin typeface="Tahoma" pitchFamily="34" charset="0"/>
                <a:cs typeface="Arial" charset="0"/>
              </a:rPr>
              <a:t>Perspektywy</a:t>
            </a:r>
            <a:endParaRPr lang="en-GB" sz="2800" b="1" dirty="0" smtClean="0">
              <a:latin typeface="Tahoma" pitchFamily="34" charset="0"/>
              <a:cs typeface="Arial" charset="0"/>
            </a:endParaRPr>
          </a:p>
        </p:txBody>
      </p:sp>
      <p:pic>
        <p:nvPicPr>
          <p:cNvPr id="567300" name="Picture 14" descr="lewy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5563" y="11113"/>
            <a:ext cx="395287" cy="1008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7301" name="Picture 13" descr="prawy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640013" y="38100"/>
            <a:ext cx="3635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 Box 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11150" y="1263650"/>
            <a:ext cx="8096249" cy="279679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 smtClean="0">
                <a:solidFill>
                  <a:schemeClr val="tx1"/>
                </a:solidFill>
                <a:latin typeface="Tahoma" charset="0"/>
                <a:cs typeface="Arial" charset="0"/>
              </a:rPr>
              <a:t> Lekkie spowolnienie w gospodarce polskiej (ratuje nas odporna na kryzys gospodarka niemiecka), podyktowane głównie czynnikami lokalnymi (konsumpcja prywatna i publiczna, inwestycje infrastrukturalne). W średnim terminie ujawnią się dodatkowo pozytywne efekty związane ze słabością złotego.</a:t>
            </a: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endParaRPr lang="pl-PL" sz="1200" b="1" dirty="0" smtClean="0">
              <a:solidFill>
                <a:schemeClr val="tx1"/>
              </a:solidFill>
              <a:latin typeface="Tahoma" charset="0"/>
              <a:cs typeface="Arial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 smtClean="0">
                <a:solidFill>
                  <a:schemeClr val="tx1"/>
                </a:solidFill>
                <a:latin typeface="Tahoma" charset="0"/>
                <a:cs typeface="Arial" charset="0"/>
              </a:rPr>
              <a:t> Możliwość dużych ruchów (awersja do ryzyka) na EURPLN, połączona z możliwością interwencji walutowych.</a:t>
            </a: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endParaRPr lang="pl-PL" sz="1200" b="1" dirty="0" smtClean="0">
              <a:solidFill>
                <a:schemeClr val="tx1"/>
              </a:solidFill>
              <a:latin typeface="Tahoma" charset="0"/>
              <a:cs typeface="Arial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 smtClean="0">
                <a:solidFill>
                  <a:schemeClr val="tx1"/>
                </a:solidFill>
                <a:latin typeface="Tahoma" charset="0"/>
                <a:cs typeface="Arial" charset="0"/>
              </a:rPr>
              <a:t> Powrót na ścieżkę wyższego wzrostu gospodarki polskiej w 2013 roku.</a:t>
            </a: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endParaRPr lang="pl-PL" sz="1200" b="1" dirty="0" smtClean="0">
              <a:solidFill>
                <a:schemeClr val="tx1"/>
              </a:solidFill>
              <a:latin typeface="Tahoma" charset="0"/>
              <a:cs typeface="Arial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</a:pPr>
            <a:endParaRPr lang="pl-PL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037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71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0371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60363" y="490538"/>
            <a:ext cx="8550275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871538"/>
            <a:r>
              <a:rPr lang="pl-PL" sz="2400" b="1" dirty="0" smtClean="0">
                <a:solidFill>
                  <a:schemeClr val="tx1"/>
                </a:solidFill>
                <a:latin typeface="Tahoma" pitchFamily="34" charset="0"/>
              </a:rPr>
              <a:t>USA: udrożnione łańcuchy dostaw, spada inflacja.</a:t>
            </a:r>
            <a:endParaRPr lang="pl-PL" sz="2400" b="1" dirty="0">
              <a:solidFill>
                <a:schemeClr val="tx1"/>
              </a:solidFill>
              <a:latin typeface="Tahoma" pitchFamily="34" charset="0"/>
            </a:endParaRPr>
          </a:p>
          <a:p>
            <a:pPr defTabSz="871538"/>
            <a:endParaRPr lang="en-GB" sz="2400" b="1" dirty="0">
              <a:solidFill>
                <a:schemeClr val="tx1"/>
              </a:solidFill>
              <a:latin typeface="Tahoma" pitchFamily="34" charset="0"/>
            </a:endParaRPr>
          </a:p>
        </p:txBody>
      </p:sp>
      <p:pic>
        <p:nvPicPr>
          <p:cNvPr id="570372" name="Picture 14" descr="lewy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8900" y="0"/>
            <a:ext cx="395288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0374" name="Picture 13" descr="prawy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944000" y="0"/>
            <a:ext cx="3635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6" name="Wykres 15"/>
          <p:cNvGraphicFramePr/>
          <p:nvPr/>
        </p:nvGraphicFramePr>
        <p:xfrm>
          <a:off x="122043" y="1051030"/>
          <a:ext cx="4449958" cy="28308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22" name="Wykres 21"/>
          <p:cNvGraphicFramePr/>
          <p:nvPr/>
        </p:nvGraphicFramePr>
        <p:xfrm>
          <a:off x="5020574" y="3795622"/>
          <a:ext cx="3881886" cy="2682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15" name="Strzałka zakrzywiona w dół 14"/>
          <p:cNvSpPr/>
          <p:nvPr/>
        </p:nvSpPr>
        <p:spPr bwMode="auto">
          <a:xfrm>
            <a:off x="8464550" y="4300538"/>
            <a:ext cx="515938" cy="366712"/>
          </a:xfrm>
          <a:prstGeom prst="curvedDownArrow">
            <a:avLst/>
          </a:prstGeom>
          <a:solidFill>
            <a:srgbClr val="FF33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dist="25400" dir="5400000" algn="ctr" rotWithShape="0">
              <a:schemeClr val="accent2"/>
            </a:outerShdw>
          </a:effectLst>
        </p:spPr>
        <p:txBody>
          <a:bodyPr lIns="0" tIns="91440" rIns="0" bIns="91440" anchor="ctr"/>
          <a:lstStyle/>
          <a:p>
            <a:pPr algn="ctr">
              <a:defRPr/>
            </a:pPr>
            <a:endParaRPr lang="pl-PL"/>
          </a:p>
        </p:txBody>
      </p:sp>
      <p:graphicFrame>
        <p:nvGraphicFramePr>
          <p:cNvPr id="24" name="Wykres 23"/>
          <p:cNvGraphicFramePr/>
          <p:nvPr/>
        </p:nvGraphicFramePr>
        <p:xfrm>
          <a:off x="4761780" y="911614"/>
          <a:ext cx="4161167" cy="29443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9" name="Elipsa 18"/>
          <p:cNvSpPr/>
          <p:nvPr/>
        </p:nvSpPr>
        <p:spPr bwMode="auto">
          <a:xfrm>
            <a:off x="6630988" y="1846263"/>
            <a:ext cx="722312" cy="531812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dist="25400" dir="5400000" algn="ctr" rotWithShape="0">
              <a:schemeClr val="accent2"/>
            </a:outerShdw>
          </a:effectLst>
        </p:spPr>
        <p:txBody>
          <a:bodyPr lIns="0" tIns="91440" rIns="0" bIns="91440" anchor="ctr"/>
          <a:lstStyle/>
          <a:p>
            <a:pPr algn="ctr">
              <a:defRPr/>
            </a:pPr>
            <a:endParaRPr lang="pl-PL"/>
          </a:p>
        </p:txBody>
      </p:sp>
      <p:sp>
        <p:nvSpPr>
          <p:cNvPr id="21" name="Elipsa 20"/>
          <p:cNvSpPr/>
          <p:nvPr/>
        </p:nvSpPr>
        <p:spPr bwMode="auto">
          <a:xfrm>
            <a:off x="7820025" y="1490663"/>
            <a:ext cx="722313" cy="530225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dist="25400" dir="5400000" algn="ctr" rotWithShape="0">
              <a:schemeClr val="accent2"/>
            </a:outerShdw>
          </a:effectLst>
        </p:spPr>
        <p:txBody>
          <a:bodyPr lIns="0" tIns="91440" rIns="0" bIns="91440" anchor="ctr"/>
          <a:lstStyle/>
          <a:p>
            <a:pPr algn="ctr">
              <a:defRPr/>
            </a:pPr>
            <a:endParaRPr lang="pl-PL"/>
          </a:p>
        </p:txBody>
      </p:sp>
      <p:sp>
        <p:nvSpPr>
          <p:cNvPr id="20" name="Elipsa 19"/>
          <p:cNvSpPr/>
          <p:nvPr/>
        </p:nvSpPr>
        <p:spPr bwMode="auto">
          <a:xfrm>
            <a:off x="5089525" y="1849438"/>
            <a:ext cx="722313" cy="530225"/>
          </a:xfrm>
          <a:prstGeom prst="ellips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>
            <a:outerShdw dist="25400" dir="5400000" algn="ctr" rotWithShape="0">
              <a:schemeClr val="accent2"/>
            </a:outerShdw>
          </a:effectLst>
        </p:spPr>
        <p:txBody>
          <a:bodyPr lIns="0" tIns="91440" rIns="0" bIns="91440" anchor="ctr"/>
          <a:lstStyle/>
          <a:p>
            <a:pPr algn="ctr">
              <a:defRPr/>
            </a:pPr>
            <a:endParaRPr lang="pl-PL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04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49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0499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0688" y="417513"/>
            <a:ext cx="8112125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871538"/>
            <a:r>
              <a:rPr lang="pl-PL" sz="2400" b="1" dirty="0" smtClean="0">
                <a:solidFill>
                  <a:schemeClr val="tx1"/>
                </a:solidFill>
                <a:latin typeface="Tahoma" pitchFamily="34" charset="0"/>
              </a:rPr>
              <a:t>USA: Ale i tak spowolnienie eskaluje</a:t>
            </a:r>
            <a:endParaRPr lang="pl-PL" sz="2400" b="1" dirty="0">
              <a:solidFill>
                <a:schemeClr val="tx1"/>
              </a:solidFill>
              <a:latin typeface="Tahoma" pitchFamily="34" charset="0"/>
            </a:endParaRPr>
          </a:p>
          <a:p>
            <a:pPr defTabSz="871538"/>
            <a:endParaRPr lang="en-GB" sz="2400" b="1" dirty="0">
              <a:solidFill>
                <a:schemeClr val="tx1"/>
              </a:solidFill>
              <a:latin typeface="Tahoma" pitchFamily="34" charset="0"/>
            </a:endParaRPr>
          </a:p>
        </p:txBody>
      </p:sp>
      <p:pic>
        <p:nvPicPr>
          <p:cNvPr id="490500" name="Picture 14" descr="lewy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82563" y="0"/>
            <a:ext cx="395287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0501" name="Picture 13" descr="prawy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968520" y="0"/>
            <a:ext cx="3635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0502" name="Text Box 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47651" y="4019550"/>
            <a:ext cx="3824018" cy="202119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Indeks zaskoczeń na minimach</a:t>
            </a:r>
            <a:endParaRPr lang="pl-PL" sz="1200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ISM w przemyśle blisko kluczowego poziomu 50pkt.</a:t>
            </a:r>
            <a:endParaRPr lang="pl-PL" sz="1200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Zerowe tempo wzrostu zatrudnienia (biorąc pod uwagę demografię, USA potrzebuję około 150tys. nowych miejsc pracy miesięcznie aby stopa bezrobocia się ustabilizowała).</a:t>
            </a:r>
            <a:endParaRPr lang="pl-PL" sz="1200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</a:pPr>
            <a:endParaRPr lang="pl-PL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</p:txBody>
      </p:sp>
      <p:graphicFrame>
        <p:nvGraphicFramePr>
          <p:cNvPr id="9" name="Wykres 8"/>
          <p:cNvGraphicFramePr/>
          <p:nvPr/>
        </p:nvGraphicFramePr>
        <p:xfrm>
          <a:off x="119271" y="966158"/>
          <a:ext cx="4435475" cy="29695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10" name="Wykres 9"/>
          <p:cNvGraphicFramePr/>
          <p:nvPr/>
        </p:nvGraphicFramePr>
        <p:xfrm>
          <a:off x="4638743" y="954072"/>
          <a:ext cx="4231481" cy="2862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13" name="Wykres 12"/>
          <p:cNvGraphicFramePr/>
          <p:nvPr/>
        </p:nvGraphicFramePr>
        <p:xfrm>
          <a:off x="4313208" y="3933645"/>
          <a:ext cx="4491801" cy="2712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579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79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579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4988" y="138113"/>
            <a:ext cx="7920037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871538"/>
            <a:r>
              <a:rPr lang="pl-PL" sz="2800" b="1" dirty="0" smtClean="0">
                <a:solidFill>
                  <a:schemeClr val="tx1"/>
                </a:solidFill>
                <a:latin typeface="Tahoma" pitchFamily="34" charset="0"/>
              </a:rPr>
              <a:t>Strefa euro również dotknięta spowolnieniem</a:t>
            </a:r>
            <a:endParaRPr lang="pl-PL" sz="2800" b="1" dirty="0">
              <a:solidFill>
                <a:schemeClr val="tx1"/>
              </a:solidFill>
              <a:latin typeface="Tahoma" pitchFamily="34" charset="0"/>
            </a:endParaRPr>
          </a:p>
        </p:txBody>
      </p:sp>
      <p:pic>
        <p:nvPicPr>
          <p:cNvPr id="545796" name="Picture 14" descr="lewy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79388" y="0"/>
            <a:ext cx="395287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5797" name="Picture 13" descr="prawy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879352" y="0"/>
            <a:ext cx="3635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45798" name="Text Box 7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665663" y="1665288"/>
            <a:ext cx="4089400" cy="79624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PMI w przemyśle już poniżej 50pkt.</a:t>
            </a:r>
            <a:endParaRPr lang="pl-PL" sz="1200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  <a:p>
            <a:pPr eaLnBrk="0" hangingPunct="0">
              <a:lnSpc>
                <a:spcPct val="12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Gospodarka niemiecka pozostaje niewiarygodnie silna – uniknie recesji.</a:t>
            </a:r>
            <a:endParaRPr lang="pl-PL" sz="1200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</p:txBody>
      </p:sp>
      <p:graphicFrame>
        <p:nvGraphicFramePr>
          <p:cNvPr id="12" name="Wykres 11"/>
          <p:cNvGraphicFramePr/>
          <p:nvPr/>
        </p:nvGraphicFramePr>
        <p:xfrm>
          <a:off x="208899" y="1184649"/>
          <a:ext cx="4078429" cy="2395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3" name="Wykres 12"/>
          <p:cNvGraphicFramePr/>
          <p:nvPr/>
        </p:nvGraphicFramePr>
        <p:xfrm>
          <a:off x="205394" y="3786996"/>
          <a:ext cx="4228583" cy="2730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pic>
        <p:nvPicPr>
          <p:cNvPr id="545801" name="Picture 3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657725" y="3429000"/>
            <a:ext cx="4344988" cy="294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917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7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9171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92138" y="293688"/>
            <a:ext cx="7964487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871538"/>
            <a:r>
              <a:rPr lang="pl-PL" sz="2800" b="1" dirty="0" smtClean="0">
                <a:solidFill>
                  <a:schemeClr val="tx1"/>
                </a:solidFill>
                <a:latin typeface="Tahoma" pitchFamily="34" charset="0"/>
              </a:rPr>
              <a:t>ECB jako ostatni bastion przed efektem zarażenia.</a:t>
            </a:r>
            <a:endParaRPr lang="en-GB" sz="2800" b="1" dirty="0">
              <a:solidFill>
                <a:schemeClr val="tx1"/>
              </a:solidFill>
              <a:latin typeface="Tahoma" pitchFamily="34" charset="0"/>
            </a:endParaRPr>
          </a:p>
        </p:txBody>
      </p:sp>
      <p:pic>
        <p:nvPicPr>
          <p:cNvPr id="519172" name="Picture 14" descr="lewy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79388" y="146050"/>
            <a:ext cx="395287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9173" name="Picture 13" descr="prawy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620239" y="132871"/>
            <a:ext cx="3635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9174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6163" y="1303544"/>
            <a:ext cx="4301549" cy="279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Wykres 8"/>
          <p:cNvGraphicFramePr/>
          <p:nvPr/>
        </p:nvGraphicFramePr>
        <p:xfrm>
          <a:off x="1182434" y="4080294"/>
          <a:ext cx="6736615" cy="23956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pic>
        <p:nvPicPr>
          <p:cNvPr id="2" name="Picture 3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355333" y="1380228"/>
            <a:ext cx="4676152" cy="27777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917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0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9171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92138" y="293688"/>
            <a:ext cx="7964487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871538"/>
            <a:r>
              <a:rPr lang="pl-PL" sz="2800" b="1" dirty="0" smtClean="0">
                <a:solidFill>
                  <a:schemeClr val="tx1"/>
                </a:solidFill>
                <a:latin typeface="Tahoma" pitchFamily="34" charset="0"/>
              </a:rPr>
              <a:t>Strefa euro cierpi z powodu problemów strukturalnych. Obecnie leczenie głównie objawowe, </a:t>
            </a:r>
            <a:r>
              <a:rPr lang="pl-PL" sz="2800" b="1" dirty="0" err="1" smtClean="0">
                <a:solidFill>
                  <a:schemeClr val="tx1"/>
                </a:solidFill>
                <a:latin typeface="Tahoma" pitchFamily="34" charset="0"/>
              </a:rPr>
              <a:t>ale…pojawiają</a:t>
            </a:r>
            <a:r>
              <a:rPr lang="pl-PL" sz="2800" b="1" dirty="0" smtClean="0">
                <a:solidFill>
                  <a:schemeClr val="tx1"/>
                </a:solidFill>
                <a:latin typeface="Tahoma" pitchFamily="34" charset="0"/>
              </a:rPr>
              <a:t> się zmiany.</a:t>
            </a:r>
            <a:endParaRPr lang="en-GB" sz="2800" b="1" dirty="0">
              <a:solidFill>
                <a:schemeClr val="tx1"/>
              </a:solidFill>
              <a:latin typeface="Tahoma" pitchFamily="34" charset="0"/>
            </a:endParaRPr>
          </a:p>
        </p:txBody>
      </p:sp>
      <p:pic>
        <p:nvPicPr>
          <p:cNvPr id="519172" name="Picture 14" descr="lewy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79388" y="146050"/>
            <a:ext cx="395287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9173" name="Picture 13" descr="prawy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939416" y="150124"/>
            <a:ext cx="3635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408" name="Picture 8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502826" y="3307079"/>
            <a:ext cx="4577673" cy="3030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14409" name="Picture 9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05740" y="1511300"/>
            <a:ext cx="4276280" cy="2954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934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2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9347" name="Text Box 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20650" y="3935413"/>
            <a:ext cx="4581525" cy="1239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pPr eaLnBrk="0" hangingPunct="0">
              <a:lnSpc>
                <a:spcPct val="14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Niskie stopy do połowy 2013 roku</a:t>
            </a:r>
            <a:endParaRPr lang="pl-PL" sz="1200" b="1" dirty="0">
              <a:solidFill>
                <a:schemeClr val="tx1"/>
              </a:solidFill>
              <a:latin typeface="Tahoma" pitchFamily="34" charset="0"/>
              <a:cs typeface="Arial" charset="0"/>
            </a:endParaRPr>
          </a:p>
          <a:p>
            <a:pPr eaLnBrk="0" hangingPunct="0">
              <a:lnSpc>
                <a:spcPct val="14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„</a:t>
            </a:r>
            <a:r>
              <a:rPr lang="pl-PL" sz="1200" b="1" dirty="0" err="1">
                <a:solidFill>
                  <a:schemeClr val="tx1"/>
                </a:solidFill>
                <a:latin typeface="Tahoma" pitchFamily="34" charset="0"/>
                <a:cs typeface="Arial" charset="0"/>
              </a:rPr>
              <a:t>Operational</a:t>
            </a: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twist”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(400 </a:t>
            </a:r>
            <a:r>
              <a:rPr lang="pl-PL" sz="1200" b="1" dirty="0" err="1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bn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Arial" charset="0"/>
              </a:rPr>
              <a:t> USD), proteza QE3…</a:t>
            </a:r>
            <a:endParaRPr lang="pl-PL" sz="1200" b="1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>
              <a:lnSpc>
                <a:spcPct val="140000"/>
              </a:lnSpc>
              <a:spcBef>
                <a:spcPct val="20000"/>
              </a:spcBef>
              <a:buFont typeface="Wingdings" pitchFamily="2" charset="2"/>
              <a:buChar char="q"/>
            </a:pPr>
            <a:r>
              <a:rPr lang="pl-PL" sz="1200" b="1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 QE3.0 </a:t>
            </a:r>
            <a:r>
              <a:rPr lang="pl-PL" sz="1200" b="1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coraz bardziej się oddala</a:t>
            </a:r>
            <a:endParaRPr lang="pl-PL" sz="1200" b="1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eaLnBrk="0" hangingPunct="0">
              <a:lnSpc>
                <a:spcPct val="140000"/>
              </a:lnSpc>
              <a:spcBef>
                <a:spcPct val="20000"/>
              </a:spcBef>
            </a:pPr>
            <a:endParaRPr lang="pl-PL" sz="1200" b="1" dirty="0">
              <a:solidFill>
                <a:schemeClr val="tx1"/>
              </a:solidFill>
              <a:latin typeface="Tahoma" pitchFamily="34" charset="0"/>
            </a:endParaRPr>
          </a:p>
        </p:txBody>
      </p:sp>
      <p:sp>
        <p:nvSpPr>
          <p:cNvPr id="569348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1650" y="115888"/>
            <a:ext cx="7526338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871538"/>
            <a:r>
              <a:rPr lang="pl-PL" sz="2800" b="1" dirty="0" err="1" smtClean="0">
                <a:solidFill>
                  <a:schemeClr val="tx1"/>
                </a:solidFill>
                <a:latin typeface="Tahoma" pitchFamily="34" charset="0"/>
              </a:rPr>
              <a:t>Fed</a:t>
            </a:r>
            <a:r>
              <a:rPr lang="pl-PL" sz="2800" b="1" dirty="0" smtClean="0">
                <a:solidFill>
                  <a:schemeClr val="tx1"/>
                </a:solidFill>
                <a:latin typeface="Tahoma" pitchFamily="34" charset="0"/>
              </a:rPr>
              <a:t> powoli traci amunicję</a:t>
            </a:r>
            <a:endParaRPr lang="en-GB" sz="2800" b="1" dirty="0">
              <a:solidFill>
                <a:schemeClr val="tx1"/>
              </a:solidFill>
              <a:latin typeface="Tahoma" pitchFamily="34" charset="0"/>
            </a:endParaRPr>
          </a:p>
        </p:txBody>
      </p:sp>
      <p:pic>
        <p:nvPicPr>
          <p:cNvPr id="569349" name="Picture 14" descr="lewy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79388" y="0"/>
            <a:ext cx="395287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9350" name="Picture 13" descr="prawy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113338" y="0"/>
            <a:ext cx="363537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Wykres 8"/>
          <p:cNvGraphicFramePr/>
          <p:nvPr/>
        </p:nvGraphicFramePr>
        <p:xfrm>
          <a:off x="217538" y="1075047"/>
          <a:ext cx="5027322" cy="2910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pic>
        <p:nvPicPr>
          <p:cNvPr id="569352" name="Picture 4" descr="Federal Reserve Balance Sheet Chart - ASSETS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579938" y="3683000"/>
            <a:ext cx="4389437" cy="269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9353" name="pole tekstowe 9"/>
          <p:cNvSpPr txBox="1">
            <a:spLocks noChangeArrowheads="1"/>
          </p:cNvSpPr>
          <p:nvPr/>
        </p:nvSpPr>
        <p:spPr bwMode="auto">
          <a:xfrm>
            <a:off x="6202363" y="3683000"/>
            <a:ext cx="1244600" cy="3397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pl-PL" sz="1600" b="1">
                <a:solidFill>
                  <a:schemeClr val="tx1"/>
                </a:solidFill>
              </a:rPr>
              <a:t>Fed asset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597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45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5971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92138" y="293688"/>
            <a:ext cx="7964487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defTabSz="871538"/>
            <a:r>
              <a:rPr lang="pl-PL" sz="2800" b="1" dirty="0" smtClean="0">
                <a:solidFill>
                  <a:schemeClr val="tx1"/>
                </a:solidFill>
                <a:latin typeface="Tahoma" pitchFamily="34" charset="0"/>
              </a:rPr>
              <a:t>Presja na </a:t>
            </a:r>
            <a:r>
              <a:rPr lang="pl-PL" sz="2800" b="1" i="1" dirty="0" err="1" smtClean="0">
                <a:solidFill>
                  <a:schemeClr val="tx1"/>
                </a:solidFill>
                <a:latin typeface="Tahoma" pitchFamily="34" charset="0"/>
              </a:rPr>
              <a:t>money</a:t>
            </a:r>
            <a:r>
              <a:rPr lang="pl-PL" sz="2800" b="1" i="1" dirty="0" smtClean="0">
                <a:solidFill>
                  <a:schemeClr val="tx1"/>
                </a:solidFill>
                <a:latin typeface="Tahoma" pitchFamily="34" charset="0"/>
              </a:rPr>
              <a:t> market</a:t>
            </a:r>
            <a:r>
              <a:rPr lang="pl-PL" sz="2800" b="1" dirty="0" smtClean="0">
                <a:solidFill>
                  <a:schemeClr val="tx1"/>
                </a:solidFill>
                <a:latin typeface="Tahoma" pitchFamily="34" charset="0"/>
              </a:rPr>
              <a:t>. Symptomy problemów z płynnością.</a:t>
            </a:r>
            <a:endParaRPr lang="en-GB" sz="2800" b="1" dirty="0">
              <a:solidFill>
                <a:schemeClr val="tx1"/>
              </a:solidFill>
              <a:latin typeface="Tahoma" pitchFamily="34" charset="0"/>
            </a:endParaRPr>
          </a:p>
        </p:txBody>
      </p:sp>
      <p:pic>
        <p:nvPicPr>
          <p:cNvPr id="595972" name="Picture 14" descr="lewy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79388" y="146050"/>
            <a:ext cx="395287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5973" name="Picture 13" descr="prawy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086600" y="107950"/>
            <a:ext cx="363538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5974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41288" y="1266825"/>
            <a:ext cx="4683125" cy="290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5975" name="Picture 4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278313" y="3192463"/>
            <a:ext cx="4724400" cy="293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6.12579511000000030000E+000&quot;&gt;&lt;m_ppcolschidx val=&quot;0&quot;/&gt;&lt;m_rgb r=&quot;ff&quot; g=&quot;99&quot; b=&quot;0&quot;/&gt;&lt;/elem&gt;&lt;elem m_fUsage=&quot;2.37325853703000970000E+000&quot;&gt;&lt;m_ppcolschidx val=&quot;0&quot;/&gt;&lt;m_rgb r=&quot;0&quot; g=&quot;0&quot; b=&quot;80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19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9VB_dvxEu1aKIwgtQ29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ydsTO2ikS4IOKdXp.r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zlDuhBKUaNq8M45hyR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j8wgBI90Cry.W.IykT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9VB_dvxEu1aKIwgtQ29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ydsTO2ikS4IOKdXp.rq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zlDuhBKUaNq8M45hyR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j8wgBI90Cry.W.IykT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XuCQeh4Uq8xX9wmEpg6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9VB_dvxEu1aKIwgtQ2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ydsTO2ikS4IOKdXp.rq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j8wgBI90Cry.W.IykT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9VB_dvxEu1aKIwgtQ29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ydsTO2ikS4IOKdXp.rq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zlDuhBKUaNq8M45hyRW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j8wgBI90Cry.W.IykT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9VB_dvxEu1aKIwgtQ29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j8wgBI90Cry.W.IykTv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ydsTO2ikS4IOKdXp.rq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j8wgBI90Cry.W.IykTv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9VB_dvxEu1aKIwgtQ29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ydsTO2ikS4IOKdXp.rq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j8wgBI90Cry.W.IykTv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9VB_dvxEu1aKIwgtQ29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ydsTO2ikS4IOKdXp.rq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zlDuhBKUaNq8M45hyRW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j8wgBI90Cry.W.IykTv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9VB_dvxEu1aKIwgtQ29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ydsTO2ikS4IOKdXp.rq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4OwgaUFEe5k9OapeHY8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4OwgaUFEe5k9OapeHY8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zlDuhBKUaNq8M45hyRW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j8wgBI90Cry.W.IykTv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j8wgBI90Cry.W.IykTv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9VB_dvxEu1aKIwgtQ29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ydsTO2ikS4IOKdXp.rq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zlDuhBKUaNq8M45hyRW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j8wgBI90Cry.W.IykTv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9VB_dvxEu1aKIwgtQ29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ydsTO2ikS4IOKdXp.rq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j8wgBI90Cry.W.IykT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9VB_dvxEu1aKIwgtQ29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9VB_dvxEu1aKIwgtQ29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ydsTO2ikS4IOKdXp.rq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zlDuhBKUaNq8M45hyRW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j8wgBI90Cry.W.IykTv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9VB_dvxEu1aKIwgtQ29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ydsTO2ikS4IOKdXp.rq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98WvbPh0Owc5LMFPBkN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_kn0D.hkSipn1eYorO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ydsTO2ikS4IOKdXp.rq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EqOOJvfk6YjyXrdDnWs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IXMBJL0EKePwa4hY5UL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fEe4jJ102A4__HEXZNL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kl5w0eFESNZZS3H9j4b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rp4j3Fek2IXYsInB.S9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IXMBJL0EKePwa4hY5UL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FS8dCemU2avBqUyqasG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UMH05KNUSdDZJGA1O0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RNSQQJikO87Qp1ld4_g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IXMBJL0EKePwa4hY5UL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IXMBJL0EKePwa4hY5UL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54OwgaUFEe5k9OapeHY8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zlDuhBKUaNq8M45hyR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j8wgBI90Cry.W.IykTvA"/>
</p:tagLst>
</file>

<file path=ppt/theme/theme1.xml><?xml version="1.0" encoding="utf-8"?>
<a:theme xmlns:a="http://schemas.openxmlformats.org/drawingml/2006/main" name="5_Motyw pakietu Office">
  <a:themeElements>
    <a:clrScheme name="5_Motyw pakietu Offic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5_Motyw pakietu Office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dist="25400" dir="5400000" algn="ctr" rotWithShape="0">
            <a:schemeClr val="accent2"/>
          </a:outerShdw>
        </a:effectLst>
      </a:spPr>
      <a:bodyPr vert="horz" wrap="square" lIns="0" tIns="91440" rIns="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9CDD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>
          <a:outerShdw dist="25400" dir="5400000" algn="ctr" rotWithShape="0">
            <a:schemeClr val="accent2"/>
          </a:outerShdw>
        </a:effectLst>
      </a:spPr>
      <a:bodyPr vert="horz" wrap="square" lIns="0" tIns="91440" rIns="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rgbClr val="009CDD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5_Motyw pakietu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yw pakietu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yw pakietu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519</TotalTime>
  <Words>780</Words>
  <Application>Microsoft Office PowerPoint</Application>
  <PresentationFormat>Pokaz na ekranie (4:3)</PresentationFormat>
  <Paragraphs>112</Paragraphs>
  <Slides>22</Slides>
  <Notes>3</Notes>
  <HiddenSlides>0</HiddenSlides>
  <MMClips>0</MMClips>
  <ScaleCrop>false</ScaleCrop>
  <HeadingPairs>
    <vt:vector size="6" baseType="variant"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2</vt:i4>
      </vt:variant>
    </vt:vector>
  </HeadingPairs>
  <TitlesOfParts>
    <vt:vector size="24" baseType="lpstr">
      <vt:lpstr>5_Motyw pakietu Office</vt:lpstr>
      <vt:lpstr>think-cell Slide</vt:lpstr>
      <vt:lpstr>Prezentacja programu PowerPoint</vt:lpstr>
      <vt:lpstr>Gospodarka globalna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EURUSD pod presją</vt:lpstr>
      <vt:lpstr>Perspektywy</vt:lpstr>
      <vt:lpstr> Polska</vt:lpstr>
      <vt:lpstr>Prezentacja programu PowerPoint</vt:lpstr>
      <vt:lpstr>Prezentacja programu PowerPoint</vt:lpstr>
      <vt:lpstr>Prezentacja programu PowerPoint</vt:lpstr>
      <vt:lpstr>Prezentacja programu PowerPoint</vt:lpstr>
      <vt:lpstr>NBP również interweniuje, jednak dość późno</vt:lpstr>
      <vt:lpstr>Polski dług chwilowo pod presją</vt:lpstr>
      <vt:lpstr>Prezentacja programu PowerPoint</vt:lpstr>
      <vt:lpstr>Perspektywy</vt:lpstr>
    </vt:vector>
  </TitlesOfParts>
  <Company>Czteryczwar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ajd 1</dc:title>
  <dc:creator>Mkwiatko</dc:creator>
  <cp:lastModifiedBy>Aleksandra</cp:lastModifiedBy>
  <cp:revision>1699</cp:revision>
  <cp:lastPrinted>2002-11-12T10:35:58Z</cp:lastPrinted>
  <dcterms:created xsi:type="dcterms:W3CDTF">2006-06-05T14:18:14Z</dcterms:created>
  <dcterms:modified xsi:type="dcterms:W3CDTF">2011-09-28T10:44:49Z</dcterms:modified>
</cp:coreProperties>
</file>